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3.xml" ContentType="application/vnd.openxmlformats-officedocument.drawingml.chart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rts/chart4.xml" ContentType="application/vnd.openxmlformats-officedocument.drawingml.chart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rts/chart5.xml" ContentType="application/vnd.openxmlformats-officedocument.drawingml.chart+xml"/>
  <Override PartName="/ppt/notesSlides/notesSlide21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7"/>
  </p:notesMasterIdLst>
  <p:sldIdLst>
    <p:sldId id="256" r:id="rId2"/>
    <p:sldId id="257" r:id="rId3"/>
    <p:sldId id="297" r:id="rId4"/>
    <p:sldId id="298" r:id="rId5"/>
    <p:sldId id="299" r:id="rId6"/>
    <p:sldId id="301" r:id="rId7"/>
    <p:sldId id="300" r:id="rId8"/>
    <p:sldId id="302" r:id="rId9"/>
    <p:sldId id="258" r:id="rId10"/>
    <p:sldId id="259" r:id="rId11"/>
    <p:sldId id="260" r:id="rId12"/>
    <p:sldId id="303" r:id="rId13"/>
    <p:sldId id="304" r:id="rId14"/>
    <p:sldId id="305" r:id="rId15"/>
    <p:sldId id="261" r:id="rId16"/>
    <p:sldId id="262" r:id="rId17"/>
    <p:sldId id="263" r:id="rId18"/>
    <p:sldId id="264" r:id="rId19"/>
    <p:sldId id="265" r:id="rId20"/>
    <p:sldId id="266" r:id="rId21"/>
    <p:sldId id="267" r:id="rId22"/>
    <p:sldId id="268" r:id="rId23"/>
    <p:sldId id="269" r:id="rId24"/>
    <p:sldId id="270" r:id="rId25"/>
    <p:sldId id="271" r:id="rId26"/>
    <p:sldId id="272" r:id="rId27"/>
    <p:sldId id="273" r:id="rId28"/>
    <p:sldId id="274" r:id="rId29"/>
    <p:sldId id="275" r:id="rId30"/>
    <p:sldId id="276" r:id="rId31"/>
    <p:sldId id="277" r:id="rId32"/>
    <p:sldId id="278" r:id="rId33"/>
    <p:sldId id="279" r:id="rId34"/>
    <p:sldId id="280" r:id="rId35"/>
    <p:sldId id="281" r:id="rId36"/>
    <p:sldId id="282" r:id="rId37"/>
    <p:sldId id="283" r:id="rId38"/>
    <p:sldId id="284" r:id="rId39"/>
    <p:sldId id="285" r:id="rId40"/>
    <p:sldId id="286" r:id="rId41"/>
    <p:sldId id="287" r:id="rId42"/>
    <p:sldId id="288" r:id="rId43"/>
    <p:sldId id="289" r:id="rId44"/>
    <p:sldId id="290" r:id="rId45"/>
    <p:sldId id="292" r:id="rId46"/>
  </p:sldIdLst>
  <p:sldSz cx="9144000" cy="6858000" type="screen4x3"/>
  <p:notesSz cx="6797675" cy="9926638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02" d="100"/>
          <a:sy n="102" d="100"/>
        </p:scale>
        <p:origin x="-234" y="-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notesMaster" Target="notesMasters/notesMaster1.xml"/><Relationship Id="rId50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rAngAx val="1"/>
    </c:view3D>
    <c:floor>
      <c:thickness val="0"/>
    </c:floor>
    <c:sideWall>
      <c:thickness val="0"/>
      <c:spPr>
        <a:noFill/>
        <a:ln>
          <a:noFill/>
        </a:ln>
      </c:spPr>
    </c:sideWall>
    <c:backWall>
      <c:thickness val="0"/>
    </c:backWall>
    <c:plotArea>
      <c:layout>
        <c:manualLayout>
          <c:layoutTarget val="inner"/>
          <c:xMode val="edge"/>
          <c:yMode val="edge"/>
          <c:x val="1.2555702689999277E-2"/>
          <c:y val="0.2717632212865923"/>
          <c:w val="0.9605392201171451"/>
          <c:h val="0.52210425690056084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invertIfNegative val="0"/>
          <c:cat>
            <c:numRef>
              <c:f>Sheet1!$A$2:$A$10</c:f>
              <c:numCache>
                <c:formatCode>General</c:formatCode>
                <c:ptCount val="9"/>
                <c:pt idx="0">
                  <c:v>1992</c:v>
                </c:pt>
                <c:pt idx="1">
                  <c:v>2002</c:v>
                </c:pt>
                <c:pt idx="2">
                  <c:v>2004</c:v>
                </c:pt>
                <c:pt idx="3">
                  <c:v>2006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</c:numCache>
            </c:numRef>
          </c:cat>
          <c:val>
            <c:numRef>
              <c:f>Sheet1!$B$2:$B$10</c:f>
              <c:numCache>
                <c:formatCode>General</c:formatCode>
                <c:ptCount val="9"/>
                <c:pt idx="0">
                  <c:v>18.399999999999999</c:v>
                </c:pt>
                <c:pt idx="1">
                  <c:v>42.6</c:v>
                </c:pt>
                <c:pt idx="2">
                  <c:v>49.2</c:v>
                </c:pt>
                <c:pt idx="3">
                  <c:v>56.5</c:v>
                </c:pt>
                <c:pt idx="4">
                  <c:v>61.9</c:v>
                </c:pt>
                <c:pt idx="5">
                  <c:v>65</c:v>
                </c:pt>
                <c:pt idx="6">
                  <c:v>67.5</c:v>
                </c:pt>
                <c:pt idx="7">
                  <c:v>71.099999999999994</c:v>
                </c:pt>
                <c:pt idx="8">
                  <c:v>7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35204096"/>
        <c:axId val="35238656"/>
        <c:axId val="0"/>
      </c:bar3DChart>
      <c:catAx>
        <c:axId val="352040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>
                <a:latin typeface="HY견고딕" panose="02030600000101010101" pitchFamily="18" charset="-127"/>
                <a:ea typeface="HY견고딕" panose="02030600000101010101" pitchFamily="18" charset="-127"/>
              </a:defRPr>
            </a:pPr>
            <a:endParaRPr lang="ko-KR"/>
          </a:p>
        </c:txPr>
        <c:crossAx val="35238656"/>
        <c:crosses val="autoZero"/>
        <c:auto val="1"/>
        <c:lblAlgn val="ctr"/>
        <c:lblOffset val="100"/>
        <c:noMultiLvlLbl val="0"/>
      </c:catAx>
      <c:valAx>
        <c:axId val="35238656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3520409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ko-K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2.2916666666666665E-2"/>
          <c:y val="5.5832983664822339E-2"/>
          <c:w val="0.95416666666666672"/>
          <c:h val="0.8635193732637676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marker>
            <c:symbol val="none"/>
          </c:marker>
          <c:dLbls>
            <c:dLbl>
              <c:idx val="0"/>
              <c:layout>
                <c:manualLayout>
                  <c:x val="-3.9583497375328083E-2"/>
                  <c:y val="-0.1116659673296446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4.791666666666667E-2"/>
                  <c:y val="-8.06476430714100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4.7916666666666705E-2"/>
                  <c:y val="-9.305497277470384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4.791666666666667E-2"/>
                  <c:y val="-6.824031336811618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4.791666666666667E-2"/>
                  <c:y val="-9.30549727747038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4.1666830708661416E-2"/>
                  <c:y val="-9.925863762635082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5.6250000000000001E-2"/>
                  <c:y val="-0.1116659673296446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5.6250000000000001E-2"/>
                  <c:y val="-0.1178696321812916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5.2083333333333336E-2"/>
                  <c:y val="-0.14888795643952624"/>
                </c:manualLayout>
              </c:layout>
              <c:spPr/>
              <c:txPr>
                <a:bodyPr/>
                <a:lstStyle/>
                <a:p>
                  <a:pPr>
                    <a:defRPr sz="1400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HY견고딕" panose="02030600000101010101" pitchFamily="18" charset="-127"/>
                      <a:ea typeface="HY견고딕" panose="02030600000101010101" pitchFamily="18" charset="-127"/>
                    </a:defRPr>
                  </a:pPr>
                  <a:endParaRPr lang="ko-K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>
                    <a:latin typeface="HY견고딕" panose="02030600000101010101" pitchFamily="18" charset="-127"/>
                    <a:ea typeface="HY견고딕" panose="02030600000101010101" pitchFamily="18" charset="-127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A$2:$A$10</c:f>
              <c:numCache>
                <c:formatCode>General</c:formatCode>
                <c:ptCount val="9"/>
                <c:pt idx="0">
                  <c:v>1992</c:v>
                </c:pt>
                <c:pt idx="1">
                  <c:v>2002</c:v>
                </c:pt>
                <c:pt idx="2">
                  <c:v>2004</c:v>
                </c:pt>
                <c:pt idx="3">
                  <c:v>2006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</c:numCache>
            </c:numRef>
          </c:cat>
          <c:val>
            <c:numRef>
              <c:f>Sheet1!$B$2:$B$10</c:f>
              <c:numCache>
                <c:formatCode>General</c:formatCode>
                <c:ptCount val="9"/>
                <c:pt idx="0">
                  <c:v>18.399999999999999</c:v>
                </c:pt>
                <c:pt idx="1">
                  <c:v>42.6</c:v>
                </c:pt>
                <c:pt idx="2">
                  <c:v>49.2</c:v>
                </c:pt>
                <c:pt idx="3">
                  <c:v>56.5</c:v>
                </c:pt>
                <c:pt idx="4">
                  <c:v>61.9</c:v>
                </c:pt>
                <c:pt idx="5">
                  <c:v>65</c:v>
                </c:pt>
                <c:pt idx="6">
                  <c:v>67.5</c:v>
                </c:pt>
                <c:pt idx="7">
                  <c:v>71.099999999999994</c:v>
                </c:pt>
                <c:pt idx="8">
                  <c:v>74.09999999999999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6812288"/>
        <c:axId val="76815360"/>
      </c:lineChart>
      <c:catAx>
        <c:axId val="768122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76815360"/>
        <c:crosses val="autoZero"/>
        <c:auto val="1"/>
        <c:lblAlgn val="ctr"/>
        <c:lblOffset val="100"/>
        <c:noMultiLvlLbl val="0"/>
      </c:catAx>
      <c:valAx>
        <c:axId val="76815360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7681228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ko-KR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30"/>
      <c:rotY val="80"/>
      <c:rAngAx val="1"/>
    </c:view3D>
    <c:floor>
      <c:thickness val="0"/>
      <c:spPr>
        <a:noFill/>
        <a:ln w="9525">
          <a:noFill/>
        </a:ln>
        <a:scene3d>
          <a:camera prst="orthographicFront"/>
          <a:lightRig rig="threePt" dir="t"/>
        </a:scene3d>
        <a:sp3d>
          <a:contourClr>
            <a:srgbClr val="000000"/>
          </a:contourClr>
        </a:sp3d>
      </c:spPr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1</c:v>
                </c:pt>
              </c:strCache>
            </c:strRef>
          </c:tx>
          <c:spPr>
            <a:gradFill flip="none" rotWithShape="1">
              <a:gsLst>
                <a:gs pos="100000">
                  <a:schemeClr val="accent1">
                    <a:lumMod val="50000"/>
                  </a:schemeClr>
                </a:gs>
                <a:gs pos="0">
                  <a:srgbClr val="0D65AC"/>
                </a:gs>
              </a:gsLst>
              <a:lin ang="5400000" scaled="1"/>
              <a:tileRect/>
            </a:gradFill>
            <a:ln>
              <a:noFill/>
            </a:ln>
            <a:effectLst>
              <a:outerShdw blurRad="50800" dist="38100" dir="5400000" algn="t" rotWithShape="0">
                <a:prstClr val="black">
                  <a:alpha val="23000"/>
                </a:prstClr>
              </a:outerShdw>
            </a:effectLst>
            <a:scene3d>
              <a:camera prst="orthographicFront"/>
              <a:lightRig rig="threePt" dir="t"/>
            </a:scene3d>
            <a:sp3d prstMaterial="matte"/>
          </c:spPr>
          <c:invertIfNegative val="0"/>
          <c:dLbls>
            <c:dLbl>
              <c:idx val="0"/>
              <c:layout>
                <c:manualLayout>
                  <c:x val="-1.7658299416154179E-2"/>
                  <c:y val="0.32074885071558651"/>
                </c:manualLayout>
              </c:layout>
              <c:tx>
                <c:rich>
                  <a:bodyPr/>
                  <a:lstStyle/>
                  <a:p>
                    <a:pPr>
                      <a:defRPr sz="1000">
                        <a:solidFill>
                          <a:schemeClr val="accent1"/>
                        </a:solidFill>
                        <a:effectLst/>
                        <a:latin typeface="HY견고딕" panose="02030600000101010101" pitchFamily="18" charset="-127"/>
                        <a:ea typeface="HY견고딕" panose="02030600000101010101" pitchFamily="18" charset="-127"/>
                      </a:defRPr>
                    </a:pPr>
                    <a:r>
                      <a:rPr lang="en-US" altLang="en-US" sz="1000" dirty="0" smtClean="0">
                        <a:solidFill>
                          <a:schemeClr val="accent1"/>
                        </a:solidFill>
                        <a:effectLst/>
                        <a:latin typeface="HY견고딕" panose="02030600000101010101" pitchFamily="18" charset="-127"/>
                        <a:ea typeface="HY견고딕" panose="02030600000101010101" pitchFamily="18" charset="-127"/>
                      </a:rPr>
                      <a:t>32,503</a:t>
                    </a:r>
                    <a:endParaRPr lang="en-US" altLang="en-US" dirty="0">
                      <a:effectLst/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1.9214062119983361E-2"/>
                  <c:y val="0.30891050694833971"/>
                </c:manualLayout>
              </c:layout>
              <c:tx>
                <c:rich>
                  <a:bodyPr/>
                  <a:lstStyle/>
                  <a:p>
                    <a:r>
                      <a:rPr lang="en-US" altLang="en-US" sz="1000" dirty="0" smtClean="0">
                        <a:solidFill>
                          <a:schemeClr val="accent1"/>
                        </a:solidFill>
                        <a:latin typeface="HY견고딕" panose="02030600000101010101" pitchFamily="18" charset="-127"/>
                        <a:ea typeface="HY견고딕" panose="02030600000101010101" pitchFamily="18" charset="-127"/>
                      </a:rPr>
                      <a:t>30,582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1.4550981805206503E-2"/>
                  <c:y val="0.22174647620451171"/>
                </c:manualLayout>
              </c:layout>
              <c:tx>
                <c:rich>
                  <a:bodyPr/>
                  <a:lstStyle/>
                  <a:p>
                    <a:r>
                      <a:rPr lang="en-US" altLang="en-US" sz="1000" smtClean="0">
                        <a:solidFill>
                          <a:schemeClr val="accent1"/>
                        </a:solidFill>
                        <a:latin typeface="HY견고딕" panose="02030600000101010101" pitchFamily="18" charset="-127"/>
                        <a:ea typeface="HY견고딕" panose="02030600000101010101" pitchFamily="18" charset="-127"/>
                      </a:rPr>
                      <a:t>16,438</a:t>
                    </a:r>
                    <a:endParaRPr lang="en-US" alt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1.837881447291315E-2"/>
                  <c:y val="0.24212005191141375"/>
                </c:manualLayout>
              </c:layout>
              <c:tx>
                <c:rich>
                  <a:bodyPr/>
                  <a:lstStyle/>
                  <a:p>
                    <a:r>
                      <a:rPr lang="en-US" altLang="en-US" sz="1000" dirty="0" smtClean="0">
                        <a:solidFill>
                          <a:schemeClr val="accent1"/>
                        </a:solidFill>
                        <a:latin typeface="HY견고딕" panose="02030600000101010101" pitchFamily="18" charset="-127"/>
                        <a:ea typeface="HY견고딕" panose="02030600000101010101" pitchFamily="18" charset="-127"/>
                      </a:rPr>
                      <a:t>19,744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7.2740181737545135E-3"/>
                  <c:y val="0.17225431179029713"/>
                </c:manualLayout>
              </c:layout>
              <c:tx>
                <c:rich>
                  <a:bodyPr/>
                  <a:lstStyle/>
                  <a:p>
                    <a:r>
                      <a:rPr lang="en-US" altLang="en-US" sz="1000" dirty="0" smtClean="0">
                        <a:solidFill>
                          <a:schemeClr val="accent1"/>
                        </a:solidFill>
                        <a:latin typeface="HY견고딕" panose="02030600000101010101" pitchFamily="18" charset="-127"/>
                        <a:ea typeface="HY견고딕" panose="02030600000101010101" pitchFamily="18" charset="-127"/>
                      </a:rPr>
                      <a:t>8,407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chemeClr val="accent1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32503</c:v>
                </c:pt>
                <c:pt idx="1">
                  <c:v>30582</c:v>
                </c:pt>
                <c:pt idx="2">
                  <c:v>16438</c:v>
                </c:pt>
                <c:pt idx="3">
                  <c:v>19744</c:v>
                </c:pt>
                <c:pt idx="4">
                  <c:v>8407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12</c:v>
                </c:pt>
              </c:strCache>
            </c:strRef>
          </c:tx>
          <c:spPr>
            <a:gradFill flip="none" rotWithShape="1">
              <a:gsLst>
                <a:gs pos="100000">
                  <a:schemeClr val="bg1">
                    <a:lumMod val="95000"/>
                  </a:schemeClr>
                </a:gs>
                <a:gs pos="0">
                  <a:schemeClr val="bg1">
                    <a:lumMod val="75000"/>
                  </a:schemeClr>
                </a:gs>
              </a:gsLst>
              <a:lin ang="16200000" scaled="1"/>
              <a:tileRect/>
            </a:gradFill>
            <a:scene3d>
              <a:camera prst="orthographicFront"/>
              <a:lightRig rig="threePt" dir="t"/>
            </a:scene3d>
            <a:sp3d prstMaterial="metal"/>
          </c:spPr>
          <c:invertIfNegative val="0"/>
          <c:dLbls>
            <c:dLbl>
              <c:idx val="0"/>
              <c:layout>
                <c:manualLayout>
                  <c:x val="1.1249123726335001E-2"/>
                  <c:y val="0.46601434030247574"/>
                </c:manualLayout>
              </c:layout>
              <c:tx>
                <c:rich>
                  <a:bodyPr/>
                  <a:lstStyle/>
                  <a:p>
                    <a:r>
                      <a:rPr lang="en-US" altLang="en-US" sz="1000" dirty="0" smtClean="0">
                        <a:latin typeface="HY견고딕" panose="02030600000101010101" pitchFamily="18" charset="-127"/>
                        <a:ea typeface="HY견고딕" panose="02030600000101010101" pitchFamily="18" charset="-127"/>
                      </a:rPr>
                      <a:t>56,075</a:t>
                    </a:r>
                    <a:endParaRPr lang="en-US" altLang="en-US" dirty="0" smtClean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1.2231924778059762E-2"/>
                  <c:y val="0.3222710792370887"/>
                </c:manualLayout>
              </c:layout>
              <c:tx>
                <c:rich>
                  <a:bodyPr/>
                  <a:lstStyle/>
                  <a:p>
                    <a:r>
                      <a:rPr lang="en-US" altLang="en-US" sz="1000" dirty="0" smtClean="0">
                        <a:latin typeface="HY견고딕" panose="02030600000101010101" pitchFamily="18" charset="-127"/>
                        <a:ea typeface="HY견고딕" panose="02030600000101010101" pitchFamily="18" charset="-127"/>
                      </a:rPr>
                      <a:t>32,750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1.5187200667861493E-2"/>
                  <c:y val="0.2685084792151331"/>
                </c:manualLayout>
              </c:layout>
              <c:tx>
                <c:rich>
                  <a:bodyPr/>
                  <a:lstStyle/>
                  <a:p>
                    <a:r>
                      <a:rPr lang="en-US" altLang="en-US" sz="1000" dirty="0" smtClean="0">
                        <a:latin typeface="HY견고딕" panose="02030600000101010101" pitchFamily="18" charset="-127"/>
                        <a:ea typeface="HY견고딕" panose="02030600000101010101" pitchFamily="18" charset="-127"/>
                      </a:rPr>
                      <a:t>24,026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1.4888306841512777E-2"/>
                  <c:y val="0.22427926295416847"/>
                </c:manualLayout>
              </c:layout>
              <c:tx>
                <c:rich>
                  <a:bodyPr/>
                  <a:lstStyle/>
                  <a:p>
                    <a:r>
                      <a:rPr lang="en-US" altLang="en-US" sz="1000" dirty="0" smtClean="0">
                        <a:latin typeface="HY견고딕" panose="02030600000101010101" pitchFamily="18" charset="-127"/>
                        <a:ea typeface="HY견고딕" panose="02030600000101010101" pitchFamily="18" charset="-127"/>
                      </a:rPr>
                      <a:t>16,849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1.5113704485314929E-2"/>
                  <c:y val="0.19460614545722496"/>
                </c:manualLayout>
              </c:layout>
              <c:tx>
                <c:rich>
                  <a:bodyPr/>
                  <a:lstStyle/>
                  <a:p>
                    <a:r>
                      <a:rPr lang="en-US" altLang="en-US" sz="1000" dirty="0" smtClean="0">
                        <a:latin typeface="HY견고딕" panose="02030600000101010101" pitchFamily="18" charset="-127"/>
                        <a:ea typeface="HY견고딕" panose="02030600000101010101" pitchFamily="18" charset="-127"/>
                      </a:rPr>
                      <a:t>12,034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latin typeface="HY견고딕" panose="02030600000101010101" pitchFamily="18" charset="-127"/>
                    <a:ea typeface="HY견고딕" panose="02030600000101010101" pitchFamily="18" charset="-127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56075</c:v>
                </c:pt>
                <c:pt idx="1">
                  <c:v>32750</c:v>
                </c:pt>
                <c:pt idx="2">
                  <c:v>24026</c:v>
                </c:pt>
                <c:pt idx="3">
                  <c:v>16849</c:v>
                </c:pt>
                <c:pt idx="4">
                  <c:v>12034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shape val="box"/>
        <c:axId val="22462464"/>
        <c:axId val="22464000"/>
        <c:axId val="0"/>
      </c:bar3DChart>
      <c:catAx>
        <c:axId val="2246246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2464000"/>
        <c:crosses val="autoZero"/>
        <c:auto val="1"/>
        <c:lblAlgn val="ctr"/>
        <c:lblOffset val="100"/>
        <c:noMultiLvlLbl val="0"/>
      </c:catAx>
      <c:valAx>
        <c:axId val="22464000"/>
        <c:scaling>
          <c:orientation val="minMax"/>
        </c:scaling>
        <c:delete val="1"/>
        <c:axPos val="l"/>
        <c:majorGridlines>
          <c:spPr>
            <a:ln w="3175"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22462464"/>
        <c:crosses val="autoZero"/>
        <c:crossBetween val="between"/>
      </c:valAx>
      <c:spPr>
        <a:noFill/>
        <a:ln w="25400">
          <a:noFill/>
        </a:ln>
      </c:spPr>
    </c:plotArea>
    <c:legend>
      <c:legendPos val="t"/>
      <c:layout>
        <c:manualLayout>
          <c:xMode val="edge"/>
          <c:yMode val="edge"/>
          <c:x val="0.59536203860626402"/>
          <c:y val="0.16098275672433796"/>
          <c:w val="0.15995109534098925"/>
          <c:h val="0.10050988961730263"/>
        </c:manualLayout>
      </c:layout>
      <c:overlay val="0"/>
      <c:spPr>
        <a:ln>
          <a:noFill/>
        </a:ln>
      </c:spPr>
      <c:txPr>
        <a:bodyPr/>
        <a:lstStyle/>
        <a:p>
          <a:pPr>
            <a:defRPr sz="1050">
              <a:latin typeface="HY견고딕" panose="02030600000101010101" pitchFamily="18" charset="-127"/>
              <a:ea typeface="HY견고딕" panose="02030600000101010101" pitchFamily="18" charset="-127"/>
            </a:defRPr>
          </a:pPr>
          <a:endParaRPr lang="ko-KR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ko-KR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invertIfNegative val="0"/>
          <c:cat>
            <c:strRef>
              <c:f>Sheet1!$A$2</c:f>
              <c:strCache>
                <c:ptCount val="1"/>
                <c:pt idx="0">
                  <c:v>항목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21.4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계열 2</c:v>
                </c:pt>
              </c:strCache>
            </c:strRef>
          </c:tx>
          <c:invertIfNegative val="0"/>
          <c:cat>
            <c:strRef>
              <c:f>Sheet1!$A$2</c:f>
              <c:strCache>
                <c:ptCount val="1"/>
                <c:pt idx="0">
                  <c:v>항목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78.59999999999999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2696704"/>
        <c:axId val="22698240"/>
      </c:barChart>
      <c:catAx>
        <c:axId val="22696704"/>
        <c:scaling>
          <c:orientation val="minMax"/>
        </c:scaling>
        <c:delete val="1"/>
        <c:axPos val="l"/>
        <c:majorTickMark val="out"/>
        <c:minorTickMark val="none"/>
        <c:tickLblPos val="nextTo"/>
        <c:crossAx val="22698240"/>
        <c:crosses val="autoZero"/>
        <c:auto val="1"/>
        <c:lblAlgn val="ctr"/>
        <c:lblOffset val="100"/>
        <c:noMultiLvlLbl val="0"/>
      </c:catAx>
      <c:valAx>
        <c:axId val="22698240"/>
        <c:scaling>
          <c:orientation val="minMax"/>
        </c:scaling>
        <c:delete val="1"/>
        <c:axPos val="b"/>
        <c:majorGridlines>
          <c:spPr>
            <a:ln>
              <a:noFill/>
            </a:ln>
          </c:spPr>
        </c:majorGridlines>
        <c:numFmt formatCode="0%" sourceLinked="1"/>
        <c:majorTickMark val="out"/>
        <c:minorTickMark val="none"/>
        <c:tickLblPos val="nextTo"/>
        <c:crossAx val="2269670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ko-KR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 sz="1050" b="0">
                <a:latin typeface="HY견고딕" panose="02030600000101010101" pitchFamily="18" charset="-127"/>
                <a:ea typeface="HY견고딕" panose="02030600000101010101" pitchFamily="18" charset="-127"/>
              </a:defRPr>
            </a:pPr>
            <a:r>
              <a:rPr lang="ko-KR" sz="1400" b="0" dirty="0">
                <a:latin typeface="HY견고딕" panose="02030600000101010101" pitchFamily="18" charset="-127"/>
                <a:ea typeface="HY견고딕" panose="02030600000101010101" pitchFamily="18" charset="-127"/>
              </a:rPr>
              <a:t>말기  암환자  월별  의료비  증가  </a:t>
            </a:r>
            <a:r>
              <a:rPr lang="ko-KR" sz="1400" b="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추이</a:t>
            </a:r>
            <a:r>
              <a:rPr lang="en-US" altLang="ko-KR" sz="1400" b="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1050" b="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1050" b="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단위</a:t>
            </a:r>
            <a:r>
              <a:rPr lang="en-US" altLang="ko-KR" sz="1050" b="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: </a:t>
            </a:r>
            <a:r>
              <a:rPr lang="ko-KR" altLang="en-US" sz="1050" b="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억원</a:t>
            </a:r>
            <a:r>
              <a:rPr lang="en-US" altLang="ko-KR" sz="1050" b="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endParaRPr lang="ko-KR" sz="1050" b="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c:rich>
      </c:tx>
      <c:layout/>
      <c:overlay val="0"/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invertIfNegative val="0"/>
          <c:dLbls>
            <c:txPr>
              <a:bodyPr/>
              <a:lstStyle/>
              <a:p>
                <a:pPr>
                  <a:defRPr sz="1400">
                    <a:solidFill>
                      <a:srgbClr val="C00000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7</c:f>
              <c:strCache>
                <c:ptCount val="6"/>
                <c:pt idx="0">
                  <c:v>1개월 전</c:v>
                </c:pt>
                <c:pt idx="1">
                  <c:v>2개월 전</c:v>
                </c:pt>
                <c:pt idx="2">
                  <c:v>3개월 전</c:v>
                </c:pt>
                <c:pt idx="3">
                  <c:v>4개월 전</c:v>
                </c:pt>
                <c:pt idx="4">
                  <c:v>5개월 전</c:v>
                </c:pt>
                <c:pt idx="5">
                  <c:v>6개월 전</c:v>
                </c:pt>
              </c:strCache>
            </c:strRef>
          </c:cat>
          <c:val>
            <c:numRef>
              <c:f>Sheet1!$B$2:$B$7</c:f>
              <c:numCache>
                <c:formatCode>#,##0</c:formatCode>
                <c:ptCount val="6"/>
                <c:pt idx="0">
                  <c:v>3642</c:v>
                </c:pt>
                <c:pt idx="1">
                  <c:v>1943</c:v>
                </c:pt>
                <c:pt idx="2">
                  <c:v>1427</c:v>
                </c:pt>
                <c:pt idx="3">
                  <c:v>1165</c:v>
                </c:pt>
                <c:pt idx="4" formatCode="General">
                  <c:v>999</c:v>
                </c:pt>
                <c:pt idx="5" formatCode="General">
                  <c:v>87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7501312"/>
        <c:axId val="27502848"/>
      </c:barChart>
      <c:catAx>
        <c:axId val="27501312"/>
        <c:scaling>
          <c:orientation val="minMax"/>
        </c:scaling>
        <c:delete val="0"/>
        <c:axPos val="l"/>
        <c:majorTickMark val="out"/>
        <c:minorTickMark val="none"/>
        <c:tickLblPos val="nextTo"/>
        <c:spPr>
          <a:ln>
            <a:noFill/>
          </a:ln>
        </c:spPr>
        <c:crossAx val="27502848"/>
        <c:crosses val="autoZero"/>
        <c:auto val="1"/>
        <c:lblAlgn val="ctr"/>
        <c:lblOffset val="100"/>
        <c:noMultiLvlLbl val="0"/>
      </c:catAx>
      <c:valAx>
        <c:axId val="27502848"/>
        <c:scaling>
          <c:orientation val="minMax"/>
        </c:scaling>
        <c:delete val="1"/>
        <c:axPos val="b"/>
        <c:majorGridlines>
          <c:spPr>
            <a:ln>
              <a:noFill/>
            </a:ln>
          </c:spPr>
        </c:majorGridlines>
        <c:numFmt formatCode="#,##0" sourceLinked="1"/>
        <c:majorTickMark val="out"/>
        <c:minorTickMark val="none"/>
        <c:tickLblPos val="nextTo"/>
        <c:crossAx val="2750131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>
          <a:latin typeface="Adobe 고딕 Std B" pitchFamily="34" charset="-127"/>
          <a:ea typeface="Adobe 고딕 Std B" pitchFamily="34" charset="-127"/>
        </a:defRPr>
      </a:pPr>
      <a:endParaRPr lang="ko-KR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B9F9C21-E250-428F-8E89-2F8A77951F5B}" type="datetimeFigureOut">
              <a:rPr lang="ko-KR" altLang="en-US" smtClean="0"/>
              <a:t>2014-10-11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824D6E-5587-4DAD-A68B-53EE779C3DA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461923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1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1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1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1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2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2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2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2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2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2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2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2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2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2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3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3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1983398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3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3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3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3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3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3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3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4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4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4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4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4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4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1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1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1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1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1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1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11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042933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11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936181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11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526946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11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703618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11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664767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11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881810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11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774352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11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520839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11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968959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11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944938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CDEBD-D546-4C56-96AD-60EDC955B841}" type="datetimeFigureOut">
              <a:rPr lang="ko-KR" altLang="en-US" smtClean="0"/>
              <a:t>2014-10-11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898162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ECDEBD-D546-4C56-96AD-60EDC955B841}" type="datetimeFigureOut">
              <a:rPr lang="ko-KR" altLang="en-US" smtClean="0"/>
              <a:t>2014-10-11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E09DC48-3D4E-46EE-9503-599BE7F3346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85042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jpg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4.png"/><Relationship Id="rId4" Type="http://schemas.openxmlformats.org/officeDocument/2006/relationships/tags" Target="../tags/tag3.xml"/><Relationship Id="rId9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23.png"/><Relationship Id="rId3" Type="http://schemas.openxmlformats.org/officeDocument/2006/relationships/tags" Target="../tags/tag26.xml"/><Relationship Id="rId7" Type="http://schemas.openxmlformats.org/officeDocument/2006/relationships/image" Target="../media/image18.png"/><Relationship Id="rId12" Type="http://schemas.openxmlformats.org/officeDocument/2006/relationships/image" Target="../media/image22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notesSlide" Target="../notesSlides/notesSlide5.xml"/><Relationship Id="rId11" Type="http://schemas.openxmlformats.org/officeDocument/2006/relationships/image" Target="../media/image21.png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20.png"/><Relationship Id="rId4" Type="http://schemas.openxmlformats.org/officeDocument/2006/relationships/tags" Target="../tags/tag27.xml"/><Relationship Id="rId9" Type="http://schemas.openxmlformats.org/officeDocument/2006/relationships/image" Target="../media/image19.png"/><Relationship Id="rId1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hyperlink" Target="http://www.clker.com/clipart-27784.html" TargetMode="External"/><Relationship Id="rId7" Type="http://schemas.openxmlformats.org/officeDocument/2006/relationships/chart" Target="../charts/chart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1.xml"/><Relationship Id="rId5" Type="http://schemas.openxmlformats.org/officeDocument/2006/relationships/image" Target="../media/image5.png"/><Relationship Id="rId4" Type="http://schemas.openxmlformats.org/officeDocument/2006/relationships/image" Target="../media/image9.png"/><Relationship Id="rId9" Type="http://schemas.openxmlformats.org/officeDocument/2006/relationships/image" Target="../media/image2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2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3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tags" Target="../tags/tag30.xml"/><Relationship Id="rId7" Type="http://schemas.openxmlformats.org/officeDocument/2006/relationships/image" Target="../media/image31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1.xml"/><Relationship Id="rId9" Type="http://schemas.openxmlformats.org/officeDocument/2006/relationships/image" Target="../media/image5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5.png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10" Type="http://schemas.openxmlformats.org/officeDocument/2006/relationships/image" Target="../media/image38.png"/><Relationship Id="rId4" Type="http://schemas.openxmlformats.org/officeDocument/2006/relationships/chart" Target="../charts/chart3.xml"/><Relationship Id="rId9" Type="http://schemas.openxmlformats.org/officeDocument/2006/relationships/image" Target="../media/image3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13" Type="http://schemas.openxmlformats.org/officeDocument/2006/relationships/image" Target="../media/image47.png"/><Relationship Id="rId3" Type="http://schemas.openxmlformats.org/officeDocument/2006/relationships/image" Target="../media/image5.png"/><Relationship Id="rId7" Type="http://schemas.openxmlformats.org/officeDocument/2006/relationships/hyperlink" Target="http://terms.naver.com/entry.nhn?cid=768&amp;docId=1840360&amp;categoryId=1850" TargetMode="External"/><Relationship Id="rId12" Type="http://schemas.openxmlformats.org/officeDocument/2006/relationships/image" Target="../media/image46.png"/><Relationship Id="rId2" Type="http://schemas.openxmlformats.org/officeDocument/2006/relationships/notesSlide" Target="../notesSlides/notesSlide13.xml"/><Relationship Id="rId16" Type="http://schemas.openxmlformats.org/officeDocument/2006/relationships/image" Target="../media/image5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3.png"/><Relationship Id="rId11" Type="http://schemas.openxmlformats.org/officeDocument/2006/relationships/hyperlink" Target="http://terms.naver.com/entry.nhn?docId=657659&amp;cid=1596&amp;categoryId=1596" TargetMode="External"/><Relationship Id="rId5" Type="http://schemas.openxmlformats.org/officeDocument/2006/relationships/hyperlink" Target="http://terms.naver.com/entry.nhn?cid=769&amp;docId=956880&amp;categoryId=1843" TargetMode="External"/><Relationship Id="rId15" Type="http://schemas.openxmlformats.org/officeDocument/2006/relationships/image" Target="../media/image49.png"/><Relationship Id="rId10" Type="http://schemas.openxmlformats.org/officeDocument/2006/relationships/image" Target="../media/image45.png"/><Relationship Id="rId4" Type="http://schemas.openxmlformats.org/officeDocument/2006/relationships/chart" Target="../charts/chart4.xml"/><Relationship Id="rId9" Type="http://schemas.openxmlformats.org/officeDocument/2006/relationships/hyperlink" Target="http://terms.naver.com/entry.nhn?cid=768&amp;docId=1048869&amp;categoryId=1853" TargetMode="External"/><Relationship Id="rId14" Type="http://schemas.openxmlformats.org/officeDocument/2006/relationships/image" Target="../media/image48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image" Target="../media/image5.png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image" Target="../media/image51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11" Type="http://schemas.openxmlformats.org/officeDocument/2006/relationships/image" Target="../media/image5.png"/><Relationship Id="rId5" Type="http://schemas.openxmlformats.org/officeDocument/2006/relationships/tags" Target="../tags/tag36.xml"/><Relationship Id="rId10" Type="http://schemas.openxmlformats.org/officeDocument/2006/relationships/notesSlide" Target="../notesSlides/notesSlide14.xml"/><Relationship Id="rId4" Type="http://schemas.openxmlformats.org/officeDocument/2006/relationships/tags" Target="../tags/tag35.xml"/><Relationship Id="rId9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hyperlink" Target="http://terms.naver.com/entry.nhn?docId=985503&amp;cid=768&amp;categoryId=1847" TargetMode="External"/><Relationship Id="rId13" Type="http://schemas.openxmlformats.org/officeDocument/2006/relationships/image" Target="../media/image57.png"/><Relationship Id="rId18" Type="http://schemas.openxmlformats.org/officeDocument/2006/relationships/hyperlink" Target="http://terms.naver.com/entry.nhn?cid=767&amp;docId=956621&amp;categoryId=1521" TargetMode="External"/><Relationship Id="rId3" Type="http://schemas.openxmlformats.org/officeDocument/2006/relationships/image" Target="../media/image5.png"/><Relationship Id="rId21" Type="http://schemas.openxmlformats.org/officeDocument/2006/relationships/image" Target="../media/image61.png"/><Relationship Id="rId7" Type="http://schemas.openxmlformats.org/officeDocument/2006/relationships/image" Target="../media/image54.png"/><Relationship Id="rId12" Type="http://schemas.openxmlformats.org/officeDocument/2006/relationships/hyperlink" Target="http://terms.naver.com/entry.nhn?docId=1912928&amp;cid=768&amp;categoryId=1855" TargetMode="External"/><Relationship Id="rId17" Type="http://schemas.openxmlformats.org/officeDocument/2006/relationships/image" Target="../media/image58.png"/><Relationship Id="rId2" Type="http://schemas.openxmlformats.org/officeDocument/2006/relationships/notesSlide" Target="../notesSlides/notesSlide16.xml"/><Relationship Id="rId16" Type="http://schemas.openxmlformats.org/officeDocument/2006/relationships/hyperlink" Target="http://terms.naver.com/entry.nhn?cid=771&amp;docId=1913071&amp;categoryId=1858" TargetMode="External"/><Relationship Id="rId20" Type="http://schemas.openxmlformats.org/officeDocument/2006/relationships/image" Target="../media/image60.png"/><Relationship Id="rId1" Type="http://schemas.openxmlformats.org/officeDocument/2006/relationships/slideLayout" Target="../slideLayouts/slideLayout1.xml"/><Relationship Id="rId6" Type="http://schemas.openxmlformats.org/officeDocument/2006/relationships/hyperlink" Target="http://terms.naver.com/entry.nhn?docId=956311&amp;cid=768&amp;categoryId=1857" TargetMode="External"/><Relationship Id="rId11" Type="http://schemas.openxmlformats.org/officeDocument/2006/relationships/image" Target="../media/image56.png"/><Relationship Id="rId5" Type="http://schemas.openxmlformats.org/officeDocument/2006/relationships/image" Target="../media/image46.png"/><Relationship Id="rId15" Type="http://schemas.openxmlformats.org/officeDocument/2006/relationships/image" Target="../media/image43.png"/><Relationship Id="rId10" Type="http://schemas.openxmlformats.org/officeDocument/2006/relationships/hyperlink" Target="http://terms.naver.com/entry.nhn?cid=768&amp;docId=1003103&amp;categoryId=1851" TargetMode="External"/><Relationship Id="rId19" Type="http://schemas.openxmlformats.org/officeDocument/2006/relationships/image" Target="../media/image59.png"/><Relationship Id="rId4" Type="http://schemas.openxmlformats.org/officeDocument/2006/relationships/hyperlink" Target="http://terms.naver.com/entry.nhn?docId=657659&amp;cid=1596&amp;categoryId=1596" TargetMode="External"/><Relationship Id="rId9" Type="http://schemas.openxmlformats.org/officeDocument/2006/relationships/image" Target="../media/image55.png"/><Relationship Id="rId14" Type="http://schemas.openxmlformats.org/officeDocument/2006/relationships/hyperlink" Target="http://terms.naver.com/entry.nhn?cid=769&amp;docId=956880&amp;categoryId=1843" TargetMode="External"/><Relationship Id="rId22" Type="http://schemas.openxmlformats.org/officeDocument/2006/relationships/image" Target="../media/image6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5.xml"/><Relationship Id="rId4" Type="http://schemas.openxmlformats.org/officeDocument/2006/relationships/image" Target="../media/image66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7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5.png"/><Relationship Id="rId4" Type="http://schemas.openxmlformats.org/officeDocument/2006/relationships/notesSlide" Target="../notesSlides/notesSlide2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8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49.xml"/><Relationship Id="rId13" Type="http://schemas.openxmlformats.org/officeDocument/2006/relationships/image" Target="../media/image71.png"/><Relationship Id="rId3" Type="http://schemas.openxmlformats.org/officeDocument/2006/relationships/tags" Target="../tags/tag44.xml"/><Relationship Id="rId7" Type="http://schemas.openxmlformats.org/officeDocument/2006/relationships/tags" Target="../tags/tag48.xml"/><Relationship Id="rId12" Type="http://schemas.openxmlformats.org/officeDocument/2006/relationships/image" Target="../media/image70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11" Type="http://schemas.openxmlformats.org/officeDocument/2006/relationships/image" Target="../media/image69.png"/><Relationship Id="rId5" Type="http://schemas.openxmlformats.org/officeDocument/2006/relationships/tags" Target="../tags/tag46.xml"/><Relationship Id="rId10" Type="http://schemas.openxmlformats.org/officeDocument/2006/relationships/notesSlide" Target="../notesSlides/notesSlide25.xml"/><Relationship Id="rId4" Type="http://schemas.openxmlformats.org/officeDocument/2006/relationships/tags" Target="../tags/tag45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5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2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74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tags" Target="../tags/tag57.xml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tags" Target="../tags/tag55.xml"/><Relationship Id="rId5" Type="http://schemas.openxmlformats.org/officeDocument/2006/relationships/tags" Target="../tags/tag54.xml"/><Relationship Id="rId10" Type="http://schemas.openxmlformats.org/officeDocument/2006/relationships/image" Target="../media/image5.png"/><Relationship Id="rId4" Type="http://schemas.openxmlformats.org/officeDocument/2006/relationships/tags" Target="../tags/tag53.xml"/><Relationship Id="rId9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77.png"/><Relationship Id="rId4" Type="http://schemas.openxmlformats.org/officeDocument/2006/relationships/image" Target="../media/image76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79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png"/><Relationship Id="rId13" Type="http://schemas.openxmlformats.org/officeDocument/2006/relationships/hyperlink" Target="http://terms.naver.com/entry.nhn?docId=1912928&amp;cid=768&amp;categoryId=1855" TargetMode="External"/><Relationship Id="rId18" Type="http://schemas.openxmlformats.org/officeDocument/2006/relationships/image" Target="../media/image87.png"/><Relationship Id="rId26" Type="http://schemas.openxmlformats.org/officeDocument/2006/relationships/image" Target="../media/image91.png"/><Relationship Id="rId39" Type="http://schemas.openxmlformats.org/officeDocument/2006/relationships/image" Target="../media/image98.png"/><Relationship Id="rId3" Type="http://schemas.openxmlformats.org/officeDocument/2006/relationships/hyperlink" Target="http://terms.naver.com/entry.nhn?cid=771&amp;docId=1913071&amp;categoryId=1858" TargetMode="External"/><Relationship Id="rId21" Type="http://schemas.openxmlformats.org/officeDocument/2006/relationships/hyperlink" Target="http://terms.naver.com/entry.nhn?docId=956311&amp;cid=768&amp;categoryId=1857" TargetMode="External"/><Relationship Id="rId34" Type="http://schemas.openxmlformats.org/officeDocument/2006/relationships/hyperlink" Target="http://terms.naver.com/entry.nhn?cid=767&amp;docId=1053563&amp;categoryId=2099" TargetMode="External"/><Relationship Id="rId42" Type="http://schemas.openxmlformats.org/officeDocument/2006/relationships/image" Target="../media/image5.png"/><Relationship Id="rId7" Type="http://schemas.openxmlformats.org/officeDocument/2006/relationships/hyperlink" Target="http://terms.naver.com/entry.nhn?cid=769&amp;docId=1522651&amp;categoryId=1844" TargetMode="External"/><Relationship Id="rId12" Type="http://schemas.openxmlformats.org/officeDocument/2006/relationships/image" Target="../media/image84.png"/><Relationship Id="rId17" Type="http://schemas.openxmlformats.org/officeDocument/2006/relationships/hyperlink" Target="http://terms.naver.com/entry.nhn?cid=768&amp;docId=1003103&amp;categoryId=1851" TargetMode="External"/><Relationship Id="rId25" Type="http://schemas.openxmlformats.org/officeDocument/2006/relationships/hyperlink" Target="http://terms.naver.com/entry.nhn?cid=767&amp;docId=967766&amp;categoryId=2106" TargetMode="External"/><Relationship Id="rId33" Type="http://schemas.openxmlformats.org/officeDocument/2006/relationships/image" Target="../media/image95.png"/><Relationship Id="rId38" Type="http://schemas.openxmlformats.org/officeDocument/2006/relationships/hyperlink" Target="http://terms.naver.com/entry.nhn?cid=770&amp;docId=1840125&amp;categoryId=2175" TargetMode="External"/><Relationship Id="rId2" Type="http://schemas.openxmlformats.org/officeDocument/2006/relationships/notesSlide" Target="../notesSlides/notesSlide31.xml"/><Relationship Id="rId16" Type="http://schemas.openxmlformats.org/officeDocument/2006/relationships/image" Target="../media/image86.png"/><Relationship Id="rId20" Type="http://schemas.openxmlformats.org/officeDocument/2006/relationships/image" Target="../media/image88.png"/><Relationship Id="rId29" Type="http://schemas.openxmlformats.org/officeDocument/2006/relationships/image" Target="../media/image93.png"/><Relationship Id="rId41" Type="http://schemas.openxmlformats.org/officeDocument/2006/relationships/image" Target="../media/image99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1.png"/><Relationship Id="rId11" Type="http://schemas.openxmlformats.org/officeDocument/2006/relationships/hyperlink" Target="http://terms.naver.com/entry.nhn?cid=769&amp;docId=956880&amp;categoryId=1843" TargetMode="External"/><Relationship Id="rId24" Type="http://schemas.openxmlformats.org/officeDocument/2006/relationships/image" Target="../media/image90.png"/><Relationship Id="rId32" Type="http://schemas.openxmlformats.org/officeDocument/2006/relationships/hyperlink" Target="http://terms.naver.com/entry.nhn?docId=1138125&amp;cid=200000000&amp;categoryId=200004385" TargetMode="External"/><Relationship Id="rId37" Type="http://schemas.openxmlformats.org/officeDocument/2006/relationships/image" Target="../media/image97.png"/><Relationship Id="rId40" Type="http://schemas.openxmlformats.org/officeDocument/2006/relationships/hyperlink" Target="http://terms.naver.com/entry.nhn?docId=657659&amp;cid=1596&amp;categoryId=1596" TargetMode="External"/><Relationship Id="rId5" Type="http://schemas.openxmlformats.org/officeDocument/2006/relationships/hyperlink" Target="http://terms.naver.com/entry.nhn?cid=768&amp;docId=956496&amp;categoryId=2078" TargetMode="External"/><Relationship Id="rId15" Type="http://schemas.openxmlformats.org/officeDocument/2006/relationships/hyperlink" Target="http://terms.naver.com/entry.nhn?cid=767&amp;docId=1643185&amp;categoryId=2082" TargetMode="External"/><Relationship Id="rId23" Type="http://schemas.openxmlformats.org/officeDocument/2006/relationships/hyperlink" Target="http://terms.naver.com/entry.nhn?cid=767&amp;docId=1637238&amp;categoryId=2088" TargetMode="External"/><Relationship Id="rId28" Type="http://schemas.openxmlformats.org/officeDocument/2006/relationships/hyperlink" Target="http://terms.naver.com/entry.nhn?cid=767&amp;docId=1022739&amp;categoryId=2076" TargetMode="External"/><Relationship Id="rId36" Type="http://schemas.openxmlformats.org/officeDocument/2006/relationships/hyperlink" Target="http://terms.naver.com/entry.nhn?docId=558742&amp;cid=1597&amp;categoryId=1597" TargetMode="External"/><Relationship Id="rId10" Type="http://schemas.openxmlformats.org/officeDocument/2006/relationships/image" Target="../media/image83.png"/><Relationship Id="rId19" Type="http://schemas.openxmlformats.org/officeDocument/2006/relationships/hyperlink" Target="http://terms.naver.com/entry.nhn?cid=769&amp;docId=968075&amp;categoryId=2167" TargetMode="External"/><Relationship Id="rId31" Type="http://schemas.openxmlformats.org/officeDocument/2006/relationships/image" Target="../media/image94.png"/><Relationship Id="rId4" Type="http://schemas.openxmlformats.org/officeDocument/2006/relationships/image" Target="../media/image80.png"/><Relationship Id="rId9" Type="http://schemas.openxmlformats.org/officeDocument/2006/relationships/hyperlink" Target="http://terms.naver.com/entry.nhn?docId=1522536&amp;cid=771&amp;categoryId=1859" TargetMode="External"/><Relationship Id="rId14" Type="http://schemas.openxmlformats.org/officeDocument/2006/relationships/image" Target="../media/image85.png"/><Relationship Id="rId22" Type="http://schemas.openxmlformats.org/officeDocument/2006/relationships/image" Target="../media/image89.png"/><Relationship Id="rId27" Type="http://schemas.openxmlformats.org/officeDocument/2006/relationships/image" Target="../media/image92.png"/><Relationship Id="rId30" Type="http://schemas.openxmlformats.org/officeDocument/2006/relationships/hyperlink" Target="http://terms.naver.com/entry.nhn?docId=580127&amp;cid=1597&amp;categoryId=1597" TargetMode="External"/><Relationship Id="rId35" Type="http://schemas.openxmlformats.org/officeDocument/2006/relationships/image" Target="../media/image96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png"/><Relationship Id="rId3" Type="http://schemas.openxmlformats.org/officeDocument/2006/relationships/hyperlink" Target="http://www.clker.com/clipart-27784.html" TargetMode="External"/><Relationship Id="rId7" Type="http://schemas.openxmlformats.org/officeDocument/2006/relationships/image" Target="../media/image101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0.png"/><Relationship Id="rId5" Type="http://schemas.openxmlformats.org/officeDocument/2006/relationships/image" Target="../media/image5.png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hyperlink" Target="http://www.clker.com/cliparts/7/9/5/9/12422526651402135547Moped_aus_Zusatzzeichen_1046-11.svg.med.png" TargetMode="External"/><Relationship Id="rId3" Type="http://schemas.openxmlformats.org/officeDocument/2006/relationships/image" Target="../media/image103.jp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://www.clker.com/clipart-27784.html" TargetMode="External"/><Relationship Id="rId5" Type="http://schemas.openxmlformats.org/officeDocument/2006/relationships/image" Target="../media/image104.png"/><Relationship Id="rId10" Type="http://schemas.openxmlformats.org/officeDocument/2006/relationships/image" Target="../media/image5.png"/><Relationship Id="rId4" Type="http://schemas.openxmlformats.org/officeDocument/2006/relationships/hyperlink" Target="http://www.clker.com/cliparts/Y/b/r/I/6/n/plain-wheelchair-md.png" TargetMode="External"/><Relationship Id="rId9" Type="http://schemas.openxmlformats.org/officeDocument/2006/relationships/image" Target="../media/image105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107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109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111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113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lker.com/clipart-27784.html" TargetMode="External"/><Relationship Id="rId7" Type="http://schemas.openxmlformats.org/officeDocument/2006/relationships/image" Target="../media/image115.jp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4.png"/><Relationship Id="rId5" Type="http://schemas.openxmlformats.org/officeDocument/2006/relationships/image" Target="../media/image5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3.jpg"/><Relationship Id="rId3" Type="http://schemas.openxmlformats.org/officeDocument/2006/relationships/tags" Target="../tags/tag22.xml"/><Relationship Id="rId7" Type="http://schemas.openxmlformats.org/officeDocument/2006/relationships/hyperlink" Target="http://www.clker.com/clipart-27784.html" TargetMode="External"/><Relationship Id="rId12" Type="http://schemas.openxmlformats.org/officeDocument/2006/relationships/image" Target="../media/image12.jp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notesSlide" Target="../notesSlides/notesSlide2.xml"/><Relationship Id="rId11" Type="http://schemas.openxmlformats.org/officeDocument/2006/relationships/image" Target="../media/image11.jpg"/><Relationship Id="rId5" Type="http://schemas.openxmlformats.org/officeDocument/2006/relationships/slideLayout" Target="../slideLayouts/slideLayout1.xml"/><Relationship Id="rId15" Type="http://schemas.openxmlformats.org/officeDocument/2006/relationships/image" Target="../media/image15.jpg"/><Relationship Id="rId10" Type="http://schemas.openxmlformats.org/officeDocument/2006/relationships/image" Target="../media/image10.jpg"/><Relationship Id="rId4" Type="http://schemas.openxmlformats.org/officeDocument/2006/relationships/tags" Target="../tags/tag23.xml"/><Relationship Id="rId9" Type="http://schemas.openxmlformats.org/officeDocument/2006/relationships/image" Target="../media/image5.png"/><Relationship Id="rId14" Type="http://schemas.openxmlformats.org/officeDocument/2006/relationships/image" Target="../media/image14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2" y="0"/>
            <a:ext cx="9144000" cy="6858000"/>
          </a:xfrm>
          <a:prstGeom prst="rect">
            <a:avLst/>
          </a:prstGeom>
        </p:spPr>
      </p:pic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12965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Oval 45"/>
          <p:cNvSpPr/>
          <p:nvPr/>
        </p:nvSpPr>
        <p:spPr>
          <a:xfrm>
            <a:off x="215304" y="161493"/>
            <a:ext cx="539719" cy="508017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479823" y="2708920"/>
            <a:ext cx="6307919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ko-KR" altLang="en-US" sz="5400" dirty="0" smtClean="0">
                <a:solidFill>
                  <a:srgbClr val="0B538F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복지 희망 사회 </a:t>
            </a:r>
            <a:r>
              <a:rPr lang="ko-KR" altLang="en-US" sz="5400" dirty="0" smtClean="0">
                <a:solidFill>
                  <a:srgbClr val="0B538F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실현</a:t>
            </a:r>
            <a:endParaRPr lang="en-US" sz="5400" dirty="0">
              <a:solidFill>
                <a:srgbClr val="0B538F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 flipH="1">
            <a:off x="1408890" y="2492896"/>
            <a:ext cx="6475478" cy="0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1479823" y="1697795"/>
            <a:ext cx="5396433" cy="5457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건강하고 행복이 넘치는</a:t>
            </a:r>
            <a:endParaRPr lang="en-US" altLang="ko-KR" sz="2800" dirty="0" smtClean="0">
              <a:solidFill>
                <a:schemeClr val="tx1">
                  <a:lumMod val="65000"/>
                  <a:lumOff val="35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217142" y="343248"/>
            <a:ext cx="53788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2014</a:t>
            </a:r>
            <a:endParaRPr lang="en-US" sz="11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5847835" y="5374034"/>
            <a:ext cx="254058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국회의원   </a:t>
            </a:r>
            <a:r>
              <a:rPr lang="ko-KR" altLang="en-US" sz="28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이 명 수</a:t>
            </a:r>
            <a:endParaRPr lang="en-US" sz="28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71010" y="254848"/>
            <a:ext cx="1842926" cy="4231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ko-KR" altLang="en-US" sz="1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보건복지위원회</a:t>
            </a:r>
            <a:endParaRPr lang="en-US" altLang="ko-KR" sz="1100" dirty="0" smtClean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국정감</a:t>
            </a:r>
            <a:r>
              <a:rPr lang="ko-KR" altLang="en-US" sz="11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사</a:t>
            </a:r>
            <a:endParaRPr lang="en-US" sz="11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893433" y="5875444"/>
            <a:ext cx="244938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ko-KR" sz="1400" dirty="0" smtClean="0">
                <a:solidFill>
                  <a:schemeClr val="accent2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1400" dirty="0" smtClean="0">
                <a:solidFill>
                  <a:schemeClr val="accent2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충남 아산</a:t>
            </a:r>
            <a:r>
              <a:rPr lang="en-US" altLang="ko-KR" sz="1400" dirty="0" smtClean="0">
                <a:solidFill>
                  <a:schemeClr val="accent2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400" dirty="0" err="1" smtClean="0">
                <a:solidFill>
                  <a:schemeClr val="accent2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새누리당</a:t>
            </a:r>
            <a:r>
              <a:rPr lang="en-US" altLang="ko-KR" sz="1400" dirty="0" smtClean="0">
                <a:solidFill>
                  <a:schemeClr val="accent2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endParaRPr lang="en-US" sz="1400" dirty="0">
              <a:solidFill>
                <a:schemeClr val="accent2">
                  <a:lumMod val="75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84" y="5832161"/>
            <a:ext cx="539951" cy="258727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4078" y="1561883"/>
            <a:ext cx="2233222" cy="918156"/>
          </a:xfrm>
          <a:prstGeom prst="rect">
            <a:avLst/>
          </a:prstGeom>
        </p:spPr>
      </p:pic>
      <p:grpSp>
        <p:nvGrpSpPr>
          <p:cNvPr id="14" name="Group 348"/>
          <p:cNvGrpSpPr/>
          <p:nvPr/>
        </p:nvGrpSpPr>
        <p:grpSpPr>
          <a:xfrm>
            <a:off x="426239" y="6370186"/>
            <a:ext cx="1453620" cy="288575"/>
            <a:chOff x="2077120" y="4859661"/>
            <a:chExt cx="1453620" cy="288575"/>
          </a:xfrm>
        </p:grpSpPr>
        <p:sp>
          <p:nvSpPr>
            <p:cNvPr id="15" name="Freeform 6"/>
            <p:cNvSpPr>
              <a:spLocks noEditPoints="1"/>
            </p:cNvSpPr>
            <p:nvPr>
              <p:custDataLst>
                <p:tags r:id="rId3"/>
              </p:custDataLst>
            </p:nvPr>
          </p:nvSpPr>
          <p:spPr bwMode="auto">
            <a:xfrm>
              <a:off x="2077120" y="4859661"/>
              <a:ext cx="290457" cy="288575"/>
            </a:xfrm>
            <a:custGeom>
              <a:avLst/>
              <a:gdLst>
                <a:gd name="T0" fmla="*/ 1285 w 2772"/>
                <a:gd name="T1" fmla="*/ 205 h 2759"/>
                <a:gd name="T2" fmla="*/ 1485 w 2772"/>
                <a:gd name="T3" fmla="*/ 195 h 2759"/>
                <a:gd name="T4" fmla="*/ 2533 w 2772"/>
                <a:gd name="T5" fmla="*/ 616 h 2759"/>
                <a:gd name="T6" fmla="*/ 2366 w 2772"/>
                <a:gd name="T7" fmla="*/ 2357 h 2759"/>
                <a:gd name="T8" fmla="*/ 1023 w 2772"/>
                <a:gd name="T9" fmla="*/ 2708 h 2759"/>
                <a:gd name="T10" fmla="*/ 45 w 2772"/>
                <a:gd name="T11" fmla="*/ 1742 h 2759"/>
                <a:gd name="T12" fmla="*/ 292 w 2772"/>
                <a:gd name="T13" fmla="*/ 534 h 2759"/>
                <a:gd name="T14" fmla="*/ 1142 w 2772"/>
                <a:gd name="T15" fmla="*/ 21 h 2759"/>
                <a:gd name="T16" fmla="*/ 2158 w 2772"/>
                <a:gd name="T17" fmla="*/ 302 h 2759"/>
                <a:gd name="T18" fmla="*/ 702 w 2772"/>
                <a:gd name="T19" fmla="*/ 244 h 2759"/>
                <a:gd name="T20" fmla="*/ 364 w 2772"/>
                <a:gd name="T21" fmla="*/ 534 h 2759"/>
                <a:gd name="T22" fmla="*/ 266 w 2772"/>
                <a:gd name="T23" fmla="*/ 1264 h 2759"/>
                <a:gd name="T24" fmla="*/ 55 w 2772"/>
                <a:gd name="T25" fmla="*/ 1418 h 2759"/>
                <a:gd name="T26" fmla="*/ 1323 w 2772"/>
                <a:gd name="T27" fmla="*/ 2705 h 2759"/>
                <a:gd name="T28" fmla="*/ 2580 w 2772"/>
                <a:gd name="T29" fmla="*/ 1968 h 2759"/>
                <a:gd name="T30" fmla="*/ 2611 w 2772"/>
                <a:gd name="T31" fmla="*/ 1678 h 2759"/>
                <a:gd name="T32" fmla="*/ 2605 w 2772"/>
                <a:gd name="T33" fmla="*/ 1008 h 2759"/>
                <a:gd name="T34" fmla="*/ 2692 w 2772"/>
                <a:gd name="T35" fmla="*/ 1488 h 2759"/>
                <a:gd name="T36" fmla="*/ 1696 w 2772"/>
                <a:gd name="T37" fmla="*/ 112 h 2759"/>
                <a:gd name="T38" fmla="*/ 1735 w 2772"/>
                <a:gd name="T39" fmla="*/ 159 h 2759"/>
                <a:gd name="T40" fmla="*/ 1707 w 2772"/>
                <a:gd name="T41" fmla="*/ 269 h 2759"/>
                <a:gd name="T42" fmla="*/ 2308 w 2772"/>
                <a:gd name="T43" fmla="*/ 642 h 2759"/>
                <a:gd name="T44" fmla="*/ 2588 w 2772"/>
                <a:gd name="T45" fmla="*/ 903 h 2759"/>
                <a:gd name="T46" fmla="*/ 2194 w 2772"/>
                <a:gd name="T47" fmla="*/ 728 h 2759"/>
                <a:gd name="T48" fmla="*/ 1726 w 2772"/>
                <a:gd name="T49" fmla="*/ 310 h 2759"/>
                <a:gd name="T50" fmla="*/ 1627 w 2772"/>
                <a:gd name="T51" fmla="*/ 295 h 2759"/>
                <a:gd name="T52" fmla="*/ 2070 w 2772"/>
                <a:gd name="T53" fmla="*/ 2496 h 2759"/>
                <a:gd name="T54" fmla="*/ 2480 w 2772"/>
                <a:gd name="T55" fmla="*/ 1784 h 2759"/>
                <a:gd name="T56" fmla="*/ 2399 w 2772"/>
                <a:gd name="T57" fmla="*/ 2180 h 2759"/>
                <a:gd name="T58" fmla="*/ 2054 w 2772"/>
                <a:gd name="T59" fmla="*/ 1566 h 2759"/>
                <a:gd name="T60" fmla="*/ 2130 w 2772"/>
                <a:gd name="T61" fmla="*/ 840 h 2759"/>
                <a:gd name="T62" fmla="*/ 2108 w 2772"/>
                <a:gd name="T63" fmla="*/ 711 h 2759"/>
                <a:gd name="T64" fmla="*/ 1906 w 2772"/>
                <a:gd name="T65" fmla="*/ 501 h 2759"/>
                <a:gd name="T66" fmla="*/ 1438 w 2772"/>
                <a:gd name="T67" fmla="*/ 288 h 2759"/>
                <a:gd name="T68" fmla="*/ 1414 w 2772"/>
                <a:gd name="T69" fmla="*/ 2483 h 2759"/>
                <a:gd name="T70" fmla="*/ 1979 w 2772"/>
                <a:gd name="T71" fmla="*/ 1980 h 2759"/>
                <a:gd name="T72" fmla="*/ 2035 w 2772"/>
                <a:gd name="T73" fmla="*/ 1690 h 2759"/>
                <a:gd name="T74" fmla="*/ 1984 w 2772"/>
                <a:gd name="T75" fmla="*/ 1425 h 2759"/>
                <a:gd name="T76" fmla="*/ 1801 w 2772"/>
                <a:gd name="T77" fmla="*/ 859 h 2759"/>
                <a:gd name="T78" fmla="*/ 1562 w 2772"/>
                <a:gd name="T79" fmla="*/ 407 h 2759"/>
                <a:gd name="T80" fmla="*/ 1180 w 2772"/>
                <a:gd name="T81" fmla="*/ 97 h 2759"/>
                <a:gd name="T82" fmla="*/ 1050 w 2772"/>
                <a:gd name="T83" fmla="*/ 188 h 2759"/>
                <a:gd name="T84" fmla="*/ 900 w 2772"/>
                <a:gd name="T85" fmla="*/ 234 h 2759"/>
                <a:gd name="T86" fmla="*/ 929 w 2772"/>
                <a:gd name="T87" fmla="*/ 265 h 2759"/>
                <a:gd name="T88" fmla="*/ 1001 w 2772"/>
                <a:gd name="T89" fmla="*/ 242 h 2759"/>
                <a:gd name="T90" fmla="*/ 739 w 2772"/>
                <a:gd name="T91" fmla="*/ 554 h 2759"/>
                <a:gd name="T92" fmla="*/ 207 w 2772"/>
                <a:gd name="T93" fmla="*/ 1031 h 2759"/>
                <a:gd name="T94" fmla="*/ 427 w 2772"/>
                <a:gd name="T95" fmla="*/ 549 h 2759"/>
                <a:gd name="T96" fmla="*/ 968 w 2772"/>
                <a:gd name="T97" fmla="*/ 605 h 2759"/>
                <a:gd name="T98" fmla="*/ 777 w 2772"/>
                <a:gd name="T99" fmla="*/ 871 h 2759"/>
                <a:gd name="T100" fmla="*/ 424 w 2772"/>
                <a:gd name="T101" fmla="*/ 1271 h 2759"/>
                <a:gd name="T102" fmla="*/ 258 w 2772"/>
                <a:gd name="T103" fmla="*/ 1401 h 2759"/>
                <a:gd name="T104" fmla="*/ 671 w 2772"/>
                <a:gd name="T105" fmla="*/ 1431 h 2759"/>
                <a:gd name="T106" fmla="*/ 342 w 2772"/>
                <a:gd name="T107" fmla="*/ 2162 h 2759"/>
                <a:gd name="T108" fmla="*/ 306 w 2772"/>
                <a:gd name="T109" fmla="*/ 1810 h 2759"/>
                <a:gd name="T110" fmla="*/ 501 w 2772"/>
                <a:gd name="T111" fmla="*/ 2305 h 2759"/>
                <a:gd name="T112" fmla="*/ 1138 w 2772"/>
                <a:gd name="T113" fmla="*/ 652 h 2759"/>
                <a:gd name="T114" fmla="*/ 1375 w 2772"/>
                <a:gd name="T115" fmla="*/ 984 h 2759"/>
                <a:gd name="T116" fmla="*/ 1299 w 2772"/>
                <a:gd name="T117" fmla="*/ 1500 h 2759"/>
                <a:gd name="T118" fmla="*/ 1206 w 2772"/>
                <a:gd name="T119" fmla="*/ 2002 h 2759"/>
                <a:gd name="T120" fmla="*/ 750 w 2772"/>
                <a:gd name="T121" fmla="*/ 2359 h 2759"/>
                <a:gd name="T122" fmla="*/ 740 w 2772"/>
                <a:gd name="T123" fmla="*/ 1977 h 2759"/>
                <a:gd name="T124" fmla="*/ 1107 w 2772"/>
                <a:gd name="T125" fmla="*/ 246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72" h="2759">
                  <a:moveTo>
                    <a:pt x="1406" y="117"/>
                  </a:moveTo>
                  <a:lnTo>
                    <a:pt x="1417" y="119"/>
                  </a:lnTo>
                  <a:lnTo>
                    <a:pt x="1427" y="121"/>
                  </a:lnTo>
                  <a:lnTo>
                    <a:pt x="1433" y="113"/>
                  </a:lnTo>
                  <a:lnTo>
                    <a:pt x="1440" y="106"/>
                  </a:lnTo>
                  <a:lnTo>
                    <a:pt x="1447" y="99"/>
                  </a:lnTo>
                  <a:lnTo>
                    <a:pt x="1455" y="93"/>
                  </a:lnTo>
                  <a:lnTo>
                    <a:pt x="1472" y="83"/>
                  </a:lnTo>
                  <a:lnTo>
                    <a:pt x="1489" y="74"/>
                  </a:lnTo>
                  <a:lnTo>
                    <a:pt x="1468" y="71"/>
                  </a:lnTo>
                  <a:lnTo>
                    <a:pt x="1448" y="69"/>
                  </a:lnTo>
                  <a:lnTo>
                    <a:pt x="1427" y="68"/>
                  </a:lnTo>
                  <a:lnTo>
                    <a:pt x="1406" y="68"/>
                  </a:lnTo>
                  <a:lnTo>
                    <a:pt x="1406" y="117"/>
                  </a:lnTo>
                  <a:close/>
                  <a:moveTo>
                    <a:pt x="1387" y="147"/>
                  </a:moveTo>
                  <a:lnTo>
                    <a:pt x="1375" y="147"/>
                  </a:lnTo>
                  <a:lnTo>
                    <a:pt x="1365" y="148"/>
                  </a:lnTo>
                  <a:lnTo>
                    <a:pt x="1354" y="150"/>
                  </a:lnTo>
                  <a:lnTo>
                    <a:pt x="1344" y="152"/>
                  </a:lnTo>
                  <a:lnTo>
                    <a:pt x="1336" y="154"/>
                  </a:lnTo>
                  <a:lnTo>
                    <a:pt x="1328" y="157"/>
                  </a:lnTo>
                  <a:lnTo>
                    <a:pt x="1320" y="160"/>
                  </a:lnTo>
                  <a:lnTo>
                    <a:pt x="1313" y="163"/>
                  </a:lnTo>
                  <a:lnTo>
                    <a:pt x="1307" y="167"/>
                  </a:lnTo>
                  <a:lnTo>
                    <a:pt x="1301" y="172"/>
                  </a:lnTo>
                  <a:lnTo>
                    <a:pt x="1297" y="176"/>
                  </a:lnTo>
                  <a:lnTo>
                    <a:pt x="1293" y="181"/>
                  </a:lnTo>
                  <a:lnTo>
                    <a:pt x="1290" y="185"/>
                  </a:lnTo>
                  <a:lnTo>
                    <a:pt x="1288" y="190"/>
                  </a:lnTo>
                  <a:lnTo>
                    <a:pt x="1286" y="195"/>
                  </a:lnTo>
                  <a:lnTo>
                    <a:pt x="1285" y="199"/>
                  </a:lnTo>
                  <a:lnTo>
                    <a:pt x="1285" y="205"/>
                  </a:lnTo>
                  <a:lnTo>
                    <a:pt x="1286" y="210"/>
                  </a:lnTo>
                  <a:lnTo>
                    <a:pt x="1288" y="214"/>
                  </a:lnTo>
                  <a:lnTo>
                    <a:pt x="1290" y="219"/>
                  </a:lnTo>
                  <a:lnTo>
                    <a:pt x="1293" y="223"/>
                  </a:lnTo>
                  <a:lnTo>
                    <a:pt x="1297" y="228"/>
                  </a:lnTo>
                  <a:lnTo>
                    <a:pt x="1301" y="231"/>
                  </a:lnTo>
                  <a:lnTo>
                    <a:pt x="1307" y="236"/>
                  </a:lnTo>
                  <a:lnTo>
                    <a:pt x="1314" y="240"/>
                  </a:lnTo>
                  <a:lnTo>
                    <a:pt x="1321" y="242"/>
                  </a:lnTo>
                  <a:lnTo>
                    <a:pt x="1329" y="245"/>
                  </a:lnTo>
                  <a:lnTo>
                    <a:pt x="1338" y="248"/>
                  </a:lnTo>
                  <a:lnTo>
                    <a:pt x="1349" y="249"/>
                  </a:lnTo>
                  <a:lnTo>
                    <a:pt x="1359" y="251"/>
                  </a:lnTo>
                  <a:lnTo>
                    <a:pt x="1372" y="251"/>
                  </a:lnTo>
                  <a:lnTo>
                    <a:pt x="1384" y="251"/>
                  </a:lnTo>
                  <a:lnTo>
                    <a:pt x="1397" y="251"/>
                  </a:lnTo>
                  <a:lnTo>
                    <a:pt x="1408" y="250"/>
                  </a:lnTo>
                  <a:lnTo>
                    <a:pt x="1419" y="249"/>
                  </a:lnTo>
                  <a:lnTo>
                    <a:pt x="1429" y="246"/>
                  </a:lnTo>
                  <a:lnTo>
                    <a:pt x="1438" y="244"/>
                  </a:lnTo>
                  <a:lnTo>
                    <a:pt x="1448" y="242"/>
                  </a:lnTo>
                  <a:lnTo>
                    <a:pt x="1455" y="238"/>
                  </a:lnTo>
                  <a:lnTo>
                    <a:pt x="1461" y="235"/>
                  </a:lnTo>
                  <a:lnTo>
                    <a:pt x="1467" y="230"/>
                  </a:lnTo>
                  <a:lnTo>
                    <a:pt x="1472" y="227"/>
                  </a:lnTo>
                  <a:lnTo>
                    <a:pt x="1476" y="222"/>
                  </a:lnTo>
                  <a:lnTo>
                    <a:pt x="1480" y="218"/>
                  </a:lnTo>
                  <a:lnTo>
                    <a:pt x="1482" y="213"/>
                  </a:lnTo>
                  <a:lnTo>
                    <a:pt x="1485" y="208"/>
                  </a:lnTo>
                  <a:lnTo>
                    <a:pt x="1486" y="204"/>
                  </a:lnTo>
                  <a:lnTo>
                    <a:pt x="1486" y="199"/>
                  </a:lnTo>
                  <a:lnTo>
                    <a:pt x="1485" y="195"/>
                  </a:lnTo>
                  <a:lnTo>
                    <a:pt x="1483" y="189"/>
                  </a:lnTo>
                  <a:lnTo>
                    <a:pt x="1481" y="184"/>
                  </a:lnTo>
                  <a:lnTo>
                    <a:pt x="1479" y="180"/>
                  </a:lnTo>
                  <a:lnTo>
                    <a:pt x="1475" y="175"/>
                  </a:lnTo>
                  <a:lnTo>
                    <a:pt x="1471" y="172"/>
                  </a:lnTo>
                  <a:lnTo>
                    <a:pt x="1465" y="167"/>
                  </a:lnTo>
                  <a:lnTo>
                    <a:pt x="1459" y="163"/>
                  </a:lnTo>
                  <a:lnTo>
                    <a:pt x="1452" y="160"/>
                  </a:lnTo>
                  <a:lnTo>
                    <a:pt x="1445" y="157"/>
                  </a:lnTo>
                  <a:lnTo>
                    <a:pt x="1437" y="154"/>
                  </a:lnTo>
                  <a:lnTo>
                    <a:pt x="1429" y="152"/>
                  </a:lnTo>
                  <a:lnTo>
                    <a:pt x="1419" y="150"/>
                  </a:lnTo>
                  <a:lnTo>
                    <a:pt x="1408" y="148"/>
                  </a:lnTo>
                  <a:lnTo>
                    <a:pt x="1398" y="147"/>
                  </a:lnTo>
                  <a:lnTo>
                    <a:pt x="1387" y="147"/>
                  </a:lnTo>
                  <a:close/>
                  <a:moveTo>
                    <a:pt x="1387" y="0"/>
                  </a:moveTo>
                  <a:lnTo>
                    <a:pt x="1476" y="3"/>
                  </a:lnTo>
                  <a:lnTo>
                    <a:pt x="1565" y="11"/>
                  </a:lnTo>
                  <a:lnTo>
                    <a:pt x="1652" y="26"/>
                  </a:lnTo>
                  <a:lnTo>
                    <a:pt x="1736" y="46"/>
                  </a:lnTo>
                  <a:lnTo>
                    <a:pt x="1817" y="70"/>
                  </a:lnTo>
                  <a:lnTo>
                    <a:pt x="1898" y="99"/>
                  </a:lnTo>
                  <a:lnTo>
                    <a:pt x="1975" y="134"/>
                  </a:lnTo>
                  <a:lnTo>
                    <a:pt x="2050" y="172"/>
                  </a:lnTo>
                  <a:lnTo>
                    <a:pt x="2122" y="214"/>
                  </a:lnTo>
                  <a:lnTo>
                    <a:pt x="2191" y="261"/>
                  </a:lnTo>
                  <a:lnTo>
                    <a:pt x="2256" y="312"/>
                  </a:lnTo>
                  <a:lnTo>
                    <a:pt x="2319" y="366"/>
                  </a:lnTo>
                  <a:lnTo>
                    <a:pt x="2377" y="424"/>
                  </a:lnTo>
                  <a:lnTo>
                    <a:pt x="2433" y="485"/>
                  </a:lnTo>
                  <a:lnTo>
                    <a:pt x="2484" y="549"/>
                  </a:lnTo>
                  <a:lnTo>
                    <a:pt x="2533" y="616"/>
                  </a:lnTo>
                  <a:lnTo>
                    <a:pt x="2577" y="685"/>
                  </a:lnTo>
                  <a:lnTo>
                    <a:pt x="2617" y="758"/>
                  </a:lnTo>
                  <a:lnTo>
                    <a:pt x="2653" y="832"/>
                  </a:lnTo>
                  <a:lnTo>
                    <a:pt x="2684" y="908"/>
                  </a:lnTo>
                  <a:lnTo>
                    <a:pt x="2711" y="986"/>
                  </a:lnTo>
                  <a:lnTo>
                    <a:pt x="2733" y="1066"/>
                  </a:lnTo>
                  <a:lnTo>
                    <a:pt x="2751" y="1147"/>
                  </a:lnTo>
                  <a:lnTo>
                    <a:pt x="2763" y="1229"/>
                  </a:lnTo>
                  <a:lnTo>
                    <a:pt x="2770" y="1313"/>
                  </a:lnTo>
                  <a:lnTo>
                    <a:pt x="2772" y="1397"/>
                  </a:lnTo>
                  <a:lnTo>
                    <a:pt x="2769" y="1483"/>
                  </a:lnTo>
                  <a:lnTo>
                    <a:pt x="2761" y="1568"/>
                  </a:lnTo>
                  <a:lnTo>
                    <a:pt x="2746" y="1653"/>
                  </a:lnTo>
                  <a:lnTo>
                    <a:pt x="2726" y="1738"/>
                  </a:lnTo>
                  <a:lnTo>
                    <a:pt x="2700" y="1824"/>
                  </a:lnTo>
                  <a:lnTo>
                    <a:pt x="2668" y="1909"/>
                  </a:lnTo>
                  <a:lnTo>
                    <a:pt x="2654" y="1940"/>
                  </a:lnTo>
                  <a:lnTo>
                    <a:pt x="2640" y="1971"/>
                  </a:lnTo>
                  <a:lnTo>
                    <a:pt x="2625" y="2002"/>
                  </a:lnTo>
                  <a:lnTo>
                    <a:pt x="2609" y="2032"/>
                  </a:lnTo>
                  <a:lnTo>
                    <a:pt x="2593" y="2062"/>
                  </a:lnTo>
                  <a:lnTo>
                    <a:pt x="2575" y="2091"/>
                  </a:lnTo>
                  <a:lnTo>
                    <a:pt x="2557" y="2120"/>
                  </a:lnTo>
                  <a:lnTo>
                    <a:pt x="2539" y="2149"/>
                  </a:lnTo>
                  <a:lnTo>
                    <a:pt x="2519" y="2176"/>
                  </a:lnTo>
                  <a:lnTo>
                    <a:pt x="2499" y="2204"/>
                  </a:lnTo>
                  <a:lnTo>
                    <a:pt x="2479" y="2230"/>
                  </a:lnTo>
                  <a:lnTo>
                    <a:pt x="2457" y="2257"/>
                  </a:lnTo>
                  <a:lnTo>
                    <a:pt x="2435" y="2283"/>
                  </a:lnTo>
                  <a:lnTo>
                    <a:pt x="2412" y="2309"/>
                  </a:lnTo>
                  <a:lnTo>
                    <a:pt x="2389" y="2333"/>
                  </a:lnTo>
                  <a:lnTo>
                    <a:pt x="2366" y="2357"/>
                  </a:lnTo>
                  <a:lnTo>
                    <a:pt x="2342" y="2381"/>
                  </a:lnTo>
                  <a:lnTo>
                    <a:pt x="2316" y="2404"/>
                  </a:lnTo>
                  <a:lnTo>
                    <a:pt x="2291" y="2426"/>
                  </a:lnTo>
                  <a:lnTo>
                    <a:pt x="2264" y="2448"/>
                  </a:lnTo>
                  <a:lnTo>
                    <a:pt x="2238" y="2470"/>
                  </a:lnTo>
                  <a:lnTo>
                    <a:pt x="2211" y="2490"/>
                  </a:lnTo>
                  <a:lnTo>
                    <a:pt x="2184" y="2510"/>
                  </a:lnTo>
                  <a:lnTo>
                    <a:pt x="2156" y="2529"/>
                  </a:lnTo>
                  <a:lnTo>
                    <a:pt x="2127" y="2547"/>
                  </a:lnTo>
                  <a:lnTo>
                    <a:pt x="2099" y="2566"/>
                  </a:lnTo>
                  <a:lnTo>
                    <a:pt x="2069" y="2583"/>
                  </a:lnTo>
                  <a:lnTo>
                    <a:pt x="2039" y="2599"/>
                  </a:lnTo>
                  <a:lnTo>
                    <a:pt x="2009" y="2615"/>
                  </a:lnTo>
                  <a:lnTo>
                    <a:pt x="1978" y="2630"/>
                  </a:lnTo>
                  <a:lnTo>
                    <a:pt x="1946" y="2644"/>
                  </a:lnTo>
                  <a:lnTo>
                    <a:pt x="1915" y="2658"/>
                  </a:lnTo>
                  <a:lnTo>
                    <a:pt x="1861" y="2679"/>
                  </a:lnTo>
                  <a:lnTo>
                    <a:pt x="1806" y="2697"/>
                  </a:lnTo>
                  <a:lnTo>
                    <a:pt x="1751" y="2713"/>
                  </a:lnTo>
                  <a:lnTo>
                    <a:pt x="1694" y="2727"/>
                  </a:lnTo>
                  <a:lnTo>
                    <a:pt x="1638" y="2738"/>
                  </a:lnTo>
                  <a:lnTo>
                    <a:pt x="1582" y="2748"/>
                  </a:lnTo>
                  <a:lnTo>
                    <a:pt x="1526" y="2753"/>
                  </a:lnTo>
                  <a:lnTo>
                    <a:pt x="1468" y="2758"/>
                  </a:lnTo>
                  <a:lnTo>
                    <a:pt x="1412" y="2759"/>
                  </a:lnTo>
                  <a:lnTo>
                    <a:pt x="1355" y="2759"/>
                  </a:lnTo>
                  <a:lnTo>
                    <a:pt x="1299" y="2756"/>
                  </a:lnTo>
                  <a:lnTo>
                    <a:pt x="1244" y="2751"/>
                  </a:lnTo>
                  <a:lnTo>
                    <a:pt x="1187" y="2744"/>
                  </a:lnTo>
                  <a:lnTo>
                    <a:pt x="1132" y="2734"/>
                  </a:lnTo>
                  <a:lnTo>
                    <a:pt x="1077" y="2722"/>
                  </a:lnTo>
                  <a:lnTo>
                    <a:pt x="1023" y="2708"/>
                  </a:lnTo>
                  <a:lnTo>
                    <a:pt x="968" y="2693"/>
                  </a:lnTo>
                  <a:lnTo>
                    <a:pt x="915" y="2675"/>
                  </a:lnTo>
                  <a:lnTo>
                    <a:pt x="864" y="2655"/>
                  </a:lnTo>
                  <a:lnTo>
                    <a:pt x="812" y="2634"/>
                  </a:lnTo>
                  <a:lnTo>
                    <a:pt x="761" y="2609"/>
                  </a:lnTo>
                  <a:lnTo>
                    <a:pt x="710" y="2583"/>
                  </a:lnTo>
                  <a:lnTo>
                    <a:pt x="662" y="2555"/>
                  </a:lnTo>
                  <a:lnTo>
                    <a:pt x="615" y="2526"/>
                  </a:lnTo>
                  <a:lnTo>
                    <a:pt x="568" y="2494"/>
                  </a:lnTo>
                  <a:lnTo>
                    <a:pt x="523" y="2461"/>
                  </a:lnTo>
                  <a:lnTo>
                    <a:pt x="479" y="2426"/>
                  </a:lnTo>
                  <a:lnTo>
                    <a:pt x="436" y="2388"/>
                  </a:lnTo>
                  <a:lnTo>
                    <a:pt x="396" y="2350"/>
                  </a:lnTo>
                  <a:lnTo>
                    <a:pt x="356" y="2310"/>
                  </a:lnTo>
                  <a:lnTo>
                    <a:pt x="318" y="2267"/>
                  </a:lnTo>
                  <a:lnTo>
                    <a:pt x="282" y="2223"/>
                  </a:lnTo>
                  <a:lnTo>
                    <a:pt x="261" y="2197"/>
                  </a:lnTo>
                  <a:lnTo>
                    <a:pt x="242" y="2169"/>
                  </a:lnTo>
                  <a:lnTo>
                    <a:pt x="222" y="2142"/>
                  </a:lnTo>
                  <a:lnTo>
                    <a:pt x="203" y="2113"/>
                  </a:lnTo>
                  <a:lnTo>
                    <a:pt x="186" y="2084"/>
                  </a:lnTo>
                  <a:lnTo>
                    <a:pt x="170" y="2055"/>
                  </a:lnTo>
                  <a:lnTo>
                    <a:pt x="154" y="2025"/>
                  </a:lnTo>
                  <a:lnTo>
                    <a:pt x="139" y="1995"/>
                  </a:lnTo>
                  <a:lnTo>
                    <a:pt x="124" y="1964"/>
                  </a:lnTo>
                  <a:lnTo>
                    <a:pt x="110" y="1933"/>
                  </a:lnTo>
                  <a:lnTo>
                    <a:pt x="98" y="1902"/>
                  </a:lnTo>
                  <a:lnTo>
                    <a:pt x="86" y="1871"/>
                  </a:lnTo>
                  <a:lnTo>
                    <a:pt x="74" y="1839"/>
                  </a:lnTo>
                  <a:lnTo>
                    <a:pt x="64" y="1806"/>
                  </a:lnTo>
                  <a:lnTo>
                    <a:pt x="54" y="1774"/>
                  </a:lnTo>
                  <a:lnTo>
                    <a:pt x="45" y="1742"/>
                  </a:lnTo>
                  <a:lnTo>
                    <a:pt x="36" y="1710"/>
                  </a:lnTo>
                  <a:lnTo>
                    <a:pt x="30" y="1676"/>
                  </a:lnTo>
                  <a:lnTo>
                    <a:pt x="23" y="1643"/>
                  </a:lnTo>
                  <a:lnTo>
                    <a:pt x="17" y="1609"/>
                  </a:lnTo>
                  <a:lnTo>
                    <a:pt x="12" y="1576"/>
                  </a:lnTo>
                  <a:lnTo>
                    <a:pt x="9" y="1543"/>
                  </a:lnTo>
                  <a:lnTo>
                    <a:pt x="5" y="1509"/>
                  </a:lnTo>
                  <a:lnTo>
                    <a:pt x="3" y="1475"/>
                  </a:lnTo>
                  <a:lnTo>
                    <a:pt x="1" y="1441"/>
                  </a:lnTo>
                  <a:lnTo>
                    <a:pt x="0" y="1408"/>
                  </a:lnTo>
                  <a:lnTo>
                    <a:pt x="0" y="1373"/>
                  </a:lnTo>
                  <a:lnTo>
                    <a:pt x="1" y="1340"/>
                  </a:lnTo>
                  <a:lnTo>
                    <a:pt x="2" y="1305"/>
                  </a:lnTo>
                  <a:lnTo>
                    <a:pt x="4" y="1272"/>
                  </a:lnTo>
                  <a:lnTo>
                    <a:pt x="8" y="1238"/>
                  </a:lnTo>
                  <a:lnTo>
                    <a:pt x="12" y="1205"/>
                  </a:lnTo>
                  <a:lnTo>
                    <a:pt x="20" y="1149"/>
                  </a:lnTo>
                  <a:lnTo>
                    <a:pt x="32" y="1094"/>
                  </a:lnTo>
                  <a:lnTo>
                    <a:pt x="45" y="1039"/>
                  </a:lnTo>
                  <a:lnTo>
                    <a:pt x="59" y="985"/>
                  </a:lnTo>
                  <a:lnTo>
                    <a:pt x="77" y="932"/>
                  </a:lnTo>
                  <a:lnTo>
                    <a:pt x="96" y="879"/>
                  </a:lnTo>
                  <a:lnTo>
                    <a:pt x="118" y="827"/>
                  </a:lnTo>
                  <a:lnTo>
                    <a:pt x="142" y="775"/>
                  </a:lnTo>
                  <a:lnTo>
                    <a:pt x="168" y="726"/>
                  </a:lnTo>
                  <a:lnTo>
                    <a:pt x="195" y="676"/>
                  </a:lnTo>
                  <a:lnTo>
                    <a:pt x="210" y="652"/>
                  </a:lnTo>
                  <a:lnTo>
                    <a:pt x="227" y="628"/>
                  </a:lnTo>
                  <a:lnTo>
                    <a:pt x="242" y="604"/>
                  </a:lnTo>
                  <a:lnTo>
                    <a:pt x="258" y="581"/>
                  </a:lnTo>
                  <a:lnTo>
                    <a:pt x="275" y="557"/>
                  </a:lnTo>
                  <a:lnTo>
                    <a:pt x="292" y="534"/>
                  </a:lnTo>
                  <a:lnTo>
                    <a:pt x="311" y="513"/>
                  </a:lnTo>
                  <a:lnTo>
                    <a:pt x="328" y="491"/>
                  </a:lnTo>
                  <a:lnTo>
                    <a:pt x="347" y="469"/>
                  </a:lnTo>
                  <a:lnTo>
                    <a:pt x="367" y="447"/>
                  </a:lnTo>
                  <a:lnTo>
                    <a:pt x="387" y="426"/>
                  </a:lnTo>
                  <a:lnTo>
                    <a:pt x="406" y="405"/>
                  </a:lnTo>
                  <a:lnTo>
                    <a:pt x="406" y="405"/>
                  </a:lnTo>
                  <a:lnTo>
                    <a:pt x="432" y="381"/>
                  </a:lnTo>
                  <a:lnTo>
                    <a:pt x="457" y="357"/>
                  </a:lnTo>
                  <a:lnTo>
                    <a:pt x="482" y="334"/>
                  </a:lnTo>
                  <a:lnTo>
                    <a:pt x="509" y="312"/>
                  </a:lnTo>
                  <a:lnTo>
                    <a:pt x="535" y="290"/>
                  </a:lnTo>
                  <a:lnTo>
                    <a:pt x="563" y="269"/>
                  </a:lnTo>
                  <a:lnTo>
                    <a:pt x="589" y="250"/>
                  </a:lnTo>
                  <a:lnTo>
                    <a:pt x="617" y="230"/>
                  </a:lnTo>
                  <a:lnTo>
                    <a:pt x="646" y="212"/>
                  </a:lnTo>
                  <a:lnTo>
                    <a:pt x="674" y="195"/>
                  </a:lnTo>
                  <a:lnTo>
                    <a:pt x="702" y="177"/>
                  </a:lnTo>
                  <a:lnTo>
                    <a:pt x="732" y="161"/>
                  </a:lnTo>
                  <a:lnTo>
                    <a:pt x="761" y="146"/>
                  </a:lnTo>
                  <a:lnTo>
                    <a:pt x="791" y="131"/>
                  </a:lnTo>
                  <a:lnTo>
                    <a:pt x="821" y="117"/>
                  </a:lnTo>
                  <a:lnTo>
                    <a:pt x="852" y="104"/>
                  </a:lnTo>
                  <a:lnTo>
                    <a:pt x="883" y="91"/>
                  </a:lnTo>
                  <a:lnTo>
                    <a:pt x="914" y="79"/>
                  </a:lnTo>
                  <a:lnTo>
                    <a:pt x="945" y="69"/>
                  </a:lnTo>
                  <a:lnTo>
                    <a:pt x="978" y="59"/>
                  </a:lnTo>
                  <a:lnTo>
                    <a:pt x="1010" y="49"/>
                  </a:lnTo>
                  <a:lnTo>
                    <a:pt x="1043" y="41"/>
                  </a:lnTo>
                  <a:lnTo>
                    <a:pt x="1076" y="33"/>
                  </a:lnTo>
                  <a:lnTo>
                    <a:pt x="1109" y="26"/>
                  </a:lnTo>
                  <a:lnTo>
                    <a:pt x="1142" y="21"/>
                  </a:lnTo>
                  <a:lnTo>
                    <a:pt x="1177" y="15"/>
                  </a:lnTo>
                  <a:lnTo>
                    <a:pt x="1210" y="10"/>
                  </a:lnTo>
                  <a:lnTo>
                    <a:pt x="1245" y="7"/>
                  </a:lnTo>
                  <a:lnTo>
                    <a:pt x="1279" y="4"/>
                  </a:lnTo>
                  <a:lnTo>
                    <a:pt x="1315" y="2"/>
                  </a:lnTo>
                  <a:lnTo>
                    <a:pt x="1351" y="1"/>
                  </a:lnTo>
                  <a:lnTo>
                    <a:pt x="1387" y="0"/>
                  </a:lnTo>
                  <a:close/>
                  <a:moveTo>
                    <a:pt x="2327" y="446"/>
                  </a:moveTo>
                  <a:lnTo>
                    <a:pt x="2314" y="432"/>
                  </a:lnTo>
                  <a:lnTo>
                    <a:pt x="2319" y="447"/>
                  </a:lnTo>
                  <a:lnTo>
                    <a:pt x="2322" y="462"/>
                  </a:lnTo>
                  <a:lnTo>
                    <a:pt x="2325" y="477"/>
                  </a:lnTo>
                  <a:lnTo>
                    <a:pt x="2328" y="492"/>
                  </a:lnTo>
                  <a:lnTo>
                    <a:pt x="2352" y="511"/>
                  </a:lnTo>
                  <a:lnTo>
                    <a:pt x="2375" y="532"/>
                  </a:lnTo>
                  <a:lnTo>
                    <a:pt x="2398" y="553"/>
                  </a:lnTo>
                  <a:lnTo>
                    <a:pt x="2421" y="574"/>
                  </a:lnTo>
                  <a:lnTo>
                    <a:pt x="2443" y="596"/>
                  </a:lnTo>
                  <a:lnTo>
                    <a:pt x="2464" y="619"/>
                  </a:lnTo>
                  <a:lnTo>
                    <a:pt x="2484" y="642"/>
                  </a:lnTo>
                  <a:lnTo>
                    <a:pt x="2505" y="665"/>
                  </a:lnTo>
                  <a:lnTo>
                    <a:pt x="2486" y="636"/>
                  </a:lnTo>
                  <a:lnTo>
                    <a:pt x="2465" y="607"/>
                  </a:lnTo>
                  <a:lnTo>
                    <a:pt x="2444" y="578"/>
                  </a:lnTo>
                  <a:lnTo>
                    <a:pt x="2422" y="551"/>
                  </a:lnTo>
                  <a:lnTo>
                    <a:pt x="2399" y="523"/>
                  </a:lnTo>
                  <a:lnTo>
                    <a:pt x="2376" y="496"/>
                  </a:lnTo>
                  <a:lnTo>
                    <a:pt x="2352" y="470"/>
                  </a:lnTo>
                  <a:lnTo>
                    <a:pt x="2327" y="446"/>
                  </a:lnTo>
                  <a:close/>
                  <a:moveTo>
                    <a:pt x="2203" y="336"/>
                  </a:moveTo>
                  <a:lnTo>
                    <a:pt x="2181" y="320"/>
                  </a:lnTo>
                  <a:lnTo>
                    <a:pt x="2158" y="302"/>
                  </a:lnTo>
                  <a:lnTo>
                    <a:pt x="2134" y="284"/>
                  </a:lnTo>
                  <a:lnTo>
                    <a:pt x="2109" y="267"/>
                  </a:lnTo>
                  <a:lnTo>
                    <a:pt x="2084" y="250"/>
                  </a:lnTo>
                  <a:lnTo>
                    <a:pt x="2058" y="235"/>
                  </a:lnTo>
                  <a:lnTo>
                    <a:pt x="2033" y="222"/>
                  </a:lnTo>
                  <a:lnTo>
                    <a:pt x="2008" y="212"/>
                  </a:lnTo>
                  <a:lnTo>
                    <a:pt x="2018" y="223"/>
                  </a:lnTo>
                  <a:lnTo>
                    <a:pt x="2029" y="237"/>
                  </a:lnTo>
                  <a:lnTo>
                    <a:pt x="2039" y="251"/>
                  </a:lnTo>
                  <a:lnTo>
                    <a:pt x="2048" y="265"/>
                  </a:lnTo>
                  <a:lnTo>
                    <a:pt x="2055" y="280"/>
                  </a:lnTo>
                  <a:lnTo>
                    <a:pt x="2062" y="295"/>
                  </a:lnTo>
                  <a:lnTo>
                    <a:pt x="2067" y="310"/>
                  </a:lnTo>
                  <a:lnTo>
                    <a:pt x="2071" y="327"/>
                  </a:lnTo>
                  <a:lnTo>
                    <a:pt x="2097" y="340"/>
                  </a:lnTo>
                  <a:lnTo>
                    <a:pt x="2123" y="354"/>
                  </a:lnTo>
                  <a:lnTo>
                    <a:pt x="2148" y="369"/>
                  </a:lnTo>
                  <a:lnTo>
                    <a:pt x="2173" y="384"/>
                  </a:lnTo>
                  <a:lnTo>
                    <a:pt x="2199" y="400"/>
                  </a:lnTo>
                  <a:lnTo>
                    <a:pt x="2224" y="416"/>
                  </a:lnTo>
                  <a:lnTo>
                    <a:pt x="2248" y="432"/>
                  </a:lnTo>
                  <a:lnTo>
                    <a:pt x="2271" y="449"/>
                  </a:lnTo>
                  <a:lnTo>
                    <a:pt x="2266" y="434"/>
                  </a:lnTo>
                  <a:lnTo>
                    <a:pt x="2259" y="418"/>
                  </a:lnTo>
                  <a:lnTo>
                    <a:pt x="2252" y="403"/>
                  </a:lnTo>
                  <a:lnTo>
                    <a:pt x="2244" y="389"/>
                  </a:lnTo>
                  <a:lnTo>
                    <a:pt x="2234" y="375"/>
                  </a:lnTo>
                  <a:lnTo>
                    <a:pt x="2224" y="362"/>
                  </a:lnTo>
                  <a:lnTo>
                    <a:pt x="2214" y="349"/>
                  </a:lnTo>
                  <a:lnTo>
                    <a:pt x="2203" y="336"/>
                  </a:lnTo>
                  <a:close/>
                  <a:moveTo>
                    <a:pt x="740" y="223"/>
                  </a:moveTo>
                  <a:lnTo>
                    <a:pt x="702" y="244"/>
                  </a:lnTo>
                  <a:lnTo>
                    <a:pt x="663" y="266"/>
                  </a:lnTo>
                  <a:lnTo>
                    <a:pt x="645" y="278"/>
                  </a:lnTo>
                  <a:lnTo>
                    <a:pt x="625" y="290"/>
                  </a:lnTo>
                  <a:lnTo>
                    <a:pt x="607" y="303"/>
                  </a:lnTo>
                  <a:lnTo>
                    <a:pt x="589" y="316"/>
                  </a:lnTo>
                  <a:lnTo>
                    <a:pt x="572" y="329"/>
                  </a:lnTo>
                  <a:lnTo>
                    <a:pt x="556" y="344"/>
                  </a:lnTo>
                  <a:lnTo>
                    <a:pt x="541" y="359"/>
                  </a:lnTo>
                  <a:lnTo>
                    <a:pt x="526" y="377"/>
                  </a:lnTo>
                  <a:lnTo>
                    <a:pt x="513" y="394"/>
                  </a:lnTo>
                  <a:lnTo>
                    <a:pt x="503" y="412"/>
                  </a:lnTo>
                  <a:lnTo>
                    <a:pt x="493" y="432"/>
                  </a:lnTo>
                  <a:lnTo>
                    <a:pt x="486" y="453"/>
                  </a:lnTo>
                  <a:lnTo>
                    <a:pt x="509" y="435"/>
                  </a:lnTo>
                  <a:lnTo>
                    <a:pt x="534" y="419"/>
                  </a:lnTo>
                  <a:lnTo>
                    <a:pt x="558" y="402"/>
                  </a:lnTo>
                  <a:lnTo>
                    <a:pt x="584" y="387"/>
                  </a:lnTo>
                  <a:lnTo>
                    <a:pt x="609" y="371"/>
                  </a:lnTo>
                  <a:lnTo>
                    <a:pt x="634" y="356"/>
                  </a:lnTo>
                  <a:lnTo>
                    <a:pt x="660" y="342"/>
                  </a:lnTo>
                  <a:lnTo>
                    <a:pt x="686" y="328"/>
                  </a:lnTo>
                  <a:lnTo>
                    <a:pt x="690" y="313"/>
                  </a:lnTo>
                  <a:lnTo>
                    <a:pt x="694" y="299"/>
                  </a:lnTo>
                  <a:lnTo>
                    <a:pt x="700" y="286"/>
                  </a:lnTo>
                  <a:lnTo>
                    <a:pt x="707" y="272"/>
                  </a:lnTo>
                  <a:lnTo>
                    <a:pt x="714" y="259"/>
                  </a:lnTo>
                  <a:lnTo>
                    <a:pt x="722" y="246"/>
                  </a:lnTo>
                  <a:lnTo>
                    <a:pt x="731" y="235"/>
                  </a:lnTo>
                  <a:lnTo>
                    <a:pt x="740" y="223"/>
                  </a:lnTo>
                  <a:close/>
                  <a:moveTo>
                    <a:pt x="439" y="453"/>
                  </a:moveTo>
                  <a:lnTo>
                    <a:pt x="400" y="493"/>
                  </a:lnTo>
                  <a:lnTo>
                    <a:pt x="364" y="534"/>
                  </a:lnTo>
                  <a:lnTo>
                    <a:pt x="346" y="555"/>
                  </a:lnTo>
                  <a:lnTo>
                    <a:pt x="329" y="577"/>
                  </a:lnTo>
                  <a:lnTo>
                    <a:pt x="312" y="599"/>
                  </a:lnTo>
                  <a:lnTo>
                    <a:pt x="296" y="622"/>
                  </a:lnTo>
                  <a:lnTo>
                    <a:pt x="328" y="589"/>
                  </a:lnTo>
                  <a:lnTo>
                    <a:pt x="361" y="556"/>
                  </a:lnTo>
                  <a:lnTo>
                    <a:pt x="395" y="525"/>
                  </a:lnTo>
                  <a:lnTo>
                    <a:pt x="429" y="496"/>
                  </a:lnTo>
                  <a:lnTo>
                    <a:pt x="432" y="485"/>
                  </a:lnTo>
                  <a:lnTo>
                    <a:pt x="433" y="475"/>
                  </a:lnTo>
                  <a:lnTo>
                    <a:pt x="435" y="463"/>
                  </a:lnTo>
                  <a:lnTo>
                    <a:pt x="439" y="453"/>
                  </a:lnTo>
                  <a:close/>
                  <a:moveTo>
                    <a:pt x="57" y="1450"/>
                  </a:moveTo>
                  <a:lnTo>
                    <a:pt x="65" y="1478"/>
                  </a:lnTo>
                  <a:lnTo>
                    <a:pt x="74" y="1506"/>
                  </a:lnTo>
                  <a:lnTo>
                    <a:pt x="87" y="1531"/>
                  </a:lnTo>
                  <a:lnTo>
                    <a:pt x="100" y="1556"/>
                  </a:lnTo>
                  <a:lnTo>
                    <a:pt x="115" y="1581"/>
                  </a:lnTo>
                  <a:lnTo>
                    <a:pt x="131" y="1605"/>
                  </a:lnTo>
                  <a:lnTo>
                    <a:pt x="149" y="1627"/>
                  </a:lnTo>
                  <a:lnTo>
                    <a:pt x="168" y="1649"/>
                  </a:lnTo>
                  <a:lnTo>
                    <a:pt x="171" y="1620"/>
                  </a:lnTo>
                  <a:lnTo>
                    <a:pt x="175" y="1592"/>
                  </a:lnTo>
                  <a:lnTo>
                    <a:pt x="179" y="1563"/>
                  </a:lnTo>
                  <a:lnTo>
                    <a:pt x="184" y="1536"/>
                  </a:lnTo>
                  <a:lnTo>
                    <a:pt x="190" y="1508"/>
                  </a:lnTo>
                  <a:lnTo>
                    <a:pt x="195" y="1480"/>
                  </a:lnTo>
                  <a:lnTo>
                    <a:pt x="202" y="1453"/>
                  </a:lnTo>
                  <a:lnTo>
                    <a:pt x="210" y="1425"/>
                  </a:lnTo>
                  <a:lnTo>
                    <a:pt x="227" y="1371"/>
                  </a:lnTo>
                  <a:lnTo>
                    <a:pt x="245" y="1317"/>
                  </a:lnTo>
                  <a:lnTo>
                    <a:pt x="266" y="1264"/>
                  </a:lnTo>
                  <a:lnTo>
                    <a:pt x="288" y="1211"/>
                  </a:lnTo>
                  <a:lnTo>
                    <a:pt x="273" y="1197"/>
                  </a:lnTo>
                  <a:lnTo>
                    <a:pt x="259" y="1182"/>
                  </a:lnTo>
                  <a:lnTo>
                    <a:pt x="246" y="1167"/>
                  </a:lnTo>
                  <a:lnTo>
                    <a:pt x="233" y="1151"/>
                  </a:lnTo>
                  <a:lnTo>
                    <a:pt x="222" y="1135"/>
                  </a:lnTo>
                  <a:lnTo>
                    <a:pt x="210" y="1119"/>
                  </a:lnTo>
                  <a:lnTo>
                    <a:pt x="199" y="1101"/>
                  </a:lnTo>
                  <a:lnTo>
                    <a:pt x="190" y="1084"/>
                  </a:lnTo>
                  <a:lnTo>
                    <a:pt x="180" y="1067"/>
                  </a:lnTo>
                  <a:lnTo>
                    <a:pt x="171" y="1048"/>
                  </a:lnTo>
                  <a:lnTo>
                    <a:pt x="163" y="1030"/>
                  </a:lnTo>
                  <a:lnTo>
                    <a:pt x="156" y="1011"/>
                  </a:lnTo>
                  <a:lnTo>
                    <a:pt x="151" y="992"/>
                  </a:lnTo>
                  <a:lnTo>
                    <a:pt x="145" y="972"/>
                  </a:lnTo>
                  <a:lnTo>
                    <a:pt x="141" y="953"/>
                  </a:lnTo>
                  <a:lnTo>
                    <a:pt x="138" y="933"/>
                  </a:lnTo>
                  <a:lnTo>
                    <a:pt x="125" y="963"/>
                  </a:lnTo>
                  <a:lnTo>
                    <a:pt x="114" y="993"/>
                  </a:lnTo>
                  <a:lnTo>
                    <a:pt x="103" y="1024"/>
                  </a:lnTo>
                  <a:lnTo>
                    <a:pt x="94" y="1056"/>
                  </a:lnTo>
                  <a:lnTo>
                    <a:pt x="86" y="1089"/>
                  </a:lnTo>
                  <a:lnTo>
                    <a:pt x="79" y="1121"/>
                  </a:lnTo>
                  <a:lnTo>
                    <a:pt x="72" y="1154"/>
                  </a:lnTo>
                  <a:lnTo>
                    <a:pt x="68" y="1187"/>
                  </a:lnTo>
                  <a:lnTo>
                    <a:pt x="63" y="1220"/>
                  </a:lnTo>
                  <a:lnTo>
                    <a:pt x="59" y="1253"/>
                  </a:lnTo>
                  <a:lnTo>
                    <a:pt x="57" y="1287"/>
                  </a:lnTo>
                  <a:lnTo>
                    <a:pt x="56" y="1320"/>
                  </a:lnTo>
                  <a:lnTo>
                    <a:pt x="55" y="1354"/>
                  </a:lnTo>
                  <a:lnTo>
                    <a:pt x="55" y="1386"/>
                  </a:lnTo>
                  <a:lnTo>
                    <a:pt x="55" y="1418"/>
                  </a:lnTo>
                  <a:lnTo>
                    <a:pt x="57" y="1450"/>
                  </a:lnTo>
                  <a:close/>
                  <a:moveTo>
                    <a:pt x="71" y="1586"/>
                  </a:moveTo>
                  <a:lnTo>
                    <a:pt x="79" y="1636"/>
                  </a:lnTo>
                  <a:lnTo>
                    <a:pt x="91" y="1685"/>
                  </a:lnTo>
                  <a:lnTo>
                    <a:pt x="102" y="1734"/>
                  </a:lnTo>
                  <a:lnTo>
                    <a:pt x="117" y="1781"/>
                  </a:lnTo>
                  <a:lnTo>
                    <a:pt x="133" y="1828"/>
                  </a:lnTo>
                  <a:lnTo>
                    <a:pt x="151" y="1875"/>
                  </a:lnTo>
                  <a:lnTo>
                    <a:pt x="170" y="1922"/>
                  </a:lnTo>
                  <a:lnTo>
                    <a:pt x="192" y="1967"/>
                  </a:lnTo>
                  <a:lnTo>
                    <a:pt x="184" y="1934"/>
                  </a:lnTo>
                  <a:lnTo>
                    <a:pt x="178" y="1901"/>
                  </a:lnTo>
                  <a:lnTo>
                    <a:pt x="172" y="1869"/>
                  </a:lnTo>
                  <a:lnTo>
                    <a:pt x="169" y="1835"/>
                  </a:lnTo>
                  <a:lnTo>
                    <a:pt x="165" y="1802"/>
                  </a:lnTo>
                  <a:lnTo>
                    <a:pt x="164" y="1768"/>
                  </a:lnTo>
                  <a:lnTo>
                    <a:pt x="164" y="1735"/>
                  </a:lnTo>
                  <a:lnTo>
                    <a:pt x="164" y="1702"/>
                  </a:lnTo>
                  <a:lnTo>
                    <a:pt x="139" y="1675"/>
                  </a:lnTo>
                  <a:lnTo>
                    <a:pt x="114" y="1647"/>
                  </a:lnTo>
                  <a:lnTo>
                    <a:pt x="102" y="1632"/>
                  </a:lnTo>
                  <a:lnTo>
                    <a:pt x="92" y="1617"/>
                  </a:lnTo>
                  <a:lnTo>
                    <a:pt x="80" y="1602"/>
                  </a:lnTo>
                  <a:lnTo>
                    <a:pt x="71" y="1586"/>
                  </a:lnTo>
                  <a:close/>
                  <a:moveTo>
                    <a:pt x="965" y="2638"/>
                  </a:moveTo>
                  <a:lnTo>
                    <a:pt x="1016" y="2654"/>
                  </a:lnTo>
                  <a:lnTo>
                    <a:pt x="1065" y="2668"/>
                  </a:lnTo>
                  <a:lnTo>
                    <a:pt x="1117" y="2680"/>
                  </a:lnTo>
                  <a:lnTo>
                    <a:pt x="1168" y="2689"/>
                  </a:lnTo>
                  <a:lnTo>
                    <a:pt x="1220" y="2696"/>
                  </a:lnTo>
                  <a:lnTo>
                    <a:pt x="1271" y="2702"/>
                  </a:lnTo>
                  <a:lnTo>
                    <a:pt x="1323" y="2705"/>
                  </a:lnTo>
                  <a:lnTo>
                    <a:pt x="1375" y="2706"/>
                  </a:lnTo>
                  <a:lnTo>
                    <a:pt x="1375" y="2703"/>
                  </a:lnTo>
                  <a:lnTo>
                    <a:pt x="1324" y="2700"/>
                  </a:lnTo>
                  <a:lnTo>
                    <a:pt x="1273" y="2697"/>
                  </a:lnTo>
                  <a:lnTo>
                    <a:pt x="1222" y="2692"/>
                  </a:lnTo>
                  <a:lnTo>
                    <a:pt x="1171" y="2685"/>
                  </a:lnTo>
                  <a:lnTo>
                    <a:pt x="1120" y="2676"/>
                  </a:lnTo>
                  <a:lnTo>
                    <a:pt x="1070" y="2666"/>
                  </a:lnTo>
                  <a:lnTo>
                    <a:pt x="1020" y="2654"/>
                  </a:lnTo>
                  <a:lnTo>
                    <a:pt x="971" y="2640"/>
                  </a:lnTo>
                  <a:lnTo>
                    <a:pt x="971" y="2640"/>
                  </a:lnTo>
                  <a:lnTo>
                    <a:pt x="965" y="2638"/>
                  </a:lnTo>
                  <a:close/>
                  <a:moveTo>
                    <a:pt x="1414" y="2706"/>
                  </a:moveTo>
                  <a:lnTo>
                    <a:pt x="1437" y="2706"/>
                  </a:lnTo>
                  <a:lnTo>
                    <a:pt x="1460" y="2705"/>
                  </a:lnTo>
                  <a:lnTo>
                    <a:pt x="1483" y="2703"/>
                  </a:lnTo>
                  <a:lnTo>
                    <a:pt x="1505" y="2702"/>
                  </a:lnTo>
                  <a:lnTo>
                    <a:pt x="1528" y="2699"/>
                  </a:lnTo>
                  <a:lnTo>
                    <a:pt x="1551" y="2697"/>
                  </a:lnTo>
                  <a:lnTo>
                    <a:pt x="1573" y="2693"/>
                  </a:lnTo>
                  <a:lnTo>
                    <a:pt x="1595" y="2690"/>
                  </a:lnTo>
                  <a:lnTo>
                    <a:pt x="1573" y="2693"/>
                  </a:lnTo>
                  <a:lnTo>
                    <a:pt x="1550" y="2696"/>
                  </a:lnTo>
                  <a:lnTo>
                    <a:pt x="1527" y="2698"/>
                  </a:lnTo>
                  <a:lnTo>
                    <a:pt x="1505" y="2699"/>
                  </a:lnTo>
                  <a:lnTo>
                    <a:pt x="1482" y="2700"/>
                  </a:lnTo>
                  <a:lnTo>
                    <a:pt x="1459" y="2702"/>
                  </a:lnTo>
                  <a:lnTo>
                    <a:pt x="1437" y="2703"/>
                  </a:lnTo>
                  <a:lnTo>
                    <a:pt x="1414" y="2703"/>
                  </a:lnTo>
                  <a:lnTo>
                    <a:pt x="1414" y="2706"/>
                  </a:lnTo>
                  <a:close/>
                  <a:moveTo>
                    <a:pt x="2567" y="1991"/>
                  </a:moveTo>
                  <a:lnTo>
                    <a:pt x="2580" y="1968"/>
                  </a:lnTo>
                  <a:lnTo>
                    <a:pt x="2593" y="1942"/>
                  </a:lnTo>
                  <a:lnTo>
                    <a:pt x="2607" y="1916"/>
                  </a:lnTo>
                  <a:lnTo>
                    <a:pt x="2619" y="1888"/>
                  </a:lnTo>
                  <a:lnTo>
                    <a:pt x="2632" y="1861"/>
                  </a:lnTo>
                  <a:lnTo>
                    <a:pt x="2642" y="1833"/>
                  </a:lnTo>
                  <a:lnTo>
                    <a:pt x="2647" y="1819"/>
                  </a:lnTo>
                  <a:lnTo>
                    <a:pt x="2650" y="1806"/>
                  </a:lnTo>
                  <a:lnTo>
                    <a:pt x="2653" y="1794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0"/>
                  </a:lnTo>
                  <a:lnTo>
                    <a:pt x="2655" y="1780"/>
                  </a:lnTo>
                  <a:lnTo>
                    <a:pt x="2655" y="1780"/>
                  </a:lnTo>
                  <a:lnTo>
                    <a:pt x="2656" y="1770"/>
                  </a:lnTo>
                  <a:lnTo>
                    <a:pt x="2658" y="1770"/>
                  </a:lnTo>
                  <a:lnTo>
                    <a:pt x="2666" y="1743"/>
                  </a:lnTo>
                  <a:lnTo>
                    <a:pt x="2675" y="1717"/>
                  </a:lnTo>
                  <a:lnTo>
                    <a:pt x="2681" y="1689"/>
                  </a:lnTo>
                  <a:lnTo>
                    <a:pt x="2687" y="1662"/>
                  </a:lnTo>
                  <a:lnTo>
                    <a:pt x="2693" y="1635"/>
                  </a:lnTo>
                  <a:lnTo>
                    <a:pt x="2698" y="1608"/>
                  </a:lnTo>
                  <a:lnTo>
                    <a:pt x="2702" y="1581"/>
                  </a:lnTo>
                  <a:lnTo>
                    <a:pt x="2706" y="1553"/>
                  </a:lnTo>
                  <a:lnTo>
                    <a:pt x="2695" y="1572"/>
                  </a:lnTo>
                  <a:lnTo>
                    <a:pt x="2683" y="1592"/>
                  </a:lnTo>
                  <a:lnTo>
                    <a:pt x="2670" y="1611"/>
                  </a:lnTo>
                  <a:lnTo>
                    <a:pt x="2656" y="1629"/>
                  </a:lnTo>
                  <a:lnTo>
                    <a:pt x="2642" y="1646"/>
                  </a:lnTo>
                  <a:lnTo>
                    <a:pt x="2627" y="1662"/>
                  </a:lnTo>
                  <a:lnTo>
                    <a:pt x="2611" y="1678"/>
                  </a:lnTo>
                  <a:lnTo>
                    <a:pt x="2595" y="1695"/>
                  </a:lnTo>
                  <a:lnTo>
                    <a:pt x="2596" y="1734"/>
                  </a:lnTo>
                  <a:lnTo>
                    <a:pt x="2596" y="1774"/>
                  </a:lnTo>
                  <a:lnTo>
                    <a:pt x="2594" y="1813"/>
                  </a:lnTo>
                  <a:lnTo>
                    <a:pt x="2590" y="1852"/>
                  </a:lnTo>
                  <a:lnTo>
                    <a:pt x="2586" y="1892"/>
                  </a:lnTo>
                  <a:lnTo>
                    <a:pt x="2579" y="1931"/>
                  </a:lnTo>
                  <a:lnTo>
                    <a:pt x="2570" y="1970"/>
                  </a:lnTo>
                  <a:lnTo>
                    <a:pt x="2558" y="2008"/>
                  </a:lnTo>
                  <a:lnTo>
                    <a:pt x="2563" y="1998"/>
                  </a:lnTo>
                  <a:lnTo>
                    <a:pt x="2567" y="1991"/>
                  </a:lnTo>
                  <a:close/>
                  <a:moveTo>
                    <a:pt x="2717" y="1381"/>
                  </a:moveTo>
                  <a:lnTo>
                    <a:pt x="2717" y="1351"/>
                  </a:lnTo>
                  <a:lnTo>
                    <a:pt x="2716" y="1321"/>
                  </a:lnTo>
                  <a:lnTo>
                    <a:pt x="2715" y="1293"/>
                  </a:lnTo>
                  <a:lnTo>
                    <a:pt x="2713" y="1264"/>
                  </a:lnTo>
                  <a:lnTo>
                    <a:pt x="2709" y="1235"/>
                  </a:lnTo>
                  <a:lnTo>
                    <a:pt x="2706" y="1206"/>
                  </a:lnTo>
                  <a:lnTo>
                    <a:pt x="2701" y="1177"/>
                  </a:lnTo>
                  <a:lnTo>
                    <a:pt x="2695" y="1149"/>
                  </a:lnTo>
                  <a:lnTo>
                    <a:pt x="2690" y="1120"/>
                  </a:lnTo>
                  <a:lnTo>
                    <a:pt x="2683" y="1092"/>
                  </a:lnTo>
                  <a:lnTo>
                    <a:pt x="2676" y="1064"/>
                  </a:lnTo>
                  <a:lnTo>
                    <a:pt x="2666" y="1037"/>
                  </a:lnTo>
                  <a:lnTo>
                    <a:pt x="2657" y="1009"/>
                  </a:lnTo>
                  <a:lnTo>
                    <a:pt x="2648" y="981"/>
                  </a:lnTo>
                  <a:lnTo>
                    <a:pt x="2637" y="954"/>
                  </a:lnTo>
                  <a:lnTo>
                    <a:pt x="2625" y="926"/>
                  </a:lnTo>
                  <a:lnTo>
                    <a:pt x="2622" y="947"/>
                  </a:lnTo>
                  <a:lnTo>
                    <a:pt x="2617" y="968"/>
                  </a:lnTo>
                  <a:lnTo>
                    <a:pt x="2612" y="988"/>
                  </a:lnTo>
                  <a:lnTo>
                    <a:pt x="2605" y="1008"/>
                  </a:lnTo>
                  <a:lnTo>
                    <a:pt x="2599" y="1028"/>
                  </a:lnTo>
                  <a:lnTo>
                    <a:pt x="2590" y="1046"/>
                  </a:lnTo>
                  <a:lnTo>
                    <a:pt x="2582" y="1064"/>
                  </a:lnTo>
                  <a:lnTo>
                    <a:pt x="2572" y="1083"/>
                  </a:lnTo>
                  <a:lnTo>
                    <a:pt x="2563" y="1101"/>
                  </a:lnTo>
                  <a:lnTo>
                    <a:pt x="2551" y="1119"/>
                  </a:lnTo>
                  <a:lnTo>
                    <a:pt x="2540" y="1136"/>
                  </a:lnTo>
                  <a:lnTo>
                    <a:pt x="2527" y="1152"/>
                  </a:lnTo>
                  <a:lnTo>
                    <a:pt x="2514" y="1168"/>
                  </a:lnTo>
                  <a:lnTo>
                    <a:pt x="2501" y="1184"/>
                  </a:lnTo>
                  <a:lnTo>
                    <a:pt x="2487" y="1199"/>
                  </a:lnTo>
                  <a:lnTo>
                    <a:pt x="2472" y="1214"/>
                  </a:lnTo>
                  <a:lnTo>
                    <a:pt x="2494" y="1266"/>
                  </a:lnTo>
                  <a:lnTo>
                    <a:pt x="2514" y="1318"/>
                  </a:lnTo>
                  <a:lnTo>
                    <a:pt x="2532" y="1371"/>
                  </a:lnTo>
                  <a:lnTo>
                    <a:pt x="2548" y="1424"/>
                  </a:lnTo>
                  <a:lnTo>
                    <a:pt x="2563" y="1478"/>
                  </a:lnTo>
                  <a:lnTo>
                    <a:pt x="2574" y="1532"/>
                  </a:lnTo>
                  <a:lnTo>
                    <a:pt x="2580" y="1560"/>
                  </a:lnTo>
                  <a:lnTo>
                    <a:pt x="2584" y="1587"/>
                  </a:lnTo>
                  <a:lnTo>
                    <a:pt x="2588" y="1615"/>
                  </a:lnTo>
                  <a:lnTo>
                    <a:pt x="2590" y="1643"/>
                  </a:lnTo>
                  <a:lnTo>
                    <a:pt x="2603" y="1629"/>
                  </a:lnTo>
                  <a:lnTo>
                    <a:pt x="2616" y="1615"/>
                  </a:lnTo>
                  <a:lnTo>
                    <a:pt x="2627" y="1600"/>
                  </a:lnTo>
                  <a:lnTo>
                    <a:pt x="2639" y="1585"/>
                  </a:lnTo>
                  <a:lnTo>
                    <a:pt x="2649" y="1570"/>
                  </a:lnTo>
                  <a:lnTo>
                    <a:pt x="2658" y="1554"/>
                  </a:lnTo>
                  <a:lnTo>
                    <a:pt x="2668" y="1538"/>
                  </a:lnTo>
                  <a:lnTo>
                    <a:pt x="2677" y="1522"/>
                  </a:lnTo>
                  <a:lnTo>
                    <a:pt x="2684" y="1506"/>
                  </a:lnTo>
                  <a:lnTo>
                    <a:pt x="2692" y="1488"/>
                  </a:lnTo>
                  <a:lnTo>
                    <a:pt x="2698" y="1471"/>
                  </a:lnTo>
                  <a:lnTo>
                    <a:pt x="2703" y="1454"/>
                  </a:lnTo>
                  <a:lnTo>
                    <a:pt x="2708" y="1437"/>
                  </a:lnTo>
                  <a:lnTo>
                    <a:pt x="2711" y="1418"/>
                  </a:lnTo>
                  <a:lnTo>
                    <a:pt x="2715" y="1400"/>
                  </a:lnTo>
                  <a:lnTo>
                    <a:pt x="2717" y="1381"/>
                  </a:lnTo>
                  <a:close/>
                  <a:moveTo>
                    <a:pt x="1466" y="134"/>
                  </a:moveTo>
                  <a:lnTo>
                    <a:pt x="1474" y="135"/>
                  </a:lnTo>
                  <a:lnTo>
                    <a:pt x="1493" y="134"/>
                  </a:lnTo>
                  <a:lnTo>
                    <a:pt x="1516" y="131"/>
                  </a:lnTo>
                  <a:lnTo>
                    <a:pt x="1542" y="128"/>
                  </a:lnTo>
                  <a:lnTo>
                    <a:pt x="1594" y="122"/>
                  </a:lnTo>
                  <a:lnTo>
                    <a:pt x="1626" y="119"/>
                  </a:lnTo>
                  <a:lnTo>
                    <a:pt x="1616" y="113"/>
                  </a:lnTo>
                  <a:lnTo>
                    <a:pt x="1605" y="108"/>
                  </a:lnTo>
                  <a:lnTo>
                    <a:pt x="1595" y="105"/>
                  </a:lnTo>
                  <a:lnTo>
                    <a:pt x="1585" y="101"/>
                  </a:lnTo>
                  <a:lnTo>
                    <a:pt x="1574" y="99"/>
                  </a:lnTo>
                  <a:lnTo>
                    <a:pt x="1564" y="98"/>
                  </a:lnTo>
                  <a:lnTo>
                    <a:pt x="1554" y="97"/>
                  </a:lnTo>
                  <a:lnTo>
                    <a:pt x="1543" y="97"/>
                  </a:lnTo>
                  <a:lnTo>
                    <a:pt x="1533" y="98"/>
                  </a:lnTo>
                  <a:lnTo>
                    <a:pt x="1523" y="100"/>
                  </a:lnTo>
                  <a:lnTo>
                    <a:pt x="1513" y="104"/>
                  </a:lnTo>
                  <a:lnTo>
                    <a:pt x="1503" y="107"/>
                  </a:lnTo>
                  <a:lnTo>
                    <a:pt x="1494" y="112"/>
                  </a:lnTo>
                  <a:lnTo>
                    <a:pt x="1483" y="119"/>
                  </a:lnTo>
                  <a:lnTo>
                    <a:pt x="1474" y="125"/>
                  </a:lnTo>
                  <a:lnTo>
                    <a:pt x="1466" y="134"/>
                  </a:lnTo>
                  <a:close/>
                  <a:moveTo>
                    <a:pt x="1669" y="98"/>
                  </a:moveTo>
                  <a:lnTo>
                    <a:pt x="1683" y="106"/>
                  </a:lnTo>
                  <a:lnTo>
                    <a:pt x="1696" y="112"/>
                  </a:lnTo>
                  <a:lnTo>
                    <a:pt x="1710" y="115"/>
                  </a:lnTo>
                  <a:lnTo>
                    <a:pt x="1724" y="119"/>
                  </a:lnTo>
                  <a:lnTo>
                    <a:pt x="1753" y="121"/>
                  </a:lnTo>
                  <a:lnTo>
                    <a:pt x="1784" y="123"/>
                  </a:lnTo>
                  <a:lnTo>
                    <a:pt x="1755" y="116"/>
                  </a:lnTo>
                  <a:lnTo>
                    <a:pt x="1726" y="109"/>
                  </a:lnTo>
                  <a:lnTo>
                    <a:pt x="1698" y="104"/>
                  </a:lnTo>
                  <a:lnTo>
                    <a:pt x="1669" y="98"/>
                  </a:lnTo>
                  <a:close/>
                  <a:moveTo>
                    <a:pt x="1563" y="161"/>
                  </a:moveTo>
                  <a:lnTo>
                    <a:pt x="1600" y="166"/>
                  </a:lnTo>
                  <a:lnTo>
                    <a:pt x="1635" y="172"/>
                  </a:lnTo>
                  <a:lnTo>
                    <a:pt x="1671" y="180"/>
                  </a:lnTo>
                  <a:lnTo>
                    <a:pt x="1707" y="188"/>
                  </a:lnTo>
                  <a:lnTo>
                    <a:pt x="1701" y="178"/>
                  </a:lnTo>
                  <a:lnTo>
                    <a:pt x="1694" y="172"/>
                  </a:lnTo>
                  <a:lnTo>
                    <a:pt x="1687" y="165"/>
                  </a:lnTo>
                  <a:lnTo>
                    <a:pt x="1679" y="160"/>
                  </a:lnTo>
                  <a:lnTo>
                    <a:pt x="1671" y="157"/>
                  </a:lnTo>
                  <a:lnTo>
                    <a:pt x="1663" y="154"/>
                  </a:lnTo>
                  <a:lnTo>
                    <a:pt x="1654" y="153"/>
                  </a:lnTo>
                  <a:lnTo>
                    <a:pt x="1645" y="152"/>
                  </a:lnTo>
                  <a:lnTo>
                    <a:pt x="1604" y="155"/>
                  </a:lnTo>
                  <a:lnTo>
                    <a:pt x="1563" y="161"/>
                  </a:lnTo>
                  <a:close/>
                  <a:moveTo>
                    <a:pt x="1913" y="184"/>
                  </a:moveTo>
                  <a:lnTo>
                    <a:pt x="1891" y="180"/>
                  </a:lnTo>
                  <a:lnTo>
                    <a:pt x="1869" y="175"/>
                  </a:lnTo>
                  <a:lnTo>
                    <a:pt x="1846" y="170"/>
                  </a:lnTo>
                  <a:lnTo>
                    <a:pt x="1824" y="167"/>
                  </a:lnTo>
                  <a:lnTo>
                    <a:pt x="1802" y="165"/>
                  </a:lnTo>
                  <a:lnTo>
                    <a:pt x="1779" y="162"/>
                  </a:lnTo>
                  <a:lnTo>
                    <a:pt x="1756" y="160"/>
                  </a:lnTo>
                  <a:lnTo>
                    <a:pt x="1735" y="159"/>
                  </a:lnTo>
                  <a:lnTo>
                    <a:pt x="1740" y="168"/>
                  </a:lnTo>
                  <a:lnTo>
                    <a:pt x="1746" y="178"/>
                  </a:lnTo>
                  <a:lnTo>
                    <a:pt x="1751" y="190"/>
                  </a:lnTo>
                  <a:lnTo>
                    <a:pt x="1754" y="200"/>
                  </a:lnTo>
                  <a:lnTo>
                    <a:pt x="1789" y="211"/>
                  </a:lnTo>
                  <a:lnTo>
                    <a:pt x="1822" y="222"/>
                  </a:lnTo>
                  <a:lnTo>
                    <a:pt x="1857" y="234"/>
                  </a:lnTo>
                  <a:lnTo>
                    <a:pt x="1890" y="246"/>
                  </a:lnTo>
                  <a:lnTo>
                    <a:pt x="1925" y="259"/>
                  </a:lnTo>
                  <a:lnTo>
                    <a:pt x="1957" y="273"/>
                  </a:lnTo>
                  <a:lnTo>
                    <a:pt x="1990" y="288"/>
                  </a:lnTo>
                  <a:lnTo>
                    <a:pt x="2023" y="303"/>
                  </a:lnTo>
                  <a:lnTo>
                    <a:pt x="2014" y="284"/>
                  </a:lnTo>
                  <a:lnTo>
                    <a:pt x="2003" y="267"/>
                  </a:lnTo>
                  <a:lnTo>
                    <a:pt x="1990" y="251"/>
                  </a:lnTo>
                  <a:lnTo>
                    <a:pt x="1976" y="236"/>
                  </a:lnTo>
                  <a:lnTo>
                    <a:pt x="1963" y="221"/>
                  </a:lnTo>
                  <a:lnTo>
                    <a:pt x="1946" y="208"/>
                  </a:lnTo>
                  <a:lnTo>
                    <a:pt x="1930" y="196"/>
                  </a:lnTo>
                  <a:lnTo>
                    <a:pt x="1913" y="184"/>
                  </a:lnTo>
                  <a:close/>
                  <a:moveTo>
                    <a:pt x="1520" y="197"/>
                  </a:moveTo>
                  <a:lnTo>
                    <a:pt x="1521" y="199"/>
                  </a:lnTo>
                  <a:lnTo>
                    <a:pt x="1521" y="203"/>
                  </a:lnTo>
                  <a:lnTo>
                    <a:pt x="1543" y="212"/>
                  </a:lnTo>
                  <a:lnTo>
                    <a:pt x="1566" y="221"/>
                  </a:lnTo>
                  <a:lnTo>
                    <a:pt x="1588" y="231"/>
                  </a:lnTo>
                  <a:lnTo>
                    <a:pt x="1610" y="242"/>
                  </a:lnTo>
                  <a:lnTo>
                    <a:pt x="1652" y="264"/>
                  </a:lnTo>
                  <a:lnTo>
                    <a:pt x="1693" y="289"/>
                  </a:lnTo>
                  <a:lnTo>
                    <a:pt x="1699" y="282"/>
                  </a:lnTo>
                  <a:lnTo>
                    <a:pt x="1703" y="276"/>
                  </a:lnTo>
                  <a:lnTo>
                    <a:pt x="1707" y="269"/>
                  </a:lnTo>
                  <a:lnTo>
                    <a:pt x="1710" y="261"/>
                  </a:lnTo>
                  <a:lnTo>
                    <a:pt x="1714" y="254"/>
                  </a:lnTo>
                  <a:lnTo>
                    <a:pt x="1716" y="248"/>
                  </a:lnTo>
                  <a:lnTo>
                    <a:pt x="1717" y="240"/>
                  </a:lnTo>
                  <a:lnTo>
                    <a:pt x="1718" y="231"/>
                  </a:lnTo>
                  <a:lnTo>
                    <a:pt x="1694" y="225"/>
                  </a:lnTo>
                  <a:lnTo>
                    <a:pt x="1670" y="219"/>
                  </a:lnTo>
                  <a:lnTo>
                    <a:pt x="1645" y="213"/>
                  </a:lnTo>
                  <a:lnTo>
                    <a:pt x="1620" y="208"/>
                  </a:lnTo>
                  <a:lnTo>
                    <a:pt x="1595" y="204"/>
                  </a:lnTo>
                  <a:lnTo>
                    <a:pt x="1571" y="200"/>
                  </a:lnTo>
                  <a:lnTo>
                    <a:pt x="1546" y="198"/>
                  </a:lnTo>
                  <a:lnTo>
                    <a:pt x="1520" y="197"/>
                  </a:lnTo>
                  <a:close/>
                  <a:moveTo>
                    <a:pt x="2590" y="858"/>
                  </a:moveTo>
                  <a:lnTo>
                    <a:pt x="2578" y="836"/>
                  </a:lnTo>
                  <a:lnTo>
                    <a:pt x="2565" y="813"/>
                  </a:lnTo>
                  <a:lnTo>
                    <a:pt x="2551" y="793"/>
                  </a:lnTo>
                  <a:lnTo>
                    <a:pt x="2536" y="771"/>
                  </a:lnTo>
                  <a:lnTo>
                    <a:pt x="2521" y="750"/>
                  </a:lnTo>
                  <a:lnTo>
                    <a:pt x="2506" y="729"/>
                  </a:lnTo>
                  <a:lnTo>
                    <a:pt x="2491" y="710"/>
                  </a:lnTo>
                  <a:lnTo>
                    <a:pt x="2475" y="690"/>
                  </a:lnTo>
                  <a:lnTo>
                    <a:pt x="2441" y="651"/>
                  </a:lnTo>
                  <a:lnTo>
                    <a:pt x="2406" y="614"/>
                  </a:lnTo>
                  <a:lnTo>
                    <a:pt x="2369" y="578"/>
                  </a:lnTo>
                  <a:lnTo>
                    <a:pt x="2330" y="545"/>
                  </a:lnTo>
                  <a:lnTo>
                    <a:pt x="2329" y="562"/>
                  </a:lnTo>
                  <a:lnTo>
                    <a:pt x="2327" y="578"/>
                  </a:lnTo>
                  <a:lnTo>
                    <a:pt x="2323" y="594"/>
                  </a:lnTo>
                  <a:lnTo>
                    <a:pt x="2320" y="610"/>
                  </a:lnTo>
                  <a:lnTo>
                    <a:pt x="2314" y="627"/>
                  </a:lnTo>
                  <a:lnTo>
                    <a:pt x="2308" y="642"/>
                  </a:lnTo>
                  <a:lnTo>
                    <a:pt x="2301" y="658"/>
                  </a:lnTo>
                  <a:lnTo>
                    <a:pt x="2293" y="672"/>
                  </a:lnTo>
                  <a:lnTo>
                    <a:pt x="2285" y="687"/>
                  </a:lnTo>
                  <a:lnTo>
                    <a:pt x="2276" y="700"/>
                  </a:lnTo>
                  <a:lnTo>
                    <a:pt x="2267" y="714"/>
                  </a:lnTo>
                  <a:lnTo>
                    <a:pt x="2256" y="728"/>
                  </a:lnTo>
                  <a:lnTo>
                    <a:pt x="2246" y="741"/>
                  </a:lnTo>
                  <a:lnTo>
                    <a:pt x="2234" y="752"/>
                  </a:lnTo>
                  <a:lnTo>
                    <a:pt x="2223" y="765"/>
                  </a:lnTo>
                  <a:lnTo>
                    <a:pt x="2210" y="776"/>
                  </a:lnTo>
                  <a:lnTo>
                    <a:pt x="2246" y="824"/>
                  </a:lnTo>
                  <a:lnTo>
                    <a:pt x="2279" y="871"/>
                  </a:lnTo>
                  <a:lnTo>
                    <a:pt x="2312" y="920"/>
                  </a:lnTo>
                  <a:lnTo>
                    <a:pt x="2344" y="970"/>
                  </a:lnTo>
                  <a:lnTo>
                    <a:pt x="2374" y="1021"/>
                  </a:lnTo>
                  <a:lnTo>
                    <a:pt x="2403" y="1071"/>
                  </a:lnTo>
                  <a:lnTo>
                    <a:pt x="2429" y="1123"/>
                  </a:lnTo>
                  <a:lnTo>
                    <a:pt x="2455" y="1176"/>
                  </a:lnTo>
                  <a:lnTo>
                    <a:pt x="2471" y="1160"/>
                  </a:lnTo>
                  <a:lnTo>
                    <a:pt x="2484" y="1143"/>
                  </a:lnTo>
                  <a:lnTo>
                    <a:pt x="2498" y="1125"/>
                  </a:lnTo>
                  <a:lnTo>
                    <a:pt x="2512" y="1107"/>
                  </a:lnTo>
                  <a:lnTo>
                    <a:pt x="2524" y="1089"/>
                  </a:lnTo>
                  <a:lnTo>
                    <a:pt x="2535" y="1070"/>
                  </a:lnTo>
                  <a:lnTo>
                    <a:pt x="2546" y="1051"/>
                  </a:lnTo>
                  <a:lnTo>
                    <a:pt x="2555" y="1031"/>
                  </a:lnTo>
                  <a:lnTo>
                    <a:pt x="2563" y="1010"/>
                  </a:lnTo>
                  <a:lnTo>
                    <a:pt x="2570" y="990"/>
                  </a:lnTo>
                  <a:lnTo>
                    <a:pt x="2577" y="969"/>
                  </a:lnTo>
                  <a:lnTo>
                    <a:pt x="2581" y="947"/>
                  </a:lnTo>
                  <a:lnTo>
                    <a:pt x="2586" y="925"/>
                  </a:lnTo>
                  <a:lnTo>
                    <a:pt x="2588" y="903"/>
                  </a:lnTo>
                  <a:lnTo>
                    <a:pt x="2590" y="881"/>
                  </a:lnTo>
                  <a:lnTo>
                    <a:pt x="2590" y="858"/>
                  </a:lnTo>
                  <a:close/>
                  <a:moveTo>
                    <a:pt x="2284" y="507"/>
                  </a:moveTo>
                  <a:lnTo>
                    <a:pt x="2259" y="488"/>
                  </a:lnTo>
                  <a:lnTo>
                    <a:pt x="2233" y="470"/>
                  </a:lnTo>
                  <a:lnTo>
                    <a:pt x="2208" y="453"/>
                  </a:lnTo>
                  <a:lnTo>
                    <a:pt x="2181" y="435"/>
                  </a:lnTo>
                  <a:lnTo>
                    <a:pt x="2155" y="418"/>
                  </a:lnTo>
                  <a:lnTo>
                    <a:pt x="2128" y="403"/>
                  </a:lnTo>
                  <a:lnTo>
                    <a:pt x="2102" y="387"/>
                  </a:lnTo>
                  <a:lnTo>
                    <a:pt x="2074" y="372"/>
                  </a:lnTo>
                  <a:lnTo>
                    <a:pt x="2073" y="384"/>
                  </a:lnTo>
                  <a:lnTo>
                    <a:pt x="2072" y="395"/>
                  </a:lnTo>
                  <a:lnTo>
                    <a:pt x="2070" y="405"/>
                  </a:lnTo>
                  <a:lnTo>
                    <a:pt x="2066" y="417"/>
                  </a:lnTo>
                  <a:lnTo>
                    <a:pt x="2063" y="427"/>
                  </a:lnTo>
                  <a:lnTo>
                    <a:pt x="2058" y="438"/>
                  </a:lnTo>
                  <a:lnTo>
                    <a:pt x="2054" y="448"/>
                  </a:lnTo>
                  <a:lnTo>
                    <a:pt x="2049" y="458"/>
                  </a:lnTo>
                  <a:lnTo>
                    <a:pt x="2036" y="477"/>
                  </a:lnTo>
                  <a:lnTo>
                    <a:pt x="2024" y="495"/>
                  </a:lnTo>
                  <a:lnTo>
                    <a:pt x="2009" y="513"/>
                  </a:lnTo>
                  <a:lnTo>
                    <a:pt x="1993" y="529"/>
                  </a:lnTo>
                  <a:lnTo>
                    <a:pt x="2018" y="553"/>
                  </a:lnTo>
                  <a:lnTo>
                    <a:pt x="2042" y="579"/>
                  </a:lnTo>
                  <a:lnTo>
                    <a:pt x="2066" y="605"/>
                  </a:lnTo>
                  <a:lnTo>
                    <a:pt x="2090" y="631"/>
                  </a:lnTo>
                  <a:lnTo>
                    <a:pt x="2115" y="658"/>
                  </a:lnTo>
                  <a:lnTo>
                    <a:pt x="2138" y="685"/>
                  </a:lnTo>
                  <a:lnTo>
                    <a:pt x="2161" y="713"/>
                  </a:lnTo>
                  <a:lnTo>
                    <a:pt x="2183" y="741"/>
                  </a:lnTo>
                  <a:lnTo>
                    <a:pt x="2194" y="728"/>
                  </a:lnTo>
                  <a:lnTo>
                    <a:pt x="2206" y="716"/>
                  </a:lnTo>
                  <a:lnTo>
                    <a:pt x="2217" y="704"/>
                  </a:lnTo>
                  <a:lnTo>
                    <a:pt x="2228" y="691"/>
                  </a:lnTo>
                  <a:lnTo>
                    <a:pt x="2237" y="677"/>
                  </a:lnTo>
                  <a:lnTo>
                    <a:pt x="2246" y="663"/>
                  </a:lnTo>
                  <a:lnTo>
                    <a:pt x="2254" y="650"/>
                  </a:lnTo>
                  <a:lnTo>
                    <a:pt x="2261" y="635"/>
                  </a:lnTo>
                  <a:lnTo>
                    <a:pt x="2268" y="620"/>
                  </a:lnTo>
                  <a:lnTo>
                    <a:pt x="2274" y="605"/>
                  </a:lnTo>
                  <a:lnTo>
                    <a:pt x="2277" y="590"/>
                  </a:lnTo>
                  <a:lnTo>
                    <a:pt x="2281" y="574"/>
                  </a:lnTo>
                  <a:lnTo>
                    <a:pt x="2284" y="557"/>
                  </a:lnTo>
                  <a:lnTo>
                    <a:pt x="2285" y="541"/>
                  </a:lnTo>
                  <a:lnTo>
                    <a:pt x="2285" y="524"/>
                  </a:lnTo>
                  <a:lnTo>
                    <a:pt x="2284" y="507"/>
                  </a:lnTo>
                  <a:close/>
                  <a:moveTo>
                    <a:pt x="2035" y="352"/>
                  </a:moveTo>
                  <a:lnTo>
                    <a:pt x="2002" y="335"/>
                  </a:lnTo>
                  <a:lnTo>
                    <a:pt x="1967" y="320"/>
                  </a:lnTo>
                  <a:lnTo>
                    <a:pt x="1933" y="305"/>
                  </a:lnTo>
                  <a:lnTo>
                    <a:pt x="1898" y="291"/>
                  </a:lnTo>
                  <a:lnTo>
                    <a:pt x="1864" y="278"/>
                  </a:lnTo>
                  <a:lnTo>
                    <a:pt x="1828" y="265"/>
                  </a:lnTo>
                  <a:lnTo>
                    <a:pt x="1792" y="253"/>
                  </a:lnTo>
                  <a:lnTo>
                    <a:pt x="1756" y="242"/>
                  </a:lnTo>
                  <a:lnTo>
                    <a:pt x="1755" y="251"/>
                  </a:lnTo>
                  <a:lnTo>
                    <a:pt x="1753" y="260"/>
                  </a:lnTo>
                  <a:lnTo>
                    <a:pt x="1749" y="269"/>
                  </a:lnTo>
                  <a:lnTo>
                    <a:pt x="1746" y="278"/>
                  </a:lnTo>
                  <a:lnTo>
                    <a:pt x="1741" y="287"/>
                  </a:lnTo>
                  <a:lnTo>
                    <a:pt x="1737" y="295"/>
                  </a:lnTo>
                  <a:lnTo>
                    <a:pt x="1732" y="302"/>
                  </a:lnTo>
                  <a:lnTo>
                    <a:pt x="1726" y="310"/>
                  </a:lnTo>
                  <a:lnTo>
                    <a:pt x="1758" y="332"/>
                  </a:lnTo>
                  <a:lnTo>
                    <a:pt x="1789" y="354"/>
                  </a:lnTo>
                  <a:lnTo>
                    <a:pt x="1820" y="377"/>
                  </a:lnTo>
                  <a:lnTo>
                    <a:pt x="1850" y="401"/>
                  </a:lnTo>
                  <a:lnTo>
                    <a:pt x="1879" y="425"/>
                  </a:lnTo>
                  <a:lnTo>
                    <a:pt x="1908" y="449"/>
                  </a:lnTo>
                  <a:lnTo>
                    <a:pt x="1936" y="476"/>
                  </a:lnTo>
                  <a:lnTo>
                    <a:pt x="1964" y="501"/>
                  </a:lnTo>
                  <a:lnTo>
                    <a:pt x="1979" y="486"/>
                  </a:lnTo>
                  <a:lnTo>
                    <a:pt x="1994" y="470"/>
                  </a:lnTo>
                  <a:lnTo>
                    <a:pt x="2006" y="453"/>
                  </a:lnTo>
                  <a:lnTo>
                    <a:pt x="2017" y="434"/>
                  </a:lnTo>
                  <a:lnTo>
                    <a:pt x="2021" y="425"/>
                  </a:lnTo>
                  <a:lnTo>
                    <a:pt x="2026" y="416"/>
                  </a:lnTo>
                  <a:lnTo>
                    <a:pt x="2029" y="405"/>
                  </a:lnTo>
                  <a:lnTo>
                    <a:pt x="2032" y="395"/>
                  </a:lnTo>
                  <a:lnTo>
                    <a:pt x="2034" y="385"/>
                  </a:lnTo>
                  <a:lnTo>
                    <a:pt x="2035" y="374"/>
                  </a:lnTo>
                  <a:lnTo>
                    <a:pt x="2035" y="363"/>
                  </a:lnTo>
                  <a:lnTo>
                    <a:pt x="2035" y="352"/>
                  </a:lnTo>
                  <a:close/>
                  <a:moveTo>
                    <a:pt x="1511" y="241"/>
                  </a:moveTo>
                  <a:lnTo>
                    <a:pt x="1503" y="251"/>
                  </a:lnTo>
                  <a:lnTo>
                    <a:pt x="1495" y="259"/>
                  </a:lnTo>
                  <a:lnTo>
                    <a:pt x="1517" y="283"/>
                  </a:lnTo>
                  <a:lnTo>
                    <a:pt x="1538" y="309"/>
                  </a:lnTo>
                  <a:lnTo>
                    <a:pt x="1557" y="335"/>
                  </a:lnTo>
                  <a:lnTo>
                    <a:pt x="1577" y="360"/>
                  </a:lnTo>
                  <a:lnTo>
                    <a:pt x="1600" y="352"/>
                  </a:lnTo>
                  <a:lnTo>
                    <a:pt x="1622" y="342"/>
                  </a:lnTo>
                  <a:lnTo>
                    <a:pt x="1643" y="329"/>
                  </a:lnTo>
                  <a:lnTo>
                    <a:pt x="1664" y="317"/>
                  </a:lnTo>
                  <a:lnTo>
                    <a:pt x="1627" y="295"/>
                  </a:lnTo>
                  <a:lnTo>
                    <a:pt x="1589" y="275"/>
                  </a:lnTo>
                  <a:lnTo>
                    <a:pt x="1570" y="266"/>
                  </a:lnTo>
                  <a:lnTo>
                    <a:pt x="1550" y="257"/>
                  </a:lnTo>
                  <a:lnTo>
                    <a:pt x="1531" y="249"/>
                  </a:lnTo>
                  <a:lnTo>
                    <a:pt x="1511" y="241"/>
                  </a:lnTo>
                  <a:close/>
                  <a:moveTo>
                    <a:pt x="2372" y="2265"/>
                  </a:moveTo>
                  <a:lnTo>
                    <a:pt x="2381" y="2255"/>
                  </a:lnTo>
                  <a:lnTo>
                    <a:pt x="2389" y="2244"/>
                  </a:lnTo>
                  <a:lnTo>
                    <a:pt x="2397" y="2234"/>
                  </a:lnTo>
                  <a:lnTo>
                    <a:pt x="2405" y="2223"/>
                  </a:lnTo>
                  <a:lnTo>
                    <a:pt x="2384" y="2237"/>
                  </a:lnTo>
                  <a:lnTo>
                    <a:pt x="2362" y="2250"/>
                  </a:lnTo>
                  <a:lnTo>
                    <a:pt x="2340" y="2264"/>
                  </a:lnTo>
                  <a:lnTo>
                    <a:pt x="2319" y="2276"/>
                  </a:lnTo>
                  <a:lnTo>
                    <a:pt x="2274" y="2299"/>
                  </a:lnTo>
                  <a:lnTo>
                    <a:pt x="2229" y="2321"/>
                  </a:lnTo>
                  <a:lnTo>
                    <a:pt x="2181" y="2341"/>
                  </a:lnTo>
                  <a:lnTo>
                    <a:pt x="2134" y="2359"/>
                  </a:lnTo>
                  <a:lnTo>
                    <a:pt x="2087" y="2377"/>
                  </a:lnTo>
                  <a:lnTo>
                    <a:pt x="2039" y="2392"/>
                  </a:lnTo>
                  <a:lnTo>
                    <a:pt x="2031" y="2414"/>
                  </a:lnTo>
                  <a:lnTo>
                    <a:pt x="2021" y="2434"/>
                  </a:lnTo>
                  <a:lnTo>
                    <a:pt x="2012" y="2455"/>
                  </a:lnTo>
                  <a:lnTo>
                    <a:pt x="2003" y="2476"/>
                  </a:lnTo>
                  <a:lnTo>
                    <a:pt x="1991" y="2495"/>
                  </a:lnTo>
                  <a:lnTo>
                    <a:pt x="1980" y="2515"/>
                  </a:lnTo>
                  <a:lnTo>
                    <a:pt x="1968" y="2535"/>
                  </a:lnTo>
                  <a:lnTo>
                    <a:pt x="1956" y="2553"/>
                  </a:lnTo>
                  <a:lnTo>
                    <a:pt x="1984" y="2540"/>
                  </a:lnTo>
                  <a:lnTo>
                    <a:pt x="2013" y="2526"/>
                  </a:lnTo>
                  <a:lnTo>
                    <a:pt x="2042" y="2511"/>
                  </a:lnTo>
                  <a:lnTo>
                    <a:pt x="2070" y="2496"/>
                  </a:lnTo>
                  <a:lnTo>
                    <a:pt x="2097" y="2482"/>
                  </a:lnTo>
                  <a:lnTo>
                    <a:pt x="2125" y="2464"/>
                  </a:lnTo>
                  <a:lnTo>
                    <a:pt x="2152" y="2448"/>
                  </a:lnTo>
                  <a:lnTo>
                    <a:pt x="2178" y="2430"/>
                  </a:lnTo>
                  <a:lnTo>
                    <a:pt x="2205" y="2411"/>
                  </a:lnTo>
                  <a:lnTo>
                    <a:pt x="2230" y="2393"/>
                  </a:lnTo>
                  <a:lnTo>
                    <a:pt x="2255" y="2373"/>
                  </a:lnTo>
                  <a:lnTo>
                    <a:pt x="2279" y="2352"/>
                  </a:lnTo>
                  <a:lnTo>
                    <a:pt x="2304" y="2332"/>
                  </a:lnTo>
                  <a:lnTo>
                    <a:pt x="2327" y="2310"/>
                  </a:lnTo>
                  <a:lnTo>
                    <a:pt x="2350" y="2288"/>
                  </a:lnTo>
                  <a:lnTo>
                    <a:pt x="2372" y="2265"/>
                  </a:lnTo>
                  <a:close/>
                  <a:moveTo>
                    <a:pt x="2468" y="2124"/>
                  </a:moveTo>
                  <a:lnTo>
                    <a:pt x="2480" y="2101"/>
                  </a:lnTo>
                  <a:lnTo>
                    <a:pt x="2490" y="2077"/>
                  </a:lnTo>
                  <a:lnTo>
                    <a:pt x="2501" y="2054"/>
                  </a:lnTo>
                  <a:lnTo>
                    <a:pt x="2510" y="2030"/>
                  </a:lnTo>
                  <a:lnTo>
                    <a:pt x="2518" y="2006"/>
                  </a:lnTo>
                  <a:lnTo>
                    <a:pt x="2526" y="1981"/>
                  </a:lnTo>
                  <a:lnTo>
                    <a:pt x="2532" y="1956"/>
                  </a:lnTo>
                  <a:lnTo>
                    <a:pt x="2539" y="1932"/>
                  </a:lnTo>
                  <a:lnTo>
                    <a:pt x="2543" y="1907"/>
                  </a:lnTo>
                  <a:lnTo>
                    <a:pt x="2548" y="1881"/>
                  </a:lnTo>
                  <a:lnTo>
                    <a:pt x="2551" y="1856"/>
                  </a:lnTo>
                  <a:lnTo>
                    <a:pt x="2554" y="1831"/>
                  </a:lnTo>
                  <a:lnTo>
                    <a:pt x="2556" y="1805"/>
                  </a:lnTo>
                  <a:lnTo>
                    <a:pt x="2557" y="1779"/>
                  </a:lnTo>
                  <a:lnTo>
                    <a:pt x="2557" y="1753"/>
                  </a:lnTo>
                  <a:lnTo>
                    <a:pt x="2557" y="1728"/>
                  </a:lnTo>
                  <a:lnTo>
                    <a:pt x="2532" y="1748"/>
                  </a:lnTo>
                  <a:lnTo>
                    <a:pt x="2506" y="1766"/>
                  </a:lnTo>
                  <a:lnTo>
                    <a:pt x="2480" y="1784"/>
                  </a:lnTo>
                  <a:lnTo>
                    <a:pt x="2452" y="1802"/>
                  </a:lnTo>
                  <a:lnTo>
                    <a:pt x="2425" y="1818"/>
                  </a:lnTo>
                  <a:lnTo>
                    <a:pt x="2396" y="1833"/>
                  </a:lnTo>
                  <a:lnTo>
                    <a:pt x="2368" y="1848"/>
                  </a:lnTo>
                  <a:lnTo>
                    <a:pt x="2338" y="1862"/>
                  </a:lnTo>
                  <a:lnTo>
                    <a:pt x="2309" y="1875"/>
                  </a:lnTo>
                  <a:lnTo>
                    <a:pt x="2279" y="1888"/>
                  </a:lnTo>
                  <a:lnTo>
                    <a:pt x="2249" y="1900"/>
                  </a:lnTo>
                  <a:lnTo>
                    <a:pt x="2219" y="1911"/>
                  </a:lnTo>
                  <a:lnTo>
                    <a:pt x="2158" y="1932"/>
                  </a:lnTo>
                  <a:lnTo>
                    <a:pt x="2096" y="1950"/>
                  </a:lnTo>
                  <a:lnTo>
                    <a:pt x="2097" y="2000"/>
                  </a:lnTo>
                  <a:lnTo>
                    <a:pt x="2096" y="2049"/>
                  </a:lnTo>
                  <a:lnTo>
                    <a:pt x="2094" y="2100"/>
                  </a:lnTo>
                  <a:lnTo>
                    <a:pt x="2090" y="2150"/>
                  </a:lnTo>
                  <a:lnTo>
                    <a:pt x="2085" y="2199"/>
                  </a:lnTo>
                  <a:lnTo>
                    <a:pt x="2077" y="2249"/>
                  </a:lnTo>
                  <a:lnTo>
                    <a:pt x="2071" y="2274"/>
                  </a:lnTo>
                  <a:lnTo>
                    <a:pt x="2066" y="2298"/>
                  </a:lnTo>
                  <a:lnTo>
                    <a:pt x="2059" y="2323"/>
                  </a:lnTo>
                  <a:lnTo>
                    <a:pt x="2052" y="2347"/>
                  </a:lnTo>
                  <a:lnTo>
                    <a:pt x="2109" y="2327"/>
                  </a:lnTo>
                  <a:lnTo>
                    <a:pt x="2164" y="2306"/>
                  </a:lnTo>
                  <a:lnTo>
                    <a:pt x="2192" y="2295"/>
                  </a:lnTo>
                  <a:lnTo>
                    <a:pt x="2219" y="2282"/>
                  </a:lnTo>
                  <a:lnTo>
                    <a:pt x="2246" y="2271"/>
                  </a:lnTo>
                  <a:lnTo>
                    <a:pt x="2272" y="2257"/>
                  </a:lnTo>
                  <a:lnTo>
                    <a:pt x="2299" y="2243"/>
                  </a:lnTo>
                  <a:lnTo>
                    <a:pt x="2324" y="2228"/>
                  </a:lnTo>
                  <a:lnTo>
                    <a:pt x="2350" y="2213"/>
                  </a:lnTo>
                  <a:lnTo>
                    <a:pt x="2375" y="2197"/>
                  </a:lnTo>
                  <a:lnTo>
                    <a:pt x="2399" y="2180"/>
                  </a:lnTo>
                  <a:lnTo>
                    <a:pt x="2422" y="2162"/>
                  </a:lnTo>
                  <a:lnTo>
                    <a:pt x="2445" y="2144"/>
                  </a:lnTo>
                  <a:lnTo>
                    <a:pt x="2468" y="2124"/>
                  </a:lnTo>
                  <a:close/>
                  <a:moveTo>
                    <a:pt x="2555" y="1677"/>
                  </a:moveTo>
                  <a:lnTo>
                    <a:pt x="2552" y="1650"/>
                  </a:lnTo>
                  <a:lnTo>
                    <a:pt x="2549" y="1621"/>
                  </a:lnTo>
                  <a:lnTo>
                    <a:pt x="2546" y="1593"/>
                  </a:lnTo>
                  <a:lnTo>
                    <a:pt x="2541" y="1566"/>
                  </a:lnTo>
                  <a:lnTo>
                    <a:pt x="2536" y="1538"/>
                  </a:lnTo>
                  <a:lnTo>
                    <a:pt x="2531" y="1510"/>
                  </a:lnTo>
                  <a:lnTo>
                    <a:pt x="2524" y="1483"/>
                  </a:lnTo>
                  <a:lnTo>
                    <a:pt x="2517" y="1455"/>
                  </a:lnTo>
                  <a:lnTo>
                    <a:pt x="2501" y="1401"/>
                  </a:lnTo>
                  <a:lnTo>
                    <a:pt x="2483" y="1347"/>
                  </a:lnTo>
                  <a:lnTo>
                    <a:pt x="2464" y="1295"/>
                  </a:lnTo>
                  <a:lnTo>
                    <a:pt x="2442" y="1242"/>
                  </a:lnTo>
                  <a:lnTo>
                    <a:pt x="2420" y="1260"/>
                  </a:lnTo>
                  <a:lnTo>
                    <a:pt x="2397" y="1279"/>
                  </a:lnTo>
                  <a:lnTo>
                    <a:pt x="2373" y="1295"/>
                  </a:lnTo>
                  <a:lnTo>
                    <a:pt x="2349" y="1311"/>
                  </a:lnTo>
                  <a:lnTo>
                    <a:pt x="2324" y="1327"/>
                  </a:lnTo>
                  <a:lnTo>
                    <a:pt x="2299" y="1341"/>
                  </a:lnTo>
                  <a:lnTo>
                    <a:pt x="2274" y="1355"/>
                  </a:lnTo>
                  <a:lnTo>
                    <a:pt x="2247" y="1369"/>
                  </a:lnTo>
                  <a:lnTo>
                    <a:pt x="2221" y="1381"/>
                  </a:lnTo>
                  <a:lnTo>
                    <a:pt x="2194" y="1393"/>
                  </a:lnTo>
                  <a:lnTo>
                    <a:pt x="2168" y="1404"/>
                  </a:lnTo>
                  <a:lnTo>
                    <a:pt x="2140" y="1415"/>
                  </a:lnTo>
                  <a:lnTo>
                    <a:pt x="2086" y="1434"/>
                  </a:lnTo>
                  <a:lnTo>
                    <a:pt x="2031" y="1452"/>
                  </a:lnTo>
                  <a:lnTo>
                    <a:pt x="2043" y="1508"/>
                  </a:lnTo>
                  <a:lnTo>
                    <a:pt x="2054" y="1566"/>
                  </a:lnTo>
                  <a:lnTo>
                    <a:pt x="2064" y="1622"/>
                  </a:lnTo>
                  <a:lnTo>
                    <a:pt x="2073" y="1680"/>
                  </a:lnTo>
                  <a:lnTo>
                    <a:pt x="2080" y="1737"/>
                  </a:lnTo>
                  <a:lnTo>
                    <a:pt x="2087" y="1795"/>
                  </a:lnTo>
                  <a:lnTo>
                    <a:pt x="2092" y="1852"/>
                  </a:lnTo>
                  <a:lnTo>
                    <a:pt x="2095" y="1910"/>
                  </a:lnTo>
                  <a:lnTo>
                    <a:pt x="2157" y="1890"/>
                  </a:lnTo>
                  <a:lnTo>
                    <a:pt x="2218" y="1870"/>
                  </a:lnTo>
                  <a:lnTo>
                    <a:pt x="2248" y="1858"/>
                  </a:lnTo>
                  <a:lnTo>
                    <a:pt x="2278" y="1846"/>
                  </a:lnTo>
                  <a:lnTo>
                    <a:pt x="2308" y="1833"/>
                  </a:lnTo>
                  <a:lnTo>
                    <a:pt x="2338" y="1819"/>
                  </a:lnTo>
                  <a:lnTo>
                    <a:pt x="2367" y="1804"/>
                  </a:lnTo>
                  <a:lnTo>
                    <a:pt x="2396" y="1789"/>
                  </a:lnTo>
                  <a:lnTo>
                    <a:pt x="2425" y="1773"/>
                  </a:lnTo>
                  <a:lnTo>
                    <a:pt x="2452" y="1756"/>
                  </a:lnTo>
                  <a:lnTo>
                    <a:pt x="2479" y="1737"/>
                  </a:lnTo>
                  <a:lnTo>
                    <a:pt x="2505" y="1719"/>
                  </a:lnTo>
                  <a:lnTo>
                    <a:pt x="2531" y="1699"/>
                  </a:lnTo>
                  <a:lnTo>
                    <a:pt x="2555" y="1677"/>
                  </a:lnTo>
                  <a:close/>
                  <a:moveTo>
                    <a:pt x="2426" y="1205"/>
                  </a:moveTo>
                  <a:lnTo>
                    <a:pt x="2400" y="1152"/>
                  </a:lnTo>
                  <a:lnTo>
                    <a:pt x="2373" y="1099"/>
                  </a:lnTo>
                  <a:lnTo>
                    <a:pt x="2344" y="1047"/>
                  </a:lnTo>
                  <a:lnTo>
                    <a:pt x="2314" y="996"/>
                  </a:lnTo>
                  <a:lnTo>
                    <a:pt x="2283" y="947"/>
                  </a:lnTo>
                  <a:lnTo>
                    <a:pt x="2251" y="897"/>
                  </a:lnTo>
                  <a:lnTo>
                    <a:pt x="2216" y="849"/>
                  </a:lnTo>
                  <a:lnTo>
                    <a:pt x="2181" y="802"/>
                  </a:lnTo>
                  <a:lnTo>
                    <a:pt x="2164" y="816"/>
                  </a:lnTo>
                  <a:lnTo>
                    <a:pt x="2147" y="827"/>
                  </a:lnTo>
                  <a:lnTo>
                    <a:pt x="2130" y="840"/>
                  </a:lnTo>
                  <a:lnTo>
                    <a:pt x="2112" y="851"/>
                  </a:lnTo>
                  <a:lnTo>
                    <a:pt x="2075" y="872"/>
                  </a:lnTo>
                  <a:lnTo>
                    <a:pt x="2039" y="892"/>
                  </a:lnTo>
                  <a:lnTo>
                    <a:pt x="2001" y="910"/>
                  </a:lnTo>
                  <a:lnTo>
                    <a:pt x="1961" y="926"/>
                  </a:lnTo>
                  <a:lnTo>
                    <a:pt x="1921" y="941"/>
                  </a:lnTo>
                  <a:lnTo>
                    <a:pt x="1881" y="955"/>
                  </a:lnTo>
                  <a:lnTo>
                    <a:pt x="1902" y="1011"/>
                  </a:lnTo>
                  <a:lnTo>
                    <a:pt x="1922" y="1068"/>
                  </a:lnTo>
                  <a:lnTo>
                    <a:pt x="1941" y="1125"/>
                  </a:lnTo>
                  <a:lnTo>
                    <a:pt x="1959" y="1182"/>
                  </a:lnTo>
                  <a:lnTo>
                    <a:pt x="1976" y="1240"/>
                  </a:lnTo>
                  <a:lnTo>
                    <a:pt x="1993" y="1297"/>
                  </a:lnTo>
                  <a:lnTo>
                    <a:pt x="2008" y="1356"/>
                  </a:lnTo>
                  <a:lnTo>
                    <a:pt x="2023" y="1414"/>
                  </a:lnTo>
                  <a:lnTo>
                    <a:pt x="2077" y="1396"/>
                  </a:lnTo>
                  <a:lnTo>
                    <a:pt x="2130" y="1377"/>
                  </a:lnTo>
                  <a:lnTo>
                    <a:pt x="2157" y="1366"/>
                  </a:lnTo>
                  <a:lnTo>
                    <a:pt x="2184" y="1355"/>
                  </a:lnTo>
                  <a:lnTo>
                    <a:pt x="2209" y="1343"/>
                  </a:lnTo>
                  <a:lnTo>
                    <a:pt x="2236" y="1331"/>
                  </a:lnTo>
                  <a:lnTo>
                    <a:pt x="2261" y="1318"/>
                  </a:lnTo>
                  <a:lnTo>
                    <a:pt x="2286" y="1304"/>
                  </a:lnTo>
                  <a:lnTo>
                    <a:pt x="2311" y="1289"/>
                  </a:lnTo>
                  <a:lnTo>
                    <a:pt x="2335" y="1274"/>
                  </a:lnTo>
                  <a:lnTo>
                    <a:pt x="2358" y="1258"/>
                  </a:lnTo>
                  <a:lnTo>
                    <a:pt x="2381" y="1242"/>
                  </a:lnTo>
                  <a:lnTo>
                    <a:pt x="2404" y="1223"/>
                  </a:lnTo>
                  <a:lnTo>
                    <a:pt x="2426" y="1205"/>
                  </a:lnTo>
                  <a:close/>
                  <a:moveTo>
                    <a:pt x="2153" y="766"/>
                  </a:moveTo>
                  <a:lnTo>
                    <a:pt x="2131" y="738"/>
                  </a:lnTo>
                  <a:lnTo>
                    <a:pt x="2108" y="711"/>
                  </a:lnTo>
                  <a:lnTo>
                    <a:pt x="2085" y="683"/>
                  </a:lnTo>
                  <a:lnTo>
                    <a:pt x="2061" y="657"/>
                  </a:lnTo>
                  <a:lnTo>
                    <a:pt x="2037" y="630"/>
                  </a:lnTo>
                  <a:lnTo>
                    <a:pt x="2012" y="605"/>
                  </a:lnTo>
                  <a:lnTo>
                    <a:pt x="1988" y="578"/>
                  </a:lnTo>
                  <a:lnTo>
                    <a:pt x="1963" y="554"/>
                  </a:lnTo>
                  <a:lnTo>
                    <a:pt x="1938" y="571"/>
                  </a:lnTo>
                  <a:lnTo>
                    <a:pt x="1914" y="586"/>
                  </a:lnTo>
                  <a:lnTo>
                    <a:pt x="1888" y="601"/>
                  </a:lnTo>
                  <a:lnTo>
                    <a:pt x="1861" y="615"/>
                  </a:lnTo>
                  <a:lnTo>
                    <a:pt x="1835" y="627"/>
                  </a:lnTo>
                  <a:lnTo>
                    <a:pt x="1807" y="638"/>
                  </a:lnTo>
                  <a:lnTo>
                    <a:pt x="1779" y="649"/>
                  </a:lnTo>
                  <a:lnTo>
                    <a:pt x="1752" y="658"/>
                  </a:lnTo>
                  <a:lnTo>
                    <a:pt x="1767" y="689"/>
                  </a:lnTo>
                  <a:lnTo>
                    <a:pt x="1782" y="721"/>
                  </a:lnTo>
                  <a:lnTo>
                    <a:pt x="1797" y="752"/>
                  </a:lnTo>
                  <a:lnTo>
                    <a:pt x="1811" y="784"/>
                  </a:lnTo>
                  <a:lnTo>
                    <a:pt x="1826" y="816"/>
                  </a:lnTo>
                  <a:lnTo>
                    <a:pt x="1838" y="848"/>
                  </a:lnTo>
                  <a:lnTo>
                    <a:pt x="1852" y="880"/>
                  </a:lnTo>
                  <a:lnTo>
                    <a:pt x="1865" y="912"/>
                  </a:lnTo>
                  <a:lnTo>
                    <a:pt x="1903" y="900"/>
                  </a:lnTo>
                  <a:lnTo>
                    <a:pt x="1942" y="885"/>
                  </a:lnTo>
                  <a:lnTo>
                    <a:pt x="1979" y="870"/>
                  </a:lnTo>
                  <a:lnTo>
                    <a:pt x="2016" y="852"/>
                  </a:lnTo>
                  <a:lnTo>
                    <a:pt x="2051" y="833"/>
                  </a:lnTo>
                  <a:lnTo>
                    <a:pt x="2087" y="813"/>
                  </a:lnTo>
                  <a:lnTo>
                    <a:pt x="2120" y="790"/>
                  </a:lnTo>
                  <a:lnTo>
                    <a:pt x="2153" y="766"/>
                  </a:lnTo>
                  <a:close/>
                  <a:moveTo>
                    <a:pt x="1934" y="526"/>
                  </a:moveTo>
                  <a:lnTo>
                    <a:pt x="1906" y="501"/>
                  </a:lnTo>
                  <a:lnTo>
                    <a:pt x="1879" y="476"/>
                  </a:lnTo>
                  <a:lnTo>
                    <a:pt x="1850" y="451"/>
                  </a:lnTo>
                  <a:lnTo>
                    <a:pt x="1821" y="427"/>
                  </a:lnTo>
                  <a:lnTo>
                    <a:pt x="1791" y="403"/>
                  </a:lnTo>
                  <a:lnTo>
                    <a:pt x="1761" y="381"/>
                  </a:lnTo>
                  <a:lnTo>
                    <a:pt x="1730" y="359"/>
                  </a:lnTo>
                  <a:lnTo>
                    <a:pt x="1699" y="339"/>
                  </a:lnTo>
                  <a:lnTo>
                    <a:pt x="1687" y="347"/>
                  </a:lnTo>
                  <a:lnTo>
                    <a:pt x="1676" y="355"/>
                  </a:lnTo>
                  <a:lnTo>
                    <a:pt x="1664" y="363"/>
                  </a:lnTo>
                  <a:lnTo>
                    <a:pt x="1652" y="370"/>
                  </a:lnTo>
                  <a:lnTo>
                    <a:pt x="1626" y="382"/>
                  </a:lnTo>
                  <a:lnTo>
                    <a:pt x="1600" y="394"/>
                  </a:lnTo>
                  <a:lnTo>
                    <a:pt x="1618" y="422"/>
                  </a:lnTo>
                  <a:lnTo>
                    <a:pt x="1637" y="449"/>
                  </a:lnTo>
                  <a:lnTo>
                    <a:pt x="1654" y="478"/>
                  </a:lnTo>
                  <a:lnTo>
                    <a:pt x="1671" y="506"/>
                  </a:lnTo>
                  <a:lnTo>
                    <a:pt x="1687" y="534"/>
                  </a:lnTo>
                  <a:lnTo>
                    <a:pt x="1703" y="564"/>
                  </a:lnTo>
                  <a:lnTo>
                    <a:pt x="1720" y="593"/>
                  </a:lnTo>
                  <a:lnTo>
                    <a:pt x="1735" y="623"/>
                  </a:lnTo>
                  <a:lnTo>
                    <a:pt x="1761" y="614"/>
                  </a:lnTo>
                  <a:lnTo>
                    <a:pt x="1786" y="605"/>
                  </a:lnTo>
                  <a:lnTo>
                    <a:pt x="1813" y="594"/>
                  </a:lnTo>
                  <a:lnTo>
                    <a:pt x="1838" y="583"/>
                  </a:lnTo>
                  <a:lnTo>
                    <a:pt x="1864" y="570"/>
                  </a:lnTo>
                  <a:lnTo>
                    <a:pt x="1888" y="557"/>
                  </a:lnTo>
                  <a:lnTo>
                    <a:pt x="1911" y="543"/>
                  </a:lnTo>
                  <a:lnTo>
                    <a:pt x="1934" y="526"/>
                  </a:lnTo>
                  <a:close/>
                  <a:moveTo>
                    <a:pt x="1460" y="280"/>
                  </a:moveTo>
                  <a:lnTo>
                    <a:pt x="1450" y="284"/>
                  </a:lnTo>
                  <a:lnTo>
                    <a:pt x="1438" y="288"/>
                  </a:lnTo>
                  <a:lnTo>
                    <a:pt x="1426" y="291"/>
                  </a:lnTo>
                  <a:lnTo>
                    <a:pt x="1414" y="294"/>
                  </a:lnTo>
                  <a:lnTo>
                    <a:pt x="1414" y="392"/>
                  </a:lnTo>
                  <a:lnTo>
                    <a:pt x="1445" y="389"/>
                  </a:lnTo>
                  <a:lnTo>
                    <a:pt x="1476" y="386"/>
                  </a:lnTo>
                  <a:lnTo>
                    <a:pt x="1508" y="380"/>
                  </a:lnTo>
                  <a:lnTo>
                    <a:pt x="1538" y="373"/>
                  </a:lnTo>
                  <a:lnTo>
                    <a:pt x="1519" y="349"/>
                  </a:lnTo>
                  <a:lnTo>
                    <a:pt x="1501" y="326"/>
                  </a:lnTo>
                  <a:lnTo>
                    <a:pt x="1481" y="303"/>
                  </a:lnTo>
                  <a:lnTo>
                    <a:pt x="1460" y="280"/>
                  </a:lnTo>
                  <a:close/>
                  <a:moveTo>
                    <a:pt x="1880" y="2583"/>
                  </a:moveTo>
                  <a:lnTo>
                    <a:pt x="1897" y="2563"/>
                  </a:lnTo>
                  <a:lnTo>
                    <a:pt x="1914" y="2543"/>
                  </a:lnTo>
                  <a:lnTo>
                    <a:pt x="1929" y="2522"/>
                  </a:lnTo>
                  <a:lnTo>
                    <a:pt x="1944" y="2500"/>
                  </a:lnTo>
                  <a:lnTo>
                    <a:pt x="1958" y="2477"/>
                  </a:lnTo>
                  <a:lnTo>
                    <a:pt x="1970" y="2454"/>
                  </a:lnTo>
                  <a:lnTo>
                    <a:pt x="1981" y="2430"/>
                  </a:lnTo>
                  <a:lnTo>
                    <a:pt x="1991" y="2405"/>
                  </a:lnTo>
                  <a:lnTo>
                    <a:pt x="1957" y="2415"/>
                  </a:lnTo>
                  <a:lnTo>
                    <a:pt x="1921" y="2423"/>
                  </a:lnTo>
                  <a:lnTo>
                    <a:pt x="1885" y="2431"/>
                  </a:lnTo>
                  <a:lnTo>
                    <a:pt x="1850" y="2439"/>
                  </a:lnTo>
                  <a:lnTo>
                    <a:pt x="1814" y="2446"/>
                  </a:lnTo>
                  <a:lnTo>
                    <a:pt x="1777" y="2452"/>
                  </a:lnTo>
                  <a:lnTo>
                    <a:pt x="1741" y="2457"/>
                  </a:lnTo>
                  <a:lnTo>
                    <a:pt x="1706" y="2462"/>
                  </a:lnTo>
                  <a:lnTo>
                    <a:pt x="1633" y="2471"/>
                  </a:lnTo>
                  <a:lnTo>
                    <a:pt x="1561" y="2477"/>
                  </a:lnTo>
                  <a:lnTo>
                    <a:pt x="1487" y="2482"/>
                  </a:lnTo>
                  <a:lnTo>
                    <a:pt x="1414" y="2483"/>
                  </a:lnTo>
                  <a:lnTo>
                    <a:pt x="1414" y="2664"/>
                  </a:lnTo>
                  <a:lnTo>
                    <a:pt x="1444" y="2664"/>
                  </a:lnTo>
                  <a:lnTo>
                    <a:pt x="1473" y="2662"/>
                  </a:lnTo>
                  <a:lnTo>
                    <a:pt x="1503" y="2660"/>
                  </a:lnTo>
                  <a:lnTo>
                    <a:pt x="1533" y="2658"/>
                  </a:lnTo>
                  <a:lnTo>
                    <a:pt x="1562" y="2655"/>
                  </a:lnTo>
                  <a:lnTo>
                    <a:pt x="1592" y="2652"/>
                  </a:lnTo>
                  <a:lnTo>
                    <a:pt x="1620" y="2647"/>
                  </a:lnTo>
                  <a:lnTo>
                    <a:pt x="1650" y="2643"/>
                  </a:lnTo>
                  <a:lnTo>
                    <a:pt x="1679" y="2637"/>
                  </a:lnTo>
                  <a:lnTo>
                    <a:pt x="1708" y="2631"/>
                  </a:lnTo>
                  <a:lnTo>
                    <a:pt x="1737" y="2624"/>
                  </a:lnTo>
                  <a:lnTo>
                    <a:pt x="1766" y="2617"/>
                  </a:lnTo>
                  <a:lnTo>
                    <a:pt x="1794" y="2609"/>
                  </a:lnTo>
                  <a:lnTo>
                    <a:pt x="1823" y="2601"/>
                  </a:lnTo>
                  <a:lnTo>
                    <a:pt x="1851" y="2592"/>
                  </a:lnTo>
                  <a:lnTo>
                    <a:pt x="1880" y="2583"/>
                  </a:lnTo>
                  <a:close/>
                  <a:moveTo>
                    <a:pt x="2008" y="2361"/>
                  </a:moveTo>
                  <a:lnTo>
                    <a:pt x="2016" y="2336"/>
                  </a:lnTo>
                  <a:lnTo>
                    <a:pt x="2023" y="2312"/>
                  </a:lnTo>
                  <a:lnTo>
                    <a:pt x="2028" y="2287"/>
                  </a:lnTo>
                  <a:lnTo>
                    <a:pt x="2034" y="2263"/>
                  </a:lnTo>
                  <a:lnTo>
                    <a:pt x="2039" y="2237"/>
                  </a:lnTo>
                  <a:lnTo>
                    <a:pt x="2043" y="2213"/>
                  </a:lnTo>
                  <a:lnTo>
                    <a:pt x="2047" y="2188"/>
                  </a:lnTo>
                  <a:lnTo>
                    <a:pt x="2050" y="2162"/>
                  </a:lnTo>
                  <a:lnTo>
                    <a:pt x="2055" y="2112"/>
                  </a:lnTo>
                  <a:lnTo>
                    <a:pt x="2057" y="2062"/>
                  </a:lnTo>
                  <a:lnTo>
                    <a:pt x="2058" y="2011"/>
                  </a:lnTo>
                  <a:lnTo>
                    <a:pt x="2058" y="1961"/>
                  </a:lnTo>
                  <a:lnTo>
                    <a:pt x="2019" y="1971"/>
                  </a:lnTo>
                  <a:lnTo>
                    <a:pt x="1979" y="1980"/>
                  </a:lnTo>
                  <a:lnTo>
                    <a:pt x="1940" y="1988"/>
                  </a:lnTo>
                  <a:lnTo>
                    <a:pt x="1899" y="1996"/>
                  </a:lnTo>
                  <a:lnTo>
                    <a:pt x="1859" y="2005"/>
                  </a:lnTo>
                  <a:lnTo>
                    <a:pt x="1820" y="2010"/>
                  </a:lnTo>
                  <a:lnTo>
                    <a:pt x="1779" y="2017"/>
                  </a:lnTo>
                  <a:lnTo>
                    <a:pt x="1739" y="2022"/>
                  </a:lnTo>
                  <a:lnTo>
                    <a:pt x="1698" y="2028"/>
                  </a:lnTo>
                  <a:lnTo>
                    <a:pt x="1657" y="2031"/>
                  </a:lnTo>
                  <a:lnTo>
                    <a:pt x="1617" y="2034"/>
                  </a:lnTo>
                  <a:lnTo>
                    <a:pt x="1577" y="2038"/>
                  </a:lnTo>
                  <a:lnTo>
                    <a:pt x="1495" y="2043"/>
                  </a:lnTo>
                  <a:lnTo>
                    <a:pt x="1414" y="2045"/>
                  </a:lnTo>
                  <a:lnTo>
                    <a:pt x="1414" y="2443"/>
                  </a:lnTo>
                  <a:lnTo>
                    <a:pt x="1489" y="2442"/>
                  </a:lnTo>
                  <a:lnTo>
                    <a:pt x="1564" y="2438"/>
                  </a:lnTo>
                  <a:lnTo>
                    <a:pt x="1602" y="2434"/>
                  </a:lnTo>
                  <a:lnTo>
                    <a:pt x="1639" y="2431"/>
                  </a:lnTo>
                  <a:lnTo>
                    <a:pt x="1677" y="2426"/>
                  </a:lnTo>
                  <a:lnTo>
                    <a:pt x="1714" y="2422"/>
                  </a:lnTo>
                  <a:lnTo>
                    <a:pt x="1752" y="2417"/>
                  </a:lnTo>
                  <a:lnTo>
                    <a:pt x="1789" y="2410"/>
                  </a:lnTo>
                  <a:lnTo>
                    <a:pt x="1826" y="2403"/>
                  </a:lnTo>
                  <a:lnTo>
                    <a:pt x="1862" y="2396"/>
                  </a:lnTo>
                  <a:lnTo>
                    <a:pt x="1899" y="2388"/>
                  </a:lnTo>
                  <a:lnTo>
                    <a:pt x="1936" y="2380"/>
                  </a:lnTo>
                  <a:lnTo>
                    <a:pt x="1972" y="2370"/>
                  </a:lnTo>
                  <a:lnTo>
                    <a:pt x="2008" y="2361"/>
                  </a:lnTo>
                  <a:close/>
                  <a:moveTo>
                    <a:pt x="2057" y="1920"/>
                  </a:moveTo>
                  <a:lnTo>
                    <a:pt x="2054" y="1863"/>
                  </a:lnTo>
                  <a:lnTo>
                    <a:pt x="2049" y="1805"/>
                  </a:lnTo>
                  <a:lnTo>
                    <a:pt x="2043" y="1748"/>
                  </a:lnTo>
                  <a:lnTo>
                    <a:pt x="2035" y="1690"/>
                  </a:lnTo>
                  <a:lnTo>
                    <a:pt x="2026" y="1634"/>
                  </a:lnTo>
                  <a:lnTo>
                    <a:pt x="2017" y="1576"/>
                  </a:lnTo>
                  <a:lnTo>
                    <a:pt x="2005" y="1519"/>
                  </a:lnTo>
                  <a:lnTo>
                    <a:pt x="1994" y="1463"/>
                  </a:lnTo>
                  <a:lnTo>
                    <a:pt x="1958" y="1472"/>
                  </a:lnTo>
                  <a:lnTo>
                    <a:pt x="1922" y="1481"/>
                  </a:lnTo>
                  <a:lnTo>
                    <a:pt x="1888" y="1490"/>
                  </a:lnTo>
                  <a:lnTo>
                    <a:pt x="1851" y="1496"/>
                  </a:lnTo>
                  <a:lnTo>
                    <a:pt x="1815" y="1503"/>
                  </a:lnTo>
                  <a:lnTo>
                    <a:pt x="1779" y="1510"/>
                  </a:lnTo>
                  <a:lnTo>
                    <a:pt x="1743" y="1515"/>
                  </a:lnTo>
                  <a:lnTo>
                    <a:pt x="1707" y="1521"/>
                  </a:lnTo>
                  <a:lnTo>
                    <a:pt x="1633" y="1529"/>
                  </a:lnTo>
                  <a:lnTo>
                    <a:pt x="1561" y="1534"/>
                  </a:lnTo>
                  <a:lnTo>
                    <a:pt x="1487" y="1538"/>
                  </a:lnTo>
                  <a:lnTo>
                    <a:pt x="1414" y="1539"/>
                  </a:lnTo>
                  <a:lnTo>
                    <a:pt x="1414" y="2006"/>
                  </a:lnTo>
                  <a:lnTo>
                    <a:pt x="1496" y="2003"/>
                  </a:lnTo>
                  <a:lnTo>
                    <a:pt x="1577" y="1999"/>
                  </a:lnTo>
                  <a:lnTo>
                    <a:pt x="1617" y="1996"/>
                  </a:lnTo>
                  <a:lnTo>
                    <a:pt x="1657" y="1992"/>
                  </a:lnTo>
                  <a:lnTo>
                    <a:pt x="1698" y="1988"/>
                  </a:lnTo>
                  <a:lnTo>
                    <a:pt x="1738" y="1983"/>
                  </a:lnTo>
                  <a:lnTo>
                    <a:pt x="1778" y="1978"/>
                  </a:lnTo>
                  <a:lnTo>
                    <a:pt x="1819" y="1971"/>
                  </a:lnTo>
                  <a:lnTo>
                    <a:pt x="1859" y="1964"/>
                  </a:lnTo>
                  <a:lnTo>
                    <a:pt x="1898" y="1957"/>
                  </a:lnTo>
                  <a:lnTo>
                    <a:pt x="1938" y="1949"/>
                  </a:lnTo>
                  <a:lnTo>
                    <a:pt x="1978" y="1940"/>
                  </a:lnTo>
                  <a:lnTo>
                    <a:pt x="2018" y="1931"/>
                  </a:lnTo>
                  <a:lnTo>
                    <a:pt x="2057" y="1920"/>
                  </a:lnTo>
                  <a:close/>
                  <a:moveTo>
                    <a:pt x="1984" y="1425"/>
                  </a:moveTo>
                  <a:lnTo>
                    <a:pt x="1971" y="1366"/>
                  </a:lnTo>
                  <a:lnTo>
                    <a:pt x="1956" y="1309"/>
                  </a:lnTo>
                  <a:lnTo>
                    <a:pt x="1940" y="1251"/>
                  </a:lnTo>
                  <a:lnTo>
                    <a:pt x="1922" y="1193"/>
                  </a:lnTo>
                  <a:lnTo>
                    <a:pt x="1904" y="1136"/>
                  </a:lnTo>
                  <a:lnTo>
                    <a:pt x="1884" y="1079"/>
                  </a:lnTo>
                  <a:lnTo>
                    <a:pt x="1865" y="1023"/>
                  </a:lnTo>
                  <a:lnTo>
                    <a:pt x="1844" y="966"/>
                  </a:lnTo>
                  <a:lnTo>
                    <a:pt x="1791" y="981"/>
                  </a:lnTo>
                  <a:lnTo>
                    <a:pt x="1738" y="993"/>
                  </a:lnTo>
                  <a:lnTo>
                    <a:pt x="1685" y="1003"/>
                  </a:lnTo>
                  <a:lnTo>
                    <a:pt x="1631" y="1013"/>
                  </a:lnTo>
                  <a:lnTo>
                    <a:pt x="1577" y="1019"/>
                  </a:lnTo>
                  <a:lnTo>
                    <a:pt x="1523" y="1024"/>
                  </a:lnTo>
                  <a:lnTo>
                    <a:pt x="1468" y="1028"/>
                  </a:lnTo>
                  <a:lnTo>
                    <a:pt x="1414" y="1030"/>
                  </a:lnTo>
                  <a:lnTo>
                    <a:pt x="1414" y="1500"/>
                  </a:lnTo>
                  <a:lnTo>
                    <a:pt x="1487" y="1499"/>
                  </a:lnTo>
                  <a:lnTo>
                    <a:pt x="1558" y="1495"/>
                  </a:lnTo>
                  <a:lnTo>
                    <a:pt x="1630" y="1488"/>
                  </a:lnTo>
                  <a:lnTo>
                    <a:pt x="1702" y="1480"/>
                  </a:lnTo>
                  <a:lnTo>
                    <a:pt x="1738" y="1476"/>
                  </a:lnTo>
                  <a:lnTo>
                    <a:pt x="1774" y="1470"/>
                  </a:lnTo>
                  <a:lnTo>
                    <a:pt x="1808" y="1464"/>
                  </a:lnTo>
                  <a:lnTo>
                    <a:pt x="1844" y="1457"/>
                  </a:lnTo>
                  <a:lnTo>
                    <a:pt x="1880" y="1450"/>
                  </a:lnTo>
                  <a:lnTo>
                    <a:pt x="1914" y="1442"/>
                  </a:lnTo>
                  <a:lnTo>
                    <a:pt x="1950" y="1434"/>
                  </a:lnTo>
                  <a:lnTo>
                    <a:pt x="1984" y="1425"/>
                  </a:lnTo>
                  <a:close/>
                  <a:moveTo>
                    <a:pt x="1827" y="924"/>
                  </a:moveTo>
                  <a:lnTo>
                    <a:pt x="1814" y="892"/>
                  </a:lnTo>
                  <a:lnTo>
                    <a:pt x="1801" y="859"/>
                  </a:lnTo>
                  <a:lnTo>
                    <a:pt x="1787" y="827"/>
                  </a:lnTo>
                  <a:lnTo>
                    <a:pt x="1774" y="795"/>
                  </a:lnTo>
                  <a:lnTo>
                    <a:pt x="1759" y="764"/>
                  </a:lnTo>
                  <a:lnTo>
                    <a:pt x="1745" y="731"/>
                  </a:lnTo>
                  <a:lnTo>
                    <a:pt x="1730" y="700"/>
                  </a:lnTo>
                  <a:lnTo>
                    <a:pt x="1714" y="669"/>
                  </a:lnTo>
                  <a:lnTo>
                    <a:pt x="1677" y="678"/>
                  </a:lnTo>
                  <a:lnTo>
                    <a:pt x="1640" y="687"/>
                  </a:lnTo>
                  <a:lnTo>
                    <a:pt x="1603" y="693"/>
                  </a:lnTo>
                  <a:lnTo>
                    <a:pt x="1565" y="699"/>
                  </a:lnTo>
                  <a:lnTo>
                    <a:pt x="1528" y="704"/>
                  </a:lnTo>
                  <a:lnTo>
                    <a:pt x="1490" y="707"/>
                  </a:lnTo>
                  <a:lnTo>
                    <a:pt x="1452" y="711"/>
                  </a:lnTo>
                  <a:lnTo>
                    <a:pt x="1414" y="712"/>
                  </a:lnTo>
                  <a:lnTo>
                    <a:pt x="1414" y="984"/>
                  </a:lnTo>
                  <a:lnTo>
                    <a:pt x="1466" y="981"/>
                  </a:lnTo>
                  <a:lnTo>
                    <a:pt x="1519" y="978"/>
                  </a:lnTo>
                  <a:lnTo>
                    <a:pt x="1571" y="973"/>
                  </a:lnTo>
                  <a:lnTo>
                    <a:pt x="1623" y="966"/>
                  </a:lnTo>
                  <a:lnTo>
                    <a:pt x="1675" y="958"/>
                  </a:lnTo>
                  <a:lnTo>
                    <a:pt x="1725" y="949"/>
                  </a:lnTo>
                  <a:lnTo>
                    <a:pt x="1777" y="938"/>
                  </a:lnTo>
                  <a:lnTo>
                    <a:pt x="1827" y="924"/>
                  </a:lnTo>
                  <a:close/>
                  <a:moveTo>
                    <a:pt x="1696" y="634"/>
                  </a:moveTo>
                  <a:lnTo>
                    <a:pt x="1680" y="605"/>
                  </a:lnTo>
                  <a:lnTo>
                    <a:pt x="1665" y="576"/>
                  </a:lnTo>
                  <a:lnTo>
                    <a:pt x="1649" y="547"/>
                  </a:lnTo>
                  <a:lnTo>
                    <a:pt x="1633" y="518"/>
                  </a:lnTo>
                  <a:lnTo>
                    <a:pt x="1616" y="490"/>
                  </a:lnTo>
                  <a:lnTo>
                    <a:pt x="1599" y="462"/>
                  </a:lnTo>
                  <a:lnTo>
                    <a:pt x="1580" y="434"/>
                  </a:lnTo>
                  <a:lnTo>
                    <a:pt x="1562" y="407"/>
                  </a:lnTo>
                  <a:lnTo>
                    <a:pt x="1543" y="411"/>
                  </a:lnTo>
                  <a:lnTo>
                    <a:pt x="1525" y="416"/>
                  </a:lnTo>
                  <a:lnTo>
                    <a:pt x="1508" y="420"/>
                  </a:lnTo>
                  <a:lnTo>
                    <a:pt x="1489" y="423"/>
                  </a:lnTo>
                  <a:lnTo>
                    <a:pt x="1451" y="428"/>
                  </a:lnTo>
                  <a:lnTo>
                    <a:pt x="1414" y="431"/>
                  </a:lnTo>
                  <a:lnTo>
                    <a:pt x="1414" y="673"/>
                  </a:lnTo>
                  <a:lnTo>
                    <a:pt x="1450" y="672"/>
                  </a:lnTo>
                  <a:lnTo>
                    <a:pt x="1486" y="669"/>
                  </a:lnTo>
                  <a:lnTo>
                    <a:pt x="1521" y="666"/>
                  </a:lnTo>
                  <a:lnTo>
                    <a:pt x="1556" y="661"/>
                  </a:lnTo>
                  <a:lnTo>
                    <a:pt x="1592" y="657"/>
                  </a:lnTo>
                  <a:lnTo>
                    <a:pt x="1626" y="650"/>
                  </a:lnTo>
                  <a:lnTo>
                    <a:pt x="1662" y="643"/>
                  </a:lnTo>
                  <a:lnTo>
                    <a:pt x="1696" y="634"/>
                  </a:lnTo>
                  <a:close/>
                  <a:moveTo>
                    <a:pt x="1367" y="67"/>
                  </a:moveTo>
                  <a:lnTo>
                    <a:pt x="1342" y="68"/>
                  </a:lnTo>
                  <a:lnTo>
                    <a:pt x="1315" y="69"/>
                  </a:lnTo>
                  <a:lnTo>
                    <a:pt x="1289" y="71"/>
                  </a:lnTo>
                  <a:lnTo>
                    <a:pt x="1263" y="75"/>
                  </a:lnTo>
                  <a:lnTo>
                    <a:pt x="1282" y="83"/>
                  </a:lnTo>
                  <a:lnTo>
                    <a:pt x="1299" y="93"/>
                  </a:lnTo>
                  <a:lnTo>
                    <a:pt x="1308" y="99"/>
                  </a:lnTo>
                  <a:lnTo>
                    <a:pt x="1315" y="106"/>
                  </a:lnTo>
                  <a:lnTo>
                    <a:pt x="1322" y="113"/>
                  </a:lnTo>
                  <a:lnTo>
                    <a:pt x="1329" y="121"/>
                  </a:lnTo>
                  <a:lnTo>
                    <a:pt x="1338" y="120"/>
                  </a:lnTo>
                  <a:lnTo>
                    <a:pt x="1349" y="117"/>
                  </a:lnTo>
                  <a:lnTo>
                    <a:pt x="1358" y="116"/>
                  </a:lnTo>
                  <a:lnTo>
                    <a:pt x="1367" y="116"/>
                  </a:lnTo>
                  <a:lnTo>
                    <a:pt x="1367" y="67"/>
                  </a:lnTo>
                  <a:close/>
                  <a:moveTo>
                    <a:pt x="1180" y="97"/>
                  </a:moveTo>
                  <a:lnTo>
                    <a:pt x="1168" y="101"/>
                  </a:lnTo>
                  <a:lnTo>
                    <a:pt x="1155" y="106"/>
                  </a:lnTo>
                  <a:lnTo>
                    <a:pt x="1144" y="112"/>
                  </a:lnTo>
                  <a:lnTo>
                    <a:pt x="1131" y="119"/>
                  </a:lnTo>
                  <a:lnTo>
                    <a:pt x="1171" y="120"/>
                  </a:lnTo>
                  <a:lnTo>
                    <a:pt x="1210" y="123"/>
                  </a:lnTo>
                  <a:lnTo>
                    <a:pt x="1251" y="128"/>
                  </a:lnTo>
                  <a:lnTo>
                    <a:pt x="1290" y="135"/>
                  </a:lnTo>
                  <a:lnTo>
                    <a:pt x="1278" y="125"/>
                  </a:lnTo>
                  <a:lnTo>
                    <a:pt x="1266" y="117"/>
                  </a:lnTo>
                  <a:lnTo>
                    <a:pt x="1253" y="112"/>
                  </a:lnTo>
                  <a:lnTo>
                    <a:pt x="1238" y="107"/>
                  </a:lnTo>
                  <a:lnTo>
                    <a:pt x="1224" y="104"/>
                  </a:lnTo>
                  <a:lnTo>
                    <a:pt x="1209" y="100"/>
                  </a:lnTo>
                  <a:lnTo>
                    <a:pt x="1194" y="98"/>
                  </a:lnTo>
                  <a:lnTo>
                    <a:pt x="1180" y="97"/>
                  </a:lnTo>
                  <a:close/>
                  <a:moveTo>
                    <a:pt x="1088" y="98"/>
                  </a:moveTo>
                  <a:lnTo>
                    <a:pt x="1061" y="104"/>
                  </a:lnTo>
                  <a:lnTo>
                    <a:pt x="1033" y="109"/>
                  </a:lnTo>
                  <a:lnTo>
                    <a:pt x="1005" y="116"/>
                  </a:lnTo>
                  <a:lnTo>
                    <a:pt x="978" y="123"/>
                  </a:lnTo>
                  <a:lnTo>
                    <a:pt x="1009" y="121"/>
                  </a:lnTo>
                  <a:lnTo>
                    <a:pt x="1035" y="119"/>
                  </a:lnTo>
                  <a:lnTo>
                    <a:pt x="1048" y="115"/>
                  </a:lnTo>
                  <a:lnTo>
                    <a:pt x="1061" y="112"/>
                  </a:lnTo>
                  <a:lnTo>
                    <a:pt x="1074" y="106"/>
                  </a:lnTo>
                  <a:lnTo>
                    <a:pt x="1088" y="98"/>
                  </a:lnTo>
                  <a:close/>
                  <a:moveTo>
                    <a:pt x="1076" y="157"/>
                  </a:moveTo>
                  <a:lnTo>
                    <a:pt x="1069" y="163"/>
                  </a:lnTo>
                  <a:lnTo>
                    <a:pt x="1062" y="172"/>
                  </a:lnTo>
                  <a:lnTo>
                    <a:pt x="1056" y="180"/>
                  </a:lnTo>
                  <a:lnTo>
                    <a:pt x="1050" y="188"/>
                  </a:lnTo>
                  <a:lnTo>
                    <a:pt x="1086" y="180"/>
                  </a:lnTo>
                  <a:lnTo>
                    <a:pt x="1122" y="172"/>
                  </a:lnTo>
                  <a:lnTo>
                    <a:pt x="1157" y="166"/>
                  </a:lnTo>
                  <a:lnTo>
                    <a:pt x="1193" y="161"/>
                  </a:lnTo>
                  <a:lnTo>
                    <a:pt x="1163" y="159"/>
                  </a:lnTo>
                  <a:lnTo>
                    <a:pt x="1134" y="157"/>
                  </a:lnTo>
                  <a:lnTo>
                    <a:pt x="1106" y="157"/>
                  </a:lnTo>
                  <a:lnTo>
                    <a:pt x="1076" y="157"/>
                  </a:lnTo>
                  <a:close/>
                  <a:moveTo>
                    <a:pt x="1024" y="159"/>
                  </a:moveTo>
                  <a:lnTo>
                    <a:pt x="979" y="161"/>
                  </a:lnTo>
                  <a:lnTo>
                    <a:pt x="935" y="166"/>
                  </a:lnTo>
                  <a:lnTo>
                    <a:pt x="913" y="169"/>
                  </a:lnTo>
                  <a:lnTo>
                    <a:pt x="894" y="174"/>
                  </a:lnTo>
                  <a:lnTo>
                    <a:pt x="873" y="180"/>
                  </a:lnTo>
                  <a:lnTo>
                    <a:pt x="853" y="187"/>
                  </a:lnTo>
                  <a:lnTo>
                    <a:pt x="835" y="195"/>
                  </a:lnTo>
                  <a:lnTo>
                    <a:pt x="818" y="204"/>
                  </a:lnTo>
                  <a:lnTo>
                    <a:pt x="801" y="215"/>
                  </a:lnTo>
                  <a:lnTo>
                    <a:pt x="785" y="229"/>
                  </a:lnTo>
                  <a:lnTo>
                    <a:pt x="778" y="236"/>
                  </a:lnTo>
                  <a:lnTo>
                    <a:pt x="770" y="244"/>
                  </a:lnTo>
                  <a:lnTo>
                    <a:pt x="763" y="252"/>
                  </a:lnTo>
                  <a:lnTo>
                    <a:pt x="758" y="261"/>
                  </a:lnTo>
                  <a:lnTo>
                    <a:pt x="751" y="272"/>
                  </a:lnTo>
                  <a:lnTo>
                    <a:pt x="745" y="282"/>
                  </a:lnTo>
                  <a:lnTo>
                    <a:pt x="739" y="293"/>
                  </a:lnTo>
                  <a:lnTo>
                    <a:pt x="735" y="304"/>
                  </a:lnTo>
                  <a:lnTo>
                    <a:pt x="767" y="289"/>
                  </a:lnTo>
                  <a:lnTo>
                    <a:pt x="800" y="274"/>
                  </a:lnTo>
                  <a:lnTo>
                    <a:pt x="834" y="260"/>
                  </a:lnTo>
                  <a:lnTo>
                    <a:pt x="867" y="246"/>
                  </a:lnTo>
                  <a:lnTo>
                    <a:pt x="900" y="234"/>
                  </a:lnTo>
                  <a:lnTo>
                    <a:pt x="935" y="222"/>
                  </a:lnTo>
                  <a:lnTo>
                    <a:pt x="970" y="211"/>
                  </a:lnTo>
                  <a:lnTo>
                    <a:pt x="1004" y="200"/>
                  </a:lnTo>
                  <a:lnTo>
                    <a:pt x="1008" y="190"/>
                  </a:lnTo>
                  <a:lnTo>
                    <a:pt x="1012" y="178"/>
                  </a:lnTo>
                  <a:lnTo>
                    <a:pt x="1017" y="168"/>
                  </a:lnTo>
                  <a:lnTo>
                    <a:pt x="1024" y="159"/>
                  </a:lnTo>
                  <a:close/>
                  <a:moveTo>
                    <a:pt x="1040" y="231"/>
                  </a:moveTo>
                  <a:lnTo>
                    <a:pt x="1040" y="240"/>
                  </a:lnTo>
                  <a:lnTo>
                    <a:pt x="1041" y="246"/>
                  </a:lnTo>
                  <a:lnTo>
                    <a:pt x="1043" y="254"/>
                  </a:lnTo>
                  <a:lnTo>
                    <a:pt x="1047" y="261"/>
                  </a:lnTo>
                  <a:lnTo>
                    <a:pt x="1054" y="275"/>
                  </a:lnTo>
                  <a:lnTo>
                    <a:pt x="1063" y="288"/>
                  </a:lnTo>
                  <a:lnTo>
                    <a:pt x="1104" y="264"/>
                  </a:lnTo>
                  <a:lnTo>
                    <a:pt x="1148" y="241"/>
                  </a:lnTo>
                  <a:lnTo>
                    <a:pt x="1169" y="230"/>
                  </a:lnTo>
                  <a:lnTo>
                    <a:pt x="1192" y="220"/>
                  </a:lnTo>
                  <a:lnTo>
                    <a:pt x="1214" y="211"/>
                  </a:lnTo>
                  <a:lnTo>
                    <a:pt x="1237" y="203"/>
                  </a:lnTo>
                  <a:lnTo>
                    <a:pt x="1237" y="197"/>
                  </a:lnTo>
                  <a:lnTo>
                    <a:pt x="1211" y="198"/>
                  </a:lnTo>
                  <a:lnTo>
                    <a:pt x="1187" y="200"/>
                  </a:lnTo>
                  <a:lnTo>
                    <a:pt x="1162" y="204"/>
                  </a:lnTo>
                  <a:lnTo>
                    <a:pt x="1137" y="207"/>
                  </a:lnTo>
                  <a:lnTo>
                    <a:pt x="1112" y="213"/>
                  </a:lnTo>
                  <a:lnTo>
                    <a:pt x="1088" y="219"/>
                  </a:lnTo>
                  <a:lnTo>
                    <a:pt x="1063" y="225"/>
                  </a:lnTo>
                  <a:lnTo>
                    <a:pt x="1040" y="231"/>
                  </a:lnTo>
                  <a:close/>
                  <a:moveTo>
                    <a:pt x="1001" y="242"/>
                  </a:moveTo>
                  <a:lnTo>
                    <a:pt x="965" y="253"/>
                  </a:lnTo>
                  <a:lnTo>
                    <a:pt x="929" y="265"/>
                  </a:lnTo>
                  <a:lnTo>
                    <a:pt x="895" y="278"/>
                  </a:lnTo>
                  <a:lnTo>
                    <a:pt x="859" y="291"/>
                  </a:lnTo>
                  <a:lnTo>
                    <a:pt x="824" y="306"/>
                  </a:lnTo>
                  <a:lnTo>
                    <a:pt x="790" y="321"/>
                  </a:lnTo>
                  <a:lnTo>
                    <a:pt x="756" y="336"/>
                  </a:lnTo>
                  <a:lnTo>
                    <a:pt x="722" y="354"/>
                  </a:lnTo>
                  <a:lnTo>
                    <a:pt x="722" y="364"/>
                  </a:lnTo>
                  <a:lnTo>
                    <a:pt x="722" y="374"/>
                  </a:lnTo>
                  <a:lnTo>
                    <a:pt x="723" y="386"/>
                  </a:lnTo>
                  <a:lnTo>
                    <a:pt x="725" y="396"/>
                  </a:lnTo>
                  <a:lnTo>
                    <a:pt x="728" y="405"/>
                  </a:lnTo>
                  <a:lnTo>
                    <a:pt x="731" y="416"/>
                  </a:lnTo>
                  <a:lnTo>
                    <a:pt x="736" y="425"/>
                  </a:lnTo>
                  <a:lnTo>
                    <a:pt x="740" y="434"/>
                  </a:lnTo>
                  <a:lnTo>
                    <a:pt x="751" y="453"/>
                  </a:lnTo>
                  <a:lnTo>
                    <a:pt x="763" y="470"/>
                  </a:lnTo>
                  <a:lnTo>
                    <a:pt x="777" y="486"/>
                  </a:lnTo>
                  <a:lnTo>
                    <a:pt x="792" y="501"/>
                  </a:lnTo>
                  <a:lnTo>
                    <a:pt x="820" y="475"/>
                  </a:lnTo>
                  <a:lnTo>
                    <a:pt x="849" y="449"/>
                  </a:lnTo>
                  <a:lnTo>
                    <a:pt x="877" y="424"/>
                  </a:lnTo>
                  <a:lnTo>
                    <a:pt x="907" y="400"/>
                  </a:lnTo>
                  <a:lnTo>
                    <a:pt x="937" y="375"/>
                  </a:lnTo>
                  <a:lnTo>
                    <a:pt x="967" y="352"/>
                  </a:lnTo>
                  <a:lnTo>
                    <a:pt x="998" y="331"/>
                  </a:lnTo>
                  <a:lnTo>
                    <a:pt x="1031" y="309"/>
                  </a:lnTo>
                  <a:lnTo>
                    <a:pt x="1020" y="294"/>
                  </a:lnTo>
                  <a:lnTo>
                    <a:pt x="1011" y="278"/>
                  </a:lnTo>
                  <a:lnTo>
                    <a:pt x="1008" y="269"/>
                  </a:lnTo>
                  <a:lnTo>
                    <a:pt x="1005" y="260"/>
                  </a:lnTo>
                  <a:lnTo>
                    <a:pt x="1003" y="251"/>
                  </a:lnTo>
                  <a:lnTo>
                    <a:pt x="1001" y="242"/>
                  </a:lnTo>
                  <a:close/>
                  <a:moveTo>
                    <a:pt x="683" y="374"/>
                  </a:moveTo>
                  <a:lnTo>
                    <a:pt x="656" y="389"/>
                  </a:lnTo>
                  <a:lnTo>
                    <a:pt x="629" y="404"/>
                  </a:lnTo>
                  <a:lnTo>
                    <a:pt x="602" y="422"/>
                  </a:lnTo>
                  <a:lnTo>
                    <a:pt x="576" y="438"/>
                  </a:lnTo>
                  <a:lnTo>
                    <a:pt x="549" y="455"/>
                  </a:lnTo>
                  <a:lnTo>
                    <a:pt x="524" y="473"/>
                  </a:lnTo>
                  <a:lnTo>
                    <a:pt x="498" y="492"/>
                  </a:lnTo>
                  <a:lnTo>
                    <a:pt x="473" y="511"/>
                  </a:lnTo>
                  <a:lnTo>
                    <a:pt x="472" y="528"/>
                  </a:lnTo>
                  <a:lnTo>
                    <a:pt x="473" y="545"/>
                  </a:lnTo>
                  <a:lnTo>
                    <a:pt x="474" y="561"/>
                  </a:lnTo>
                  <a:lnTo>
                    <a:pt x="477" y="577"/>
                  </a:lnTo>
                  <a:lnTo>
                    <a:pt x="480" y="592"/>
                  </a:lnTo>
                  <a:lnTo>
                    <a:pt x="485" y="607"/>
                  </a:lnTo>
                  <a:lnTo>
                    <a:pt x="490" y="622"/>
                  </a:lnTo>
                  <a:lnTo>
                    <a:pt x="496" y="637"/>
                  </a:lnTo>
                  <a:lnTo>
                    <a:pt x="503" y="652"/>
                  </a:lnTo>
                  <a:lnTo>
                    <a:pt x="511" y="666"/>
                  </a:lnTo>
                  <a:lnTo>
                    <a:pt x="520" y="678"/>
                  </a:lnTo>
                  <a:lnTo>
                    <a:pt x="530" y="692"/>
                  </a:lnTo>
                  <a:lnTo>
                    <a:pt x="540" y="705"/>
                  </a:lnTo>
                  <a:lnTo>
                    <a:pt x="550" y="718"/>
                  </a:lnTo>
                  <a:lnTo>
                    <a:pt x="562" y="729"/>
                  </a:lnTo>
                  <a:lnTo>
                    <a:pt x="573" y="741"/>
                  </a:lnTo>
                  <a:lnTo>
                    <a:pt x="596" y="713"/>
                  </a:lnTo>
                  <a:lnTo>
                    <a:pt x="618" y="685"/>
                  </a:lnTo>
                  <a:lnTo>
                    <a:pt x="642" y="659"/>
                  </a:lnTo>
                  <a:lnTo>
                    <a:pt x="665" y="631"/>
                  </a:lnTo>
                  <a:lnTo>
                    <a:pt x="690" y="605"/>
                  </a:lnTo>
                  <a:lnTo>
                    <a:pt x="714" y="579"/>
                  </a:lnTo>
                  <a:lnTo>
                    <a:pt x="739" y="554"/>
                  </a:lnTo>
                  <a:lnTo>
                    <a:pt x="765" y="529"/>
                  </a:lnTo>
                  <a:lnTo>
                    <a:pt x="748" y="513"/>
                  </a:lnTo>
                  <a:lnTo>
                    <a:pt x="733" y="495"/>
                  </a:lnTo>
                  <a:lnTo>
                    <a:pt x="721" y="478"/>
                  </a:lnTo>
                  <a:lnTo>
                    <a:pt x="709" y="458"/>
                  </a:lnTo>
                  <a:lnTo>
                    <a:pt x="699" y="439"/>
                  </a:lnTo>
                  <a:lnTo>
                    <a:pt x="691" y="418"/>
                  </a:lnTo>
                  <a:lnTo>
                    <a:pt x="688" y="407"/>
                  </a:lnTo>
                  <a:lnTo>
                    <a:pt x="686" y="396"/>
                  </a:lnTo>
                  <a:lnTo>
                    <a:pt x="684" y="385"/>
                  </a:lnTo>
                  <a:lnTo>
                    <a:pt x="683" y="374"/>
                  </a:lnTo>
                  <a:close/>
                  <a:moveTo>
                    <a:pt x="427" y="549"/>
                  </a:moveTo>
                  <a:lnTo>
                    <a:pt x="389" y="583"/>
                  </a:lnTo>
                  <a:lnTo>
                    <a:pt x="353" y="619"/>
                  </a:lnTo>
                  <a:lnTo>
                    <a:pt x="318" y="655"/>
                  </a:lnTo>
                  <a:lnTo>
                    <a:pt x="285" y="695"/>
                  </a:lnTo>
                  <a:lnTo>
                    <a:pt x="269" y="714"/>
                  </a:lnTo>
                  <a:lnTo>
                    <a:pt x="253" y="735"/>
                  </a:lnTo>
                  <a:lnTo>
                    <a:pt x="238" y="756"/>
                  </a:lnTo>
                  <a:lnTo>
                    <a:pt x="224" y="776"/>
                  </a:lnTo>
                  <a:lnTo>
                    <a:pt x="210" y="797"/>
                  </a:lnTo>
                  <a:lnTo>
                    <a:pt x="197" y="819"/>
                  </a:lnTo>
                  <a:lnTo>
                    <a:pt x="184" y="841"/>
                  </a:lnTo>
                  <a:lnTo>
                    <a:pt x="171" y="864"/>
                  </a:lnTo>
                  <a:lnTo>
                    <a:pt x="172" y="886"/>
                  </a:lnTo>
                  <a:lnTo>
                    <a:pt x="174" y="908"/>
                  </a:lnTo>
                  <a:lnTo>
                    <a:pt x="177" y="928"/>
                  </a:lnTo>
                  <a:lnTo>
                    <a:pt x="180" y="950"/>
                  </a:lnTo>
                  <a:lnTo>
                    <a:pt x="185" y="971"/>
                  </a:lnTo>
                  <a:lnTo>
                    <a:pt x="192" y="992"/>
                  </a:lnTo>
                  <a:lnTo>
                    <a:pt x="199" y="1011"/>
                  </a:lnTo>
                  <a:lnTo>
                    <a:pt x="207" y="1031"/>
                  </a:lnTo>
                  <a:lnTo>
                    <a:pt x="216" y="1051"/>
                  </a:lnTo>
                  <a:lnTo>
                    <a:pt x="227" y="1070"/>
                  </a:lnTo>
                  <a:lnTo>
                    <a:pt x="237" y="1089"/>
                  </a:lnTo>
                  <a:lnTo>
                    <a:pt x="250" y="1106"/>
                  </a:lnTo>
                  <a:lnTo>
                    <a:pt x="262" y="1123"/>
                  </a:lnTo>
                  <a:lnTo>
                    <a:pt x="275" y="1140"/>
                  </a:lnTo>
                  <a:lnTo>
                    <a:pt x="290" y="1157"/>
                  </a:lnTo>
                  <a:lnTo>
                    <a:pt x="305" y="1173"/>
                  </a:lnTo>
                  <a:lnTo>
                    <a:pt x="329" y="1121"/>
                  </a:lnTo>
                  <a:lnTo>
                    <a:pt x="357" y="1069"/>
                  </a:lnTo>
                  <a:lnTo>
                    <a:pt x="384" y="1018"/>
                  </a:lnTo>
                  <a:lnTo>
                    <a:pt x="414" y="969"/>
                  </a:lnTo>
                  <a:lnTo>
                    <a:pt x="445" y="919"/>
                  </a:lnTo>
                  <a:lnTo>
                    <a:pt x="478" y="871"/>
                  </a:lnTo>
                  <a:lnTo>
                    <a:pt x="511" y="824"/>
                  </a:lnTo>
                  <a:lnTo>
                    <a:pt x="546" y="776"/>
                  </a:lnTo>
                  <a:lnTo>
                    <a:pt x="534" y="766"/>
                  </a:lnTo>
                  <a:lnTo>
                    <a:pt x="523" y="753"/>
                  </a:lnTo>
                  <a:lnTo>
                    <a:pt x="511" y="742"/>
                  </a:lnTo>
                  <a:lnTo>
                    <a:pt x="501" y="729"/>
                  </a:lnTo>
                  <a:lnTo>
                    <a:pt x="490" y="715"/>
                  </a:lnTo>
                  <a:lnTo>
                    <a:pt x="481" y="703"/>
                  </a:lnTo>
                  <a:lnTo>
                    <a:pt x="472" y="689"/>
                  </a:lnTo>
                  <a:lnTo>
                    <a:pt x="464" y="674"/>
                  </a:lnTo>
                  <a:lnTo>
                    <a:pt x="456" y="660"/>
                  </a:lnTo>
                  <a:lnTo>
                    <a:pt x="450" y="645"/>
                  </a:lnTo>
                  <a:lnTo>
                    <a:pt x="443" y="630"/>
                  </a:lnTo>
                  <a:lnTo>
                    <a:pt x="439" y="614"/>
                  </a:lnTo>
                  <a:lnTo>
                    <a:pt x="434" y="598"/>
                  </a:lnTo>
                  <a:lnTo>
                    <a:pt x="430" y="582"/>
                  </a:lnTo>
                  <a:lnTo>
                    <a:pt x="428" y="566"/>
                  </a:lnTo>
                  <a:lnTo>
                    <a:pt x="427" y="549"/>
                  </a:lnTo>
                  <a:close/>
                  <a:moveTo>
                    <a:pt x="1093" y="316"/>
                  </a:moveTo>
                  <a:lnTo>
                    <a:pt x="1112" y="329"/>
                  </a:lnTo>
                  <a:lnTo>
                    <a:pt x="1134" y="341"/>
                  </a:lnTo>
                  <a:lnTo>
                    <a:pt x="1156" y="351"/>
                  </a:lnTo>
                  <a:lnTo>
                    <a:pt x="1179" y="360"/>
                  </a:lnTo>
                  <a:lnTo>
                    <a:pt x="1199" y="334"/>
                  </a:lnTo>
                  <a:lnTo>
                    <a:pt x="1218" y="309"/>
                  </a:lnTo>
                  <a:lnTo>
                    <a:pt x="1240" y="283"/>
                  </a:lnTo>
                  <a:lnTo>
                    <a:pt x="1262" y="258"/>
                  </a:lnTo>
                  <a:lnTo>
                    <a:pt x="1253" y="250"/>
                  </a:lnTo>
                  <a:lnTo>
                    <a:pt x="1246" y="241"/>
                  </a:lnTo>
                  <a:lnTo>
                    <a:pt x="1226" y="248"/>
                  </a:lnTo>
                  <a:lnTo>
                    <a:pt x="1207" y="256"/>
                  </a:lnTo>
                  <a:lnTo>
                    <a:pt x="1187" y="265"/>
                  </a:lnTo>
                  <a:lnTo>
                    <a:pt x="1168" y="274"/>
                  </a:lnTo>
                  <a:lnTo>
                    <a:pt x="1130" y="294"/>
                  </a:lnTo>
                  <a:lnTo>
                    <a:pt x="1093" y="316"/>
                  </a:lnTo>
                  <a:close/>
                  <a:moveTo>
                    <a:pt x="1058" y="337"/>
                  </a:moveTo>
                  <a:lnTo>
                    <a:pt x="1027" y="358"/>
                  </a:lnTo>
                  <a:lnTo>
                    <a:pt x="996" y="380"/>
                  </a:lnTo>
                  <a:lnTo>
                    <a:pt x="965" y="403"/>
                  </a:lnTo>
                  <a:lnTo>
                    <a:pt x="936" y="426"/>
                  </a:lnTo>
                  <a:lnTo>
                    <a:pt x="906" y="450"/>
                  </a:lnTo>
                  <a:lnTo>
                    <a:pt x="877" y="476"/>
                  </a:lnTo>
                  <a:lnTo>
                    <a:pt x="850" y="501"/>
                  </a:lnTo>
                  <a:lnTo>
                    <a:pt x="822" y="526"/>
                  </a:lnTo>
                  <a:lnTo>
                    <a:pt x="844" y="543"/>
                  </a:lnTo>
                  <a:lnTo>
                    <a:pt x="868" y="557"/>
                  </a:lnTo>
                  <a:lnTo>
                    <a:pt x="892" y="570"/>
                  </a:lnTo>
                  <a:lnTo>
                    <a:pt x="918" y="583"/>
                  </a:lnTo>
                  <a:lnTo>
                    <a:pt x="943" y="594"/>
                  </a:lnTo>
                  <a:lnTo>
                    <a:pt x="968" y="605"/>
                  </a:lnTo>
                  <a:lnTo>
                    <a:pt x="995" y="614"/>
                  </a:lnTo>
                  <a:lnTo>
                    <a:pt x="1021" y="623"/>
                  </a:lnTo>
                  <a:lnTo>
                    <a:pt x="1036" y="593"/>
                  </a:lnTo>
                  <a:lnTo>
                    <a:pt x="1053" y="564"/>
                  </a:lnTo>
                  <a:lnTo>
                    <a:pt x="1069" y="534"/>
                  </a:lnTo>
                  <a:lnTo>
                    <a:pt x="1085" y="506"/>
                  </a:lnTo>
                  <a:lnTo>
                    <a:pt x="1102" y="477"/>
                  </a:lnTo>
                  <a:lnTo>
                    <a:pt x="1119" y="449"/>
                  </a:lnTo>
                  <a:lnTo>
                    <a:pt x="1138" y="422"/>
                  </a:lnTo>
                  <a:lnTo>
                    <a:pt x="1156" y="393"/>
                  </a:lnTo>
                  <a:lnTo>
                    <a:pt x="1130" y="382"/>
                  </a:lnTo>
                  <a:lnTo>
                    <a:pt x="1104" y="370"/>
                  </a:lnTo>
                  <a:lnTo>
                    <a:pt x="1093" y="363"/>
                  </a:lnTo>
                  <a:lnTo>
                    <a:pt x="1080" y="355"/>
                  </a:lnTo>
                  <a:lnTo>
                    <a:pt x="1069" y="347"/>
                  </a:lnTo>
                  <a:lnTo>
                    <a:pt x="1058" y="337"/>
                  </a:lnTo>
                  <a:close/>
                  <a:moveTo>
                    <a:pt x="793" y="554"/>
                  </a:moveTo>
                  <a:lnTo>
                    <a:pt x="768" y="579"/>
                  </a:lnTo>
                  <a:lnTo>
                    <a:pt x="744" y="605"/>
                  </a:lnTo>
                  <a:lnTo>
                    <a:pt x="720" y="631"/>
                  </a:lnTo>
                  <a:lnTo>
                    <a:pt x="695" y="658"/>
                  </a:lnTo>
                  <a:lnTo>
                    <a:pt x="671" y="684"/>
                  </a:lnTo>
                  <a:lnTo>
                    <a:pt x="648" y="711"/>
                  </a:lnTo>
                  <a:lnTo>
                    <a:pt x="625" y="738"/>
                  </a:lnTo>
                  <a:lnTo>
                    <a:pt x="603" y="766"/>
                  </a:lnTo>
                  <a:lnTo>
                    <a:pt x="618" y="779"/>
                  </a:lnTo>
                  <a:lnTo>
                    <a:pt x="635" y="791"/>
                  </a:lnTo>
                  <a:lnTo>
                    <a:pt x="652" y="803"/>
                  </a:lnTo>
                  <a:lnTo>
                    <a:pt x="669" y="813"/>
                  </a:lnTo>
                  <a:lnTo>
                    <a:pt x="703" y="834"/>
                  </a:lnTo>
                  <a:lnTo>
                    <a:pt x="740" y="854"/>
                  </a:lnTo>
                  <a:lnTo>
                    <a:pt x="777" y="871"/>
                  </a:lnTo>
                  <a:lnTo>
                    <a:pt x="814" y="886"/>
                  </a:lnTo>
                  <a:lnTo>
                    <a:pt x="852" y="900"/>
                  </a:lnTo>
                  <a:lnTo>
                    <a:pt x="891" y="912"/>
                  </a:lnTo>
                  <a:lnTo>
                    <a:pt x="904" y="880"/>
                  </a:lnTo>
                  <a:lnTo>
                    <a:pt x="917" y="848"/>
                  </a:lnTo>
                  <a:lnTo>
                    <a:pt x="930" y="817"/>
                  </a:lnTo>
                  <a:lnTo>
                    <a:pt x="944" y="784"/>
                  </a:lnTo>
                  <a:lnTo>
                    <a:pt x="959" y="752"/>
                  </a:lnTo>
                  <a:lnTo>
                    <a:pt x="973" y="721"/>
                  </a:lnTo>
                  <a:lnTo>
                    <a:pt x="988" y="689"/>
                  </a:lnTo>
                  <a:lnTo>
                    <a:pt x="1003" y="658"/>
                  </a:lnTo>
                  <a:lnTo>
                    <a:pt x="975" y="649"/>
                  </a:lnTo>
                  <a:lnTo>
                    <a:pt x="948" y="638"/>
                  </a:lnTo>
                  <a:lnTo>
                    <a:pt x="921" y="628"/>
                  </a:lnTo>
                  <a:lnTo>
                    <a:pt x="894" y="615"/>
                  </a:lnTo>
                  <a:lnTo>
                    <a:pt x="868" y="601"/>
                  </a:lnTo>
                  <a:lnTo>
                    <a:pt x="842" y="586"/>
                  </a:lnTo>
                  <a:lnTo>
                    <a:pt x="818" y="571"/>
                  </a:lnTo>
                  <a:lnTo>
                    <a:pt x="793" y="554"/>
                  </a:lnTo>
                  <a:close/>
                  <a:moveTo>
                    <a:pt x="576" y="803"/>
                  </a:moveTo>
                  <a:lnTo>
                    <a:pt x="540" y="849"/>
                  </a:lnTo>
                  <a:lnTo>
                    <a:pt x="506" y="897"/>
                  </a:lnTo>
                  <a:lnTo>
                    <a:pt x="474" y="946"/>
                  </a:lnTo>
                  <a:lnTo>
                    <a:pt x="443" y="995"/>
                  </a:lnTo>
                  <a:lnTo>
                    <a:pt x="414" y="1046"/>
                  </a:lnTo>
                  <a:lnTo>
                    <a:pt x="386" y="1097"/>
                  </a:lnTo>
                  <a:lnTo>
                    <a:pt x="359" y="1149"/>
                  </a:lnTo>
                  <a:lnTo>
                    <a:pt x="334" y="1202"/>
                  </a:lnTo>
                  <a:lnTo>
                    <a:pt x="356" y="1220"/>
                  </a:lnTo>
                  <a:lnTo>
                    <a:pt x="377" y="1237"/>
                  </a:lnTo>
                  <a:lnTo>
                    <a:pt x="400" y="1255"/>
                  </a:lnTo>
                  <a:lnTo>
                    <a:pt x="424" y="1271"/>
                  </a:lnTo>
                  <a:lnTo>
                    <a:pt x="448" y="1286"/>
                  </a:lnTo>
                  <a:lnTo>
                    <a:pt x="473" y="1301"/>
                  </a:lnTo>
                  <a:lnTo>
                    <a:pt x="497" y="1314"/>
                  </a:lnTo>
                  <a:lnTo>
                    <a:pt x="523" y="1327"/>
                  </a:lnTo>
                  <a:lnTo>
                    <a:pt x="549" y="1340"/>
                  </a:lnTo>
                  <a:lnTo>
                    <a:pt x="574" y="1351"/>
                  </a:lnTo>
                  <a:lnTo>
                    <a:pt x="601" y="1363"/>
                  </a:lnTo>
                  <a:lnTo>
                    <a:pt x="627" y="1373"/>
                  </a:lnTo>
                  <a:lnTo>
                    <a:pt x="680" y="1393"/>
                  </a:lnTo>
                  <a:lnTo>
                    <a:pt x="735" y="1410"/>
                  </a:lnTo>
                  <a:lnTo>
                    <a:pt x="748" y="1352"/>
                  </a:lnTo>
                  <a:lnTo>
                    <a:pt x="765" y="1295"/>
                  </a:lnTo>
                  <a:lnTo>
                    <a:pt x="781" y="1237"/>
                  </a:lnTo>
                  <a:lnTo>
                    <a:pt x="797" y="1181"/>
                  </a:lnTo>
                  <a:lnTo>
                    <a:pt x="815" y="1124"/>
                  </a:lnTo>
                  <a:lnTo>
                    <a:pt x="834" y="1068"/>
                  </a:lnTo>
                  <a:lnTo>
                    <a:pt x="853" y="1011"/>
                  </a:lnTo>
                  <a:lnTo>
                    <a:pt x="874" y="956"/>
                  </a:lnTo>
                  <a:lnTo>
                    <a:pt x="835" y="942"/>
                  </a:lnTo>
                  <a:lnTo>
                    <a:pt x="794" y="927"/>
                  </a:lnTo>
                  <a:lnTo>
                    <a:pt x="755" y="911"/>
                  </a:lnTo>
                  <a:lnTo>
                    <a:pt x="717" y="893"/>
                  </a:lnTo>
                  <a:lnTo>
                    <a:pt x="680" y="873"/>
                  </a:lnTo>
                  <a:lnTo>
                    <a:pt x="644" y="851"/>
                  </a:lnTo>
                  <a:lnTo>
                    <a:pt x="626" y="840"/>
                  </a:lnTo>
                  <a:lnTo>
                    <a:pt x="609" y="828"/>
                  </a:lnTo>
                  <a:lnTo>
                    <a:pt x="592" y="816"/>
                  </a:lnTo>
                  <a:lnTo>
                    <a:pt x="576" y="803"/>
                  </a:lnTo>
                  <a:close/>
                  <a:moveTo>
                    <a:pt x="318" y="1238"/>
                  </a:moveTo>
                  <a:lnTo>
                    <a:pt x="296" y="1293"/>
                  </a:lnTo>
                  <a:lnTo>
                    <a:pt x="276" y="1347"/>
                  </a:lnTo>
                  <a:lnTo>
                    <a:pt x="258" y="1401"/>
                  </a:lnTo>
                  <a:lnTo>
                    <a:pt x="242" y="1457"/>
                  </a:lnTo>
                  <a:lnTo>
                    <a:pt x="235" y="1485"/>
                  </a:lnTo>
                  <a:lnTo>
                    <a:pt x="229" y="1513"/>
                  </a:lnTo>
                  <a:lnTo>
                    <a:pt x="223" y="1541"/>
                  </a:lnTo>
                  <a:lnTo>
                    <a:pt x="217" y="1570"/>
                  </a:lnTo>
                  <a:lnTo>
                    <a:pt x="213" y="1598"/>
                  </a:lnTo>
                  <a:lnTo>
                    <a:pt x="209" y="1627"/>
                  </a:lnTo>
                  <a:lnTo>
                    <a:pt x="207" y="1655"/>
                  </a:lnTo>
                  <a:lnTo>
                    <a:pt x="205" y="1684"/>
                  </a:lnTo>
                  <a:lnTo>
                    <a:pt x="229" y="1706"/>
                  </a:lnTo>
                  <a:lnTo>
                    <a:pt x="254" y="1726"/>
                  </a:lnTo>
                  <a:lnTo>
                    <a:pt x="280" y="1745"/>
                  </a:lnTo>
                  <a:lnTo>
                    <a:pt x="306" y="1763"/>
                  </a:lnTo>
                  <a:lnTo>
                    <a:pt x="334" y="1780"/>
                  </a:lnTo>
                  <a:lnTo>
                    <a:pt x="361" y="1796"/>
                  </a:lnTo>
                  <a:lnTo>
                    <a:pt x="390" y="1812"/>
                  </a:lnTo>
                  <a:lnTo>
                    <a:pt x="419" y="1826"/>
                  </a:lnTo>
                  <a:lnTo>
                    <a:pt x="449" y="1840"/>
                  </a:lnTo>
                  <a:lnTo>
                    <a:pt x="479" y="1852"/>
                  </a:lnTo>
                  <a:lnTo>
                    <a:pt x="509" y="1865"/>
                  </a:lnTo>
                  <a:lnTo>
                    <a:pt x="539" y="1877"/>
                  </a:lnTo>
                  <a:lnTo>
                    <a:pt x="600" y="1897"/>
                  </a:lnTo>
                  <a:lnTo>
                    <a:pt x="661" y="1916"/>
                  </a:lnTo>
                  <a:lnTo>
                    <a:pt x="664" y="1857"/>
                  </a:lnTo>
                  <a:lnTo>
                    <a:pt x="669" y="1798"/>
                  </a:lnTo>
                  <a:lnTo>
                    <a:pt x="675" y="1740"/>
                  </a:lnTo>
                  <a:lnTo>
                    <a:pt x="683" y="1681"/>
                  </a:lnTo>
                  <a:lnTo>
                    <a:pt x="692" y="1622"/>
                  </a:lnTo>
                  <a:lnTo>
                    <a:pt x="702" y="1563"/>
                  </a:lnTo>
                  <a:lnTo>
                    <a:pt x="714" y="1506"/>
                  </a:lnTo>
                  <a:lnTo>
                    <a:pt x="727" y="1448"/>
                  </a:lnTo>
                  <a:lnTo>
                    <a:pt x="671" y="1431"/>
                  </a:lnTo>
                  <a:lnTo>
                    <a:pt x="617" y="1411"/>
                  </a:lnTo>
                  <a:lnTo>
                    <a:pt x="591" y="1400"/>
                  </a:lnTo>
                  <a:lnTo>
                    <a:pt x="563" y="1389"/>
                  </a:lnTo>
                  <a:lnTo>
                    <a:pt x="536" y="1377"/>
                  </a:lnTo>
                  <a:lnTo>
                    <a:pt x="511" y="1364"/>
                  </a:lnTo>
                  <a:lnTo>
                    <a:pt x="485" y="1351"/>
                  </a:lnTo>
                  <a:lnTo>
                    <a:pt x="459" y="1337"/>
                  </a:lnTo>
                  <a:lnTo>
                    <a:pt x="434" y="1322"/>
                  </a:lnTo>
                  <a:lnTo>
                    <a:pt x="410" y="1308"/>
                  </a:lnTo>
                  <a:lnTo>
                    <a:pt x="386" y="1291"/>
                  </a:lnTo>
                  <a:lnTo>
                    <a:pt x="362" y="1275"/>
                  </a:lnTo>
                  <a:lnTo>
                    <a:pt x="339" y="1257"/>
                  </a:lnTo>
                  <a:lnTo>
                    <a:pt x="318" y="1238"/>
                  </a:lnTo>
                  <a:close/>
                  <a:moveTo>
                    <a:pt x="202" y="1736"/>
                  </a:moveTo>
                  <a:lnTo>
                    <a:pt x="203" y="1761"/>
                  </a:lnTo>
                  <a:lnTo>
                    <a:pt x="203" y="1787"/>
                  </a:lnTo>
                  <a:lnTo>
                    <a:pt x="206" y="1812"/>
                  </a:lnTo>
                  <a:lnTo>
                    <a:pt x="208" y="1837"/>
                  </a:lnTo>
                  <a:lnTo>
                    <a:pt x="212" y="1863"/>
                  </a:lnTo>
                  <a:lnTo>
                    <a:pt x="215" y="1887"/>
                  </a:lnTo>
                  <a:lnTo>
                    <a:pt x="220" y="1912"/>
                  </a:lnTo>
                  <a:lnTo>
                    <a:pt x="225" y="1937"/>
                  </a:lnTo>
                  <a:lnTo>
                    <a:pt x="231" y="1962"/>
                  </a:lnTo>
                  <a:lnTo>
                    <a:pt x="238" y="1986"/>
                  </a:lnTo>
                  <a:lnTo>
                    <a:pt x="246" y="2010"/>
                  </a:lnTo>
                  <a:lnTo>
                    <a:pt x="254" y="2033"/>
                  </a:lnTo>
                  <a:lnTo>
                    <a:pt x="265" y="2058"/>
                  </a:lnTo>
                  <a:lnTo>
                    <a:pt x="275" y="2081"/>
                  </a:lnTo>
                  <a:lnTo>
                    <a:pt x="285" y="2104"/>
                  </a:lnTo>
                  <a:lnTo>
                    <a:pt x="297" y="2126"/>
                  </a:lnTo>
                  <a:lnTo>
                    <a:pt x="320" y="2145"/>
                  </a:lnTo>
                  <a:lnTo>
                    <a:pt x="342" y="2162"/>
                  </a:lnTo>
                  <a:lnTo>
                    <a:pt x="365" y="2181"/>
                  </a:lnTo>
                  <a:lnTo>
                    <a:pt x="389" y="2197"/>
                  </a:lnTo>
                  <a:lnTo>
                    <a:pt x="413" y="2213"/>
                  </a:lnTo>
                  <a:lnTo>
                    <a:pt x="439" y="2228"/>
                  </a:lnTo>
                  <a:lnTo>
                    <a:pt x="464" y="2243"/>
                  </a:lnTo>
                  <a:lnTo>
                    <a:pt x="489" y="2257"/>
                  </a:lnTo>
                  <a:lnTo>
                    <a:pt x="516" y="2270"/>
                  </a:lnTo>
                  <a:lnTo>
                    <a:pt x="542" y="2282"/>
                  </a:lnTo>
                  <a:lnTo>
                    <a:pt x="569" y="2294"/>
                  </a:lnTo>
                  <a:lnTo>
                    <a:pt x="595" y="2305"/>
                  </a:lnTo>
                  <a:lnTo>
                    <a:pt x="649" y="2326"/>
                  </a:lnTo>
                  <a:lnTo>
                    <a:pt x="705" y="2346"/>
                  </a:lnTo>
                  <a:lnTo>
                    <a:pt x="698" y="2321"/>
                  </a:lnTo>
                  <a:lnTo>
                    <a:pt x="692" y="2298"/>
                  </a:lnTo>
                  <a:lnTo>
                    <a:pt x="686" y="2274"/>
                  </a:lnTo>
                  <a:lnTo>
                    <a:pt x="682" y="2250"/>
                  </a:lnTo>
                  <a:lnTo>
                    <a:pt x="674" y="2202"/>
                  </a:lnTo>
                  <a:lnTo>
                    <a:pt x="667" y="2152"/>
                  </a:lnTo>
                  <a:lnTo>
                    <a:pt x="663" y="2104"/>
                  </a:lnTo>
                  <a:lnTo>
                    <a:pt x="661" y="2054"/>
                  </a:lnTo>
                  <a:lnTo>
                    <a:pt x="660" y="2006"/>
                  </a:lnTo>
                  <a:lnTo>
                    <a:pt x="660" y="1956"/>
                  </a:lnTo>
                  <a:lnTo>
                    <a:pt x="599" y="1938"/>
                  </a:lnTo>
                  <a:lnTo>
                    <a:pt x="539" y="1918"/>
                  </a:lnTo>
                  <a:lnTo>
                    <a:pt x="509" y="1907"/>
                  </a:lnTo>
                  <a:lnTo>
                    <a:pt x="479" y="1895"/>
                  </a:lnTo>
                  <a:lnTo>
                    <a:pt x="449" y="1882"/>
                  </a:lnTo>
                  <a:lnTo>
                    <a:pt x="419" y="1870"/>
                  </a:lnTo>
                  <a:lnTo>
                    <a:pt x="390" y="1856"/>
                  </a:lnTo>
                  <a:lnTo>
                    <a:pt x="362" y="1841"/>
                  </a:lnTo>
                  <a:lnTo>
                    <a:pt x="334" y="1826"/>
                  </a:lnTo>
                  <a:lnTo>
                    <a:pt x="306" y="1810"/>
                  </a:lnTo>
                  <a:lnTo>
                    <a:pt x="280" y="1793"/>
                  </a:lnTo>
                  <a:lnTo>
                    <a:pt x="253" y="1774"/>
                  </a:lnTo>
                  <a:lnTo>
                    <a:pt x="228" y="1756"/>
                  </a:lnTo>
                  <a:lnTo>
                    <a:pt x="202" y="1736"/>
                  </a:lnTo>
                  <a:close/>
                  <a:moveTo>
                    <a:pt x="377" y="2236"/>
                  </a:moveTo>
                  <a:lnTo>
                    <a:pt x="399" y="2259"/>
                  </a:lnTo>
                  <a:lnTo>
                    <a:pt x="422" y="2281"/>
                  </a:lnTo>
                  <a:lnTo>
                    <a:pt x="445" y="2303"/>
                  </a:lnTo>
                  <a:lnTo>
                    <a:pt x="470" y="2324"/>
                  </a:lnTo>
                  <a:lnTo>
                    <a:pt x="494" y="2344"/>
                  </a:lnTo>
                  <a:lnTo>
                    <a:pt x="518" y="2365"/>
                  </a:lnTo>
                  <a:lnTo>
                    <a:pt x="543" y="2384"/>
                  </a:lnTo>
                  <a:lnTo>
                    <a:pt x="570" y="2403"/>
                  </a:lnTo>
                  <a:lnTo>
                    <a:pt x="595" y="2420"/>
                  </a:lnTo>
                  <a:lnTo>
                    <a:pt x="622" y="2439"/>
                  </a:lnTo>
                  <a:lnTo>
                    <a:pt x="648" y="2455"/>
                  </a:lnTo>
                  <a:lnTo>
                    <a:pt x="676" y="2471"/>
                  </a:lnTo>
                  <a:lnTo>
                    <a:pt x="703" y="2487"/>
                  </a:lnTo>
                  <a:lnTo>
                    <a:pt x="732" y="2502"/>
                  </a:lnTo>
                  <a:lnTo>
                    <a:pt x="760" y="2516"/>
                  </a:lnTo>
                  <a:lnTo>
                    <a:pt x="789" y="2530"/>
                  </a:lnTo>
                  <a:lnTo>
                    <a:pt x="778" y="2514"/>
                  </a:lnTo>
                  <a:lnTo>
                    <a:pt x="768" y="2498"/>
                  </a:lnTo>
                  <a:lnTo>
                    <a:pt x="759" y="2480"/>
                  </a:lnTo>
                  <a:lnTo>
                    <a:pt x="750" y="2463"/>
                  </a:lnTo>
                  <a:lnTo>
                    <a:pt x="733" y="2427"/>
                  </a:lnTo>
                  <a:lnTo>
                    <a:pt x="720" y="2390"/>
                  </a:lnTo>
                  <a:lnTo>
                    <a:pt x="675" y="2377"/>
                  </a:lnTo>
                  <a:lnTo>
                    <a:pt x="631" y="2361"/>
                  </a:lnTo>
                  <a:lnTo>
                    <a:pt x="586" y="2344"/>
                  </a:lnTo>
                  <a:lnTo>
                    <a:pt x="543" y="2326"/>
                  </a:lnTo>
                  <a:lnTo>
                    <a:pt x="501" y="2305"/>
                  </a:lnTo>
                  <a:lnTo>
                    <a:pt x="458" y="2284"/>
                  </a:lnTo>
                  <a:lnTo>
                    <a:pt x="418" y="2261"/>
                  </a:lnTo>
                  <a:lnTo>
                    <a:pt x="377" y="2236"/>
                  </a:lnTo>
                  <a:close/>
                  <a:moveTo>
                    <a:pt x="1218" y="373"/>
                  </a:moveTo>
                  <a:lnTo>
                    <a:pt x="1238" y="378"/>
                  </a:lnTo>
                  <a:lnTo>
                    <a:pt x="1256" y="381"/>
                  </a:lnTo>
                  <a:lnTo>
                    <a:pt x="1276" y="385"/>
                  </a:lnTo>
                  <a:lnTo>
                    <a:pt x="1296" y="388"/>
                  </a:lnTo>
                  <a:lnTo>
                    <a:pt x="1316" y="389"/>
                  </a:lnTo>
                  <a:lnTo>
                    <a:pt x="1336" y="392"/>
                  </a:lnTo>
                  <a:lnTo>
                    <a:pt x="1355" y="393"/>
                  </a:lnTo>
                  <a:lnTo>
                    <a:pt x="1375" y="393"/>
                  </a:lnTo>
                  <a:lnTo>
                    <a:pt x="1375" y="296"/>
                  </a:lnTo>
                  <a:lnTo>
                    <a:pt x="1354" y="295"/>
                  </a:lnTo>
                  <a:lnTo>
                    <a:pt x="1335" y="291"/>
                  </a:lnTo>
                  <a:lnTo>
                    <a:pt x="1314" y="287"/>
                  </a:lnTo>
                  <a:lnTo>
                    <a:pt x="1296" y="280"/>
                  </a:lnTo>
                  <a:lnTo>
                    <a:pt x="1275" y="302"/>
                  </a:lnTo>
                  <a:lnTo>
                    <a:pt x="1255" y="325"/>
                  </a:lnTo>
                  <a:lnTo>
                    <a:pt x="1237" y="349"/>
                  </a:lnTo>
                  <a:lnTo>
                    <a:pt x="1218" y="373"/>
                  </a:lnTo>
                  <a:close/>
                  <a:moveTo>
                    <a:pt x="1194" y="407"/>
                  </a:moveTo>
                  <a:lnTo>
                    <a:pt x="1176" y="433"/>
                  </a:lnTo>
                  <a:lnTo>
                    <a:pt x="1157" y="462"/>
                  </a:lnTo>
                  <a:lnTo>
                    <a:pt x="1140" y="490"/>
                  </a:lnTo>
                  <a:lnTo>
                    <a:pt x="1123" y="518"/>
                  </a:lnTo>
                  <a:lnTo>
                    <a:pt x="1107" y="546"/>
                  </a:lnTo>
                  <a:lnTo>
                    <a:pt x="1091" y="575"/>
                  </a:lnTo>
                  <a:lnTo>
                    <a:pt x="1074" y="605"/>
                  </a:lnTo>
                  <a:lnTo>
                    <a:pt x="1059" y="634"/>
                  </a:lnTo>
                  <a:lnTo>
                    <a:pt x="1099" y="643"/>
                  </a:lnTo>
                  <a:lnTo>
                    <a:pt x="1138" y="652"/>
                  </a:lnTo>
                  <a:lnTo>
                    <a:pt x="1177" y="658"/>
                  </a:lnTo>
                  <a:lnTo>
                    <a:pt x="1216" y="663"/>
                  </a:lnTo>
                  <a:lnTo>
                    <a:pt x="1255" y="668"/>
                  </a:lnTo>
                  <a:lnTo>
                    <a:pt x="1296" y="670"/>
                  </a:lnTo>
                  <a:lnTo>
                    <a:pt x="1336" y="673"/>
                  </a:lnTo>
                  <a:lnTo>
                    <a:pt x="1375" y="674"/>
                  </a:lnTo>
                  <a:lnTo>
                    <a:pt x="1375" y="432"/>
                  </a:lnTo>
                  <a:lnTo>
                    <a:pt x="1352" y="431"/>
                  </a:lnTo>
                  <a:lnTo>
                    <a:pt x="1329" y="430"/>
                  </a:lnTo>
                  <a:lnTo>
                    <a:pt x="1307" y="428"/>
                  </a:lnTo>
                  <a:lnTo>
                    <a:pt x="1284" y="425"/>
                  </a:lnTo>
                  <a:lnTo>
                    <a:pt x="1261" y="422"/>
                  </a:lnTo>
                  <a:lnTo>
                    <a:pt x="1239" y="417"/>
                  </a:lnTo>
                  <a:lnTo>
                    <a:pt x="1216" y="412"/>
                  </a:lnTo>
                  <a:lnTo>
                    <a:pt x="1194" y="407"/>
                  </a:lnTo>
                  <a:close/>
                  <a:moveTo>
                    <a:pt x="1041" y="669"/>
                  </a:moveTo>
                  <a:lnTo>
                    <a:pt x="1026" y="700"/>
                  </a:lnTo>
                  <a:lnTo>
                    <a:pt x="1011" y="731"/>
                  </a:lnTo>
                  <a:lnTo>
                    <a:pt x="996" y="764"/>
                  </a:lnTo>
                  <a:lnTo>
                    <a:pt x="982" y="796"/>
                  </a:lnTo>
                  <a:lnTo>
                    <a:pt x="968" y="827"/>
                  </a:lnTo>
                  <a:lnTo>
                    <a:pt x="955" y="859"/>
                  </a:lnTo>
                  <a:lnTo>
                    <a:pt x="941" y="892"/>
                  </a:lnTo>
                  <a:lnTo>
                    <a:pt x="928" y="924"/>
                  </a:lnTo>
                  <a:lnTo>
                    <a:pt x="983" y="939"/>
                  </a:lnTo>
                  <a:lnTo>
                    <a:pt x="1039" y="950"/>
                  </a:lnTo>
                  <a:lnTo>
                    <a:pt x="1094" y="961"/>
                  </a:lnTo>
                  <a:lnTo>
                    <a:pt x="1149" y="969"/>
                  </a:lnTo>
                  <a:lnTo>
                    <a:pt x="1206" y="976"/>
                  </a:lnTo>
                  <a:lnTo>
                    <a:pt x="1262" y="980"/>
                  </a:lnTo>
                  <a:lnTo>
                    <a:pt x="1319" y="983"/>
                  </a:lnTo>
                  <a:lnTo>
                    <a:pt x="1375" y="984"/>
                  </a:lnTo>
                  <a:lnTo>
                    <a:pt x="1375" y="712"/>
                  </a:lnTo>
                  <a:lnTo>
                    <a:pt x="1335" y="712"/>
                  </a:lnTo>
                  <a:lnTo>
                    <a:pt x="1293" y="710"/>
                  </a:lnTo>
                  <a:lnTo>
                    <a:pt x="1253" y="706"/>
                  </a:lnTo>
                  <a:lnTo>
                    <a:pt x="1211" y="703"/>
                  </a:lnTo>
                  <a:lnTo>
                    <a:pt x="1168" y="696"/>
                  </a:lnTo>
                  <a:lnTo>
                    <a:pt x="1124" y="688"/>
                  </a:lnTo>
                  <a:lnTo>
                    <a:pt x="1081" y="678"/>
                  </a:lnTo>
                  <a:lnTo>
                    <a:pt x="1041" y="669"/>
                  </a:lnTo>
                  <a:close/>
                  <a:moveTo>
                    <a:pt x="912" y="968"/>
                  </a:moveTo>
                  <a:lnTo>
                    <a:pt x="891" y="1023"/>
                  </a:lnTo>
                  <a:lnTo>
                    <a:pt x="872" y="1079"/>
                  </a:lnTo>
                  <a:lnTo>
                    <a:pt x="852" y="1135"/>
                  </a:lnTo>
                  <a:lnTo>
                    <a:pt x="835" y="1192"/>
                  </a:lnTo>
                  <a:lnTo>
                    <a:pt x="818" y="1249"/>
                  </a:lnTo>
                  <a:lnTo>
                    <a:pt x="801" y="1306"/>
                  </a:lnTo>
                  <a:lnTo>
                    <a:pt x="786" y="1363"/>
                  </a:lnTo>
                  <a:lnTo>
                    <a:pt x="773" y="1422"/>
                  </a:lnTo>
                  <a:lnTo>
                    <a:pt x="808" y="1431"/>
                  </a:lnTo>
                  <a:lnTo>
                    <a:pt x="845" y="1440"/>
                  </a:lnTo>
                  <a:lnTo>
                    <a:pt x="883" y="1449"/>
                  </a:lnTo>
                  <a:lnTo>
                    <a:pt x="920" y="1456"/>
                  </a:lnTo>
                  <a:lnTo>
                    <a:pt x="958" y="1464"/>
                  </a:lnTo>
                  <a:lnTo>
                    <a:pt x="995" y="1470"/>
                  </a:lnTo>
                  <a:lnTo>
                    <a:pt x="1033" y="1476"/>
                  </a:lnTo>
                  <a:lnTo>
                    <a:pt x="1071" y="1481"/>
                  </a:lnTo>
                  <a:lnTo>
                    <a:pt x="1109" y="1486"/>
                  </a:lnTo>
                  <a:lnTo>
                    <a:pt x="1147" y="1490"/>
                  </a:lnTo>
                  <a:lnTo>
                    <a:pt x="1185" y="1493"/>
                  </a:lnTo>
                  <a:lnTo>
                    <a:pt x="1223" y="1495"/>
                  </a:lnTo>
                  <a:lnTo>
                    <a:pt x="1261" y="1498"/>
                  </a:lnTo>
                  <a:lnTo>
                    <a:pt x="1299" y="1500"/>
                  </a:lnTo>
                  <a:lnTo>
                    <a:pt x="1337" y="1500"/>
                  </a:lnTo>
                  <a:lnTo>
                    <a:pt x="1375" y="1501"/>
                  </a:lnTo>
                  <a:lnTo>
                    <a:pt x="1375" y="1030"/>
                  </a:lnTo>
                  <a:lnTo>
                    <a:pt x="1316" y="1029"/>
                  </a:lnTo>
                  <a:lnTo>
                    <a:pt x="1258" y="1026"/>
                  </a:lnTo>
                  <a:lnTo>
                    <a:pt x="1200" y="1022"/>
                  </a:lnTo>
                  <a:lnTo>
                    <a:pt x="1141" y="1015"/>
                  </a:lnTo>
                  <a:lnTo>
                    <a:pt x="1084" y="1006"/>
                  </a:lnTo>
                  <a:lnTo>
                    <a:pt x="1026" y="995"/>
                  </a:lnTo>
                  <a:lnTo>
                    <a:pt x="968" y="983"/>
                  </a:lnTo>
                  <a:lnTo>
                    <a:pt x="912" y="968"/>
                  </a:lnTo>
                  <a:close/>
                  <a:moveTo>
                    <a:pt x="763" y="1458"/>
                  </a:moveTo>
                  <a:lnTo>
                    <a:pt x="751" y="1517"/>
                  </a:lnTo>
                  <a:lnTo>
                    <a:pt x="740" y="1575"/>
                  </a:lnTo>
                  <a:lnTo>
                    <a:pt x="730" y="1632"/>
                  </a:lnTo>
                  <a:lnTo>
                    <a:pt x="721" y="1691"/>
                  </a:lnTo>
                  <a:lnTo>
                    <a:pt x="713" y="1750"/>
                  </a:lnTo>
                  <a:lnTo>
                    <a:pt x="707" y="1809"/>
                  </a:lnTo>
                  <a:lnTo>
                    <a:pt x="702" y="1867"/>
                  </a:lnTo>
                  <a:lnTo>
                    <a:pt x="700" y="1926"/>
                  </a:lnTo>
                  <a:lnTo>
                    <a:pt x="740" y="1937"/>
                  </a:lnTo>
                  <a:lnTo>
                    <a:pt x="782" y="1947"/>
                  </a:lnTo>
                  <a:lnTo>
                    <a:pt x="823" y="1955"/>
                  </a:lnTo>
                  <a:lnTo>
                    <a:pt x="866" y="1963"/>
                  </a:lnTo>
                  <a:lnTo>
                    <a:pt x="907" y="1971"/>
                  </a:lnTo>
                  <a:lnTo>
                    <a:pt x="950" y="1978"/>
                  </a:lnTo>
                  <a:lnTo>
                    <a:pt x="993" y="1984"/>
                  </a:lnTo>
                  <a:lnTo>
                    <a:pt x="1035" y="1988"/>
                  </a:lnTo>
                  <a:lnTo>
                    <a:pt x="1078" y="1993"/>
                  </a:lnTo>
                  <a:lnTo>
                    <a:pt x="1119" y="1996"/>
                  </a:lnTo>
                  <a:lnTo>
                    <a:pt x="1163" y="2000"/>
                  </a:lnTo>
                  <a:lnTo>
                    <a:pt x="1206" y="2002"/>
                  </a:lnTo>
                  <a:lnTo>
                    <a:pt x="1248" y="2005"/>
                  </a:lnTo>
                  <a:lnTo>
                    <a:pt x="1290" y="2006"/>
                  </a:lnTo>
                  <a:lnTo>
                    <a:pt x="1332" y="2007"/>
                  </a:lnTo>
                  <a:lnTo>
                    <a:pt x="1375" y="2007"/>
                  </a:lnTo>
                  <a:lnTo>
                    <a:pt x="1375" y="1539"/>
                  </a:lnTo>
                  <a:lnTo>
                    <a:pt x="1337" y="1539"/>
                  </a:lnTo>
                  <a:lnTo>
                    <a:pt x="1298" y="1538"/>
                  </a:lnTo>
                  <a:lnTo>
                    <a:pt x="1259" y="1537"/>
                  </a:lnTo>
                  <a:lnTo>
                    <a:pt x="1221" y="1534"/>
                  </a:lnTo>
                  <a:lnTo>
                    <a:pt x="1182" y="1531"/>
                  </a:lnTo>
                  <a:lnTo>
                    <a:pt x="1144" y="1528"/>
                  </a:lnTo>
                  <a:lnTo>
                    <a:pt x="1106" y="1524"/>
                  </a:lnTo>
                  <a:lnTo>
                    <a:pt x="1066" y="1518"/>
                  </a:lnTo>
                  <a:lnTo>
                    <a:pt x="1028" y="1514"/>
                  </a:lnTo>
                  <a:lnTo>
                    <a:pt x="990" y="1508"/>
                  </a:lnTo>
                  <a:lnTo>
                    <a:pt x="952" y="1501"/>
                  </a:lnTo>
                  <a:lnTo>
                    <a:pt x="914" y="1494"/>
                  </a:lnTo>
                  <a:lnTo>
                    <a:pt x="876" y="1486"/>
                  </a:lnTo>
                  <a:lnTo>
                    <a:pt x="838" y="1478"/>
                  </a:lnTo>
                  <a:lnTo>
                    <a:pt x="801" y="1469"/>
                  </a:lnTo>
                  <a:lnTo>
                    <a:pt x="763" y="1458"/>
                  </a:lnTo>
                  <a:close/>
                  <a:moveTo>
                    <a:pt x="699" y="1967"/>
                  </a:moveTo>
                  <a:lnTo>
                    <a:pt x="699" y="2016"/>
                  </a:lnTo>
                  <a:lnTo>
                    <a:pt x="700" y="2066"/>
                  </a:lnTo>
                  <a:lnTo>
                    <a:pt x="702" y="2115"/>
                  </a:lnTo>
                  <a:lnTo>
                    <a:pt x="708" y="2165"/>
                  </a:lnTo>
                  <a:lnTo>
                    <a:pt x="715" y="2214"/>
                  </a:lnTo>
                  <a:lnTo>
                    <a:pt x="724" y="2264"/>
                  </a:lnTo>
                  <a:lnTo>
                    <a:pt x="729" y="2288"/>
                  </a:lnTo>
                  <a:lnTo>
                    <a:pt x="736" y="2312"/>
                  </a:lnTo>
                  <a:lnTo>
                    <a:pt x="741" y="2335"/>
                  </a:lnTo>
                  <a:lnTo>
                    <a:pt x="750" y="2359"/>
                  </a:lnTo>
                  <a:lnTo>
                    <a:pt x="788" y="2370"/>
                  </a:lnTo>
                  <a:lnTo>
                    <a:pt x="826" y="2380"/>
                  </a:lnTo>
                  <a:lnTo>
                    <a:pt x="865" y="2389"/>
                  </a:lnTo>
                  <a:lnTo>
                    <a:pt x="903" y="2397"/>
                  </a:lnTo>
                  <a:lnTo>
                    <a:pt x="942" y="2405"/>
                  </a:lnTo>
                  <a:lnTo>
                    <a:pt x="981" y="2412"/>
                  </a:lnTo>
                  <a:lnTo>
                    <a:pt x="1020" y="2418"/>
                  </a:lnTo>
                  <a:lnTo>
                    <a:pt x="1059" y="2424"/>
                  </a:lnTo>
                  <a:lnTo>
                    <a:pt x="1099" y="2429"/>
                  </a:lnTo>
                  <a:lnTo>
                    <a:pt x="1138" y="2433"/>
                  </a:lnTo>
                  <a:lnTo>
                    <a:pt x="1178" y="2437"/>
                  </a:lnTo>
                  <a:lnTo>
                    <a:pt x="1217" y="2439"/>
                  </a:lnTo>
                  <a:lnTo>
                    <a:pt x="1256" y="2441"/>
                  </a:lnTo>
                  <a:lnTo>
                    <a:pt x="1297" y="2442"/>
                  </a:lnTo>
                  <a:lnTo>
                    <a:pt x="1336" y="2443"/>
                  </a:lnTo>
                  <a:lnTo>
                    <a:pt x="1375" y="2445"/>
                  </a:lnTo>
                  <a:lnTo>
                    <a:pt x="1375" y="2045"/>
                  </a:lnTo>
                  <a:lnTo>
                    <a:pt x="1332" y="2045"/>
                  </a:lnTo>
                  <a:lnTo>
                    <a:pt x="1290" y="2045"/>
                  </a:lnTo>
                  <a:lnTo>
                    <a:pt x="1247" y="2044"/>
                  </a:lnTo>
                  <a:lnTo>
                    <a:pt x="1205" y="2041"/>
                  </a:lnTo>
                  <a:lnTo>
                    <a:pt x="1162" y="2039"/>
                  </a:lnTo>
                  <a:lnTo>
                    <a:pt x="1119" y="2036"/>
                  </a:lnTo>
                  <a:lnTo>
                    <a:pt x="1077" y="2032"/>
                  </a:lnTo>
                  <a:lnTo>
                    <a:pt x="1034" y="2028"/>
                  </a:lnTo>
                  <a:lnTo>
                    <a:pt x="991" y="2023"/>
                  </a:lnTo>
                  <a:lnTo>
                    <a:pt x="950" y="2017"/>
                  </a:lnTo>
                  <a:lnTo>
                    <a:pt x="907" y="2010"/>
                  </a:lnTo>
                  <a:lnTo>
                    <a:pt x="865" y="2003"/>
                  </a:lnTo>
                  <a:lnTo>
                    <a:pt x="823" y="1995"/>
                  </a:lnTo>
                  <a:lnTo>
                    <a:pt x="782" y="1986"/>
                  </a:lnTo>
                  <a:lnTo>
                    <a:pt x="740" y="1977"/>
                  </a:lnTo>
                  <a:lnTo>
                    <a:pt x="699" y="1967"/>
                  </a:lnTo>
                  <a:close/>
                  <a:moveTo>
                    <a:pt x="767" y="2404"/>
                  </a:moveTo>
                  <a:lnTo>
                    <a:pt x="776" y="2426"/>
                  </a:lnTo>
                  <a:lnTo>
                    <a:pt x="785" y="2447"/>
                  </a:lnTo>
                  <a:lnTo>
                    <a:pt x="796" y="2468"/>
                  </a:lnTo>
                  <a:lnTo>
                    <a:pt x="807" y="2487"/>
                  </a:lnTo>
                  <a:lnTo>
                    <a:pt x="820" y="2507"/>
                  </a:lnTo>
                  <a:lnTo>
                    <a:pt x="832" y="2525"/>
                  </a:lnTo>
                  <a:lnTo>
                    <a:pt x="847" y="2544"/>
                  </a:lnTo>
                  <a:lnTo>
                    <a:pt x="862" y="2562"/>
                  </a:lnTo>
                  <a:lnTo>
                    <a:pt x="892" y="2574"/>
                  </a:lnTo>
                  <a:lnTo>
                    <a:pt x="923" y="2584"/>
                  </a:lnTo>
                  <a:lnTo>
                    <a:pt x="955" y="2594"/>
                  </a:lnTo>
                  <a:lnTo>
                    <a:pt x="987" y="2605"/>
                  </a:lnTo>
                  <a:lnTo>
                    <a:pt x="1018" y="2613"/>
                  </a:lnTo>
                  <a:lnTo>
                    <a:pt x="1050" y="2622"/>
                  </a:lnTo>
                  <a:lnTo>
                    <a:pt x="1081" y="2629"/>
                  </a:lnTo>
                  <a:lnTo>
                    <a:pt x="1114" y="2636"/>
                  </a:lnTo>
                  <a:lnTo>
                    <a:pt x="1146" y="2642"/>
                  </a:lnTo>
                  <a:lnTo>
                    <a:pt x="1179" y="2647"/>
                  </a:lnTo>
                  <a:lnTo>
                    <a:pt x="1211" y="2652"/>
                  </a:lnTo>
                  <a:lnTo>
                    <a:pt x="1244" y="2655"/>
                  </a:lnTo>
                  <a:lnTo>
                    <a:pt x="1277" y="2659"/>
                  </a:lnTo>
                  <a:lnTo>
                    <a:pt x="1309" y="2661"/>
                  </a:lnTo>
                  <a:lnTo>
                    <a:pt x="1343" y="2662"/>
                  </a:lnTo>
                  <a:lnTo>
                    <a:pt x="1375" y="2664"/>
                  </a:lnTo>
                  <a:lnTo>
                    <a:pt x="1375" y="2483"/>
                  </a:lnTo>
                  <a:lnTo>
                    <a:pt x="1299" y="2482"/>
                  </a:lnTo>
                  <a:lnTo>
                    <a:pt x="1222" y="2478"/>
                  </a:lnTo>
                  <a:lnTo>
                    <a:pt x="1183" y="2476"/>
                  </a:lnTo>
                  <a:lnTo>
                    <a:pt x="1145" y="2472"/>
                  </a:lnTo>
                  <a:lnTo>
                    <a:pt x="1107" y="2469"/>
                  </a:lnTo>
                  <a:lnTo>
                    <a:pt x="1069" y="2464"/>
                  </a:lnTo>
                  <a:lnTo>
                    <a:pt x="1029" y="2460"/>
                  </a:lnTo>
                  <a:lnTo>
                    <a:pt x="991" y="2454"/>
                  </a:lnTo>
                  <a:lnTo>
                    <a:pt x="953" y="2447"/>
                  </a:lnTo>
                  <a:lnTo>
                    <a:pt x="917" y="2440"/>
                  </a:lnTo>
                  <a:lnTo>
                    <a:pt x="879" y="2432"/>
                  </a:lnTo>
                  <a:lnTo>
                    <a:pt x="841" y="2424"/>
                  </a:lnTo>
                  <a:lnTo>
                    <a:pt x="804" y="2415"/>
                  </a:lnTo>
                  <a:lnTo>
                    <a:pt x="767" y="2404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TextBox 15"/>
            <p:cNvSpPr txBox="1"/>
            <p:nvPr>
              <p:custDataLst>
                <p:tags r:id="rId4"/>
              </p:custDataLst>
            </p:nvPr>
          </p:nvSpPr>
          <p:spPr>
            <a:xfrm>
              <a:off x="2454533" y="4927004"/>
              <a:ext cx="1076207" cy="15388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en-US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www.mslee.co.kr</a:t>
              </a:r>
              <a:endParaRPr 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18" name="TextBox 17"/>
          <p:cNvSpPr txBox="1"/>
          <p:nvPr/>
        </p:nvSpPr>
        <p:spPr>
          <a:xfrm>
            <a:off x="3501870" y="3870734"/>
            <a:ext cx="4238513" cy="5457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ko-KR" altLang="en-US" sz="2800" dirty="0" smtClean="0">
                <a:solidFill>
                  <a:schemeClr val="accent1">
                    <a:lumMod val="40000"/>
                    <a:lumOff val="6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보건복지분야 진단</a:t>
            </a:r>
            <a:endParaRPr lang="en-US" altLang="ko-KR" sz="2800" dirty="0" smtClean="0">
              <a:solidFill>
                <a:schemeClr val="accent1">
                  <a:lumMod val="40000"/>
                  <a:lumOff val="6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828863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953583" y="507290"/>
            <a:ext cx="7585412" cy="4124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국민안전 관련</a:t>
            </a:r>
            <a:r>
              <a:rPr lang="en-US" altLang="ko-KR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복지영역</a:t>
            </a:r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종합대책 점검</a:t>
            </a:r>
            <a:endParaRPr lang="en-US" sz="26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8407" y="1201680"/>
            <a:ext cx="847032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취약계층 및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고령자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장애인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어린이 등 안전관련 제도  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미흡</a:t>
            </a:r>
            <a:endParaRPr lang="en-US" altLang="ko-KR" sz="1600" b="1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복지사각지대 해소차원 적극적인 지원계획 수립과 실천의지 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부족</a:t>
            </a:r>
            <a:endParaRPr lang="en-US" altLang="ko-KR" sz="1600" b="1" dirty="0" smtClean="0">
              <a:solidFill>
                <a:srgbClr val="C00000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707706" y="5969611"/>
            <a:ext cx="839690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관련 </a:t>
            </a:r>
            <a:r>
              <a:rPr lang="ko-KR" altLang="en-US" sz="22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법규內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미흡한 </a:t>
            </a:r>
            <a:r>
              <a:rPr lang="en-US" altLang="ko-KR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『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취약계층안전 종합대책</a:t>
            </a:r>
            <a:r>
              <a:rPr lang="en-US" altLang="ko-KR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』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조속 마련 필요</a:t>
            </a:r>
            <a:endParaRPr lang="ko-KR" altLang="en-US" sz="22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90145" y="2106659"/>
            <a:ext cx="28042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&lt;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복지영역 관련법 현황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&gt;</a:t>
            </a:r>
            <a:endParaRPr lang="ko-KR" altLang="en-US" sz="14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aphicFrame>
        <p:nvGraphicFramePr>
          <p:cNvPr id="16" name="표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4157461"/>
              </p:ext>
            </p:extLst>
          </p:nvPr>
        </p:nvGraphicFramePr>
        <p:xfrm>
          <a:off x="559657" y="2414436"/>
          <a:ext cx="8116799" cy="1158580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616DA210-FB5B-4158-B5E0-FEB733F419BA}</a:tableStyleId>
              </a:tblPr>
              <a:tblGrid>
                <a:gridCol w="1420056"/>
                <a:gridCol w="1944216"/>
                <a:gridCol w="2664296"/>
                <a:gridCol w="2088231"/>
              </a:tblGrid>
              <a:tr h="139798"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effectLst/>
                        </a:rPr>
                        <a:t>소비자안전영역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effectLst/>
                        </a:rPr>
                        <a:t>관련 법률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effectLst/>
                        </a:rPr>
                        <a:t>법에 명시된 계획 존재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139798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effectLst/>
                        </a:rPr>
                        <a:t>대 영역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effectLst/>
                        </a:rPr>
                        <a:t>세부 영역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721192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 dirty="0" smtClean="0">
                          <a:effectLst/>
                        </a:rPr>
                        <a:t>취약계층</a:t>
                      </a:r>
                      <a:r>
                        <a:rPr lang="ko-KR" altLang="en-US" sz="1200" kern="0" spc="0" baseline="0" dirty="0" smtClean="0">
                          <a:effectLst/>
                        </a:rPr>
                        <a:t> </a:t>
                      </a:r>
                      <a:r>
                        <a:rPr lang="ko-KR" altLang="en-US" sz="1200" kern="0" spc="0" dirty="0" smtClean="0">
                          <a:effectLst/>
                        </a:rPr>
                        <a:t>안전</a:t>
                      </a: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38100" marR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kern="0" spc="0" dirty="0" smtClean="0">
                          <a:effectLst/>
                        </a:rPr>
                        <a:t>-</a:t>
                      </a:r>
                      <a:r>
                        <a:rPr lang="ko-KR" altLang="en-US" sz="1200" kern="0" spc="0" dirty="0" smtClean="0">
                          <a:effectLst/>
                        </a:rPr>
                        <a:t>어린이안전</a:t>
                      </a:r>
                      <a:endParaRPr lang="ko-KR" altLang="en-US" sz="1200" kern="0" spc="0" dirty="0">
                        <a:effectLst/>
                      </a:endParaRPr>
                    </a:p>
                    <a:p>
                      <a:pPr marL="38100" marR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kern="0" spc="0" dirty="0" smtClean="0">
                          <a:effectLst/>
                        </a:rPr>
                        <a:t>-</a:t>
                      </a:r>
                      <a:r>
                        <a:rPr lang="ko-KR" altLang="en-US" sz="1200" kern="0" spc="0" dirty="0" smtClean="0">
                          <a:effectLst/>
                        </a:rPr>
                        <a:t>장애인</a:t>
                      </a:r>
                      <a:r>
                        <a:rPr lang="en-US" altLang="ko-KR" sz="1200" kern="0" spc="0" dirty="0">
                          <a:effectLst/>
                        </a:rPr>
                        <a:t>·</a:t>
                      </a:r>
                      <a:r>
                        <a:rPr lang="ko-KR" altLang="en-US" sz="1200" kern="0" spc="0" dirty="0">
                          <a:effectLst/>
                        </a:rPr>
                        <a:t>노인 등 </a:t>
                      </a:r>
                      <a:endParaRPr lang="en-US" altLang="ko-KR" sz="1200" kern="0" spc="0" dirty="0" smtClean="0">
                        <a:effectLst/>
                      </a:endParaRPr>
                    </a:p>
                    <a:p>
                      <a:pPr marL="38100" marR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kern="0" spc="0" baseline="0" dirty="0" smtClean="0">
                          <a:effectLst/>
                        </a:rPr>
                        <a:t> </a:t>
                      </a:r>
                      <a:r>
                        <a:rPr lang="ko-KR" altLang="en-US" sz="1200" kern="0" spc="0" dirty="0" smtClean="0">
                          <a:effectLst/>
                        </a:rPr>
                        <a:t>사회적 </a:t>
                      </a:r>
                      <a:r>
                        <a:rPr lang="ko-KR" altLang="en-US" sz="1200" kern="0" spc="0" dirty="0">
                          <a:effectLst/>
                        </a:rPr>
                        <a:t>약자 안전</a:t>
                      </a: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38100" marR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kern="0" spc="0" dirty="0">
                          <a:effectLst/>
                        </a:rPr>
                        <a:t>-</a:t>
                      </a:r>
                      <a:r>
                        <a:rPr lang="ko-KR" altLang="en-US" sz="1200" kern="0" spc="0" dirty="0">
                          <a:effectLst/>
                        </a:rPr>
                        <a:t>아동복지법</a:t>
                      </a:r>
                    </a:p>
                    <a:p>
                      <a:pPr marL="38100" marR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kern="0" spc="0" dirty="0">
                          <a:effectLst/>
                        </a:rPr>
                        <a:t>-</a:t>
                      </a:r>
                      <a:r>
                        <a:rPr lang="ko-KR" altLang="en-US" sz="1200" kern="0" spc="0" dirty="0" smtClean="0">
                          <a:effectLst/>
                        </a:rPr>
                        <a:t>장애인</a:t>
                      </a:r>
                      <a:r>
                        <a:rPr lang="en-US" altLang="ko-KR" sz="1200" kern="0" spc="0" dirty="0" smtClean="0">
                          <a:effectLst/>
                        </a:rPr>
                        <a:t>·</a:t>
                      </a:r>
                      <a:r>
                        <a:rPr lang="ko-KR" altLang="en-US" sz="1200" kern="0" spc="0" dirty="0" smtClean="0">
                          <a:effectLst/>
                        </a:rPr>
                        <a:t>노인</a:t>
                      </a:r>
                      <a:r>
                        <a:rPr lang="en-US" altLang="ko-KR" sz="1200" kern="0" spc="0" dirty="0" smtClean="0">
                          <a:effectLst/>
                        </a:rPr>
                        <a:t>·</a:t>
                      </a:r>
                      <a:r>
                        <a:rPr lang="ko-KR" altLang="en-US" sz="1200" kern="0" spc="0" dirty="0" smtClean="0">
                          <a:effectLst/>
                        </a:rPr>
                        <a:t>임산부등의 편의 </a:t>
                      </a:r>
                      <a:endParaRPr lang="en-US" altLang="ko-KR" sz="1200" kern="0" spc="0" dirty="0" smtClean="0">
                        <a:effectLst/>
                      </a:endParaRPr>
                    </a:p>
                    <a:p>
                      <a:pPr marL="38100" marR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kern="0" spc="0" dirty="0" smtClean="0">
                          <a:effectLst/>
                        </a:rPr>
                        <a:t> </a:t>
                      </a:r>
                      <a:r>
                        <a:rPr lang="ko-KR" altLang="en-US" sz="1200" kern="0" spc="0" dirty="0" smtClean="0">
                          <a:effectLst/>
                        </a:rPr>
                        <a:t>증진보장에 </a:t>
                      </a:r>
                      <a:r>
                        <a:rPr lang="ko-KR" altLang="en-US" sz="1200" kern="0" spc="0" dirty="0">
                          <a:effectLst/>
                        </a:rPr>
                        <a:t>관한 법률</a:t>
                      </a: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  <a:tc>
                  <a:txBody>
                    <a:bodyPr/>
                    <a:lstStyle/>
                    <a:p>
                      <a:pPr marL="38100" marR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kern="0" spc="0" dirty="0">
                          <a:effectLst/>
                        </a:rPr>
                        <a:t>-</a:t>
                      </a:r>
                      <a:r>
                        <a:rPr lang="ko-KR" altLang="en-US" sz="1200" kern="0" spc="0" dirty="0">
                          <a:effectLst/>
                        </a:rPr>
                        <a:t>아동정책기본계획</a:t>
                      </a:r>
                      <a:r>
                        <a:rPr lang="en-US" altLang="ko-KR" sz="1200" kern="0" spc="0" dirty="0">
                          <a:effectLst/>
                        </a:rPr>
                        <a:t>(5</a:t>
                      </a:r>
                      <a:r>
                        <a:rPr lang="ko-KR" altLang="en-US" sz="1200" kern="0" spc="0" dirty="0" err="1">
                          <a:effectLst/>
                        </a:rPr>
                        <a:t>년단위</a:t>
                      </a:r>
                      <a:r>
                        <a:rPr lang="en-US" altLang="ko-KR" sz="1200" kern="0" spc="0" dirty="0">
                          <a:effectLst/>
                        </a:rPr>
                        <a:t>)</a:t>
                      </a:r>
                      <a:endParaRPr lang="ko-KR" altLang="en-US" sz="1200" kern="0" spc="0" dirty="0">
                        <a:effectLst/>
                      </a:endParaRPr>
                    </a:p>
                    <a:p>
                      <a:pPr marL="38100" marR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kern="0" spc="0" dirty="0">
                          <a:effectLst/>
                        </a:rPr>
                        <a:t>-</a:t>
                      </a:r>
                      <a:r>
                        <a:rPr lang="ko-KR" altLang="en-US" sz="1200" kern="0" spc="0" dirty="0">
                          <a:solidFill>
                            <a:srgbClr val="C00000"/>
                          </a:solidFill>
                          <a:effectLst/>
                        </a:rPr>
                        <a:t>없음 </a:t>
                      </a:r>
                      <a:endParaRPr lang="en-US" altLang="ko-KR" sz="1200" kern="0" spc="0" dirty="0" smtClean="0">
                        <a:solidFill>
                          <a:srgbClr val="C00000"/>
                        </a:solidFill>
                        <a:effectLst/>
                      </a:endParaRPr>
                    </a:p>
                    <a:p>
                      <a:pPr marL="38100" marR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marL="17907" marR="17907" marT="17907" marB="17907" anchor="ctr"/>
                </a:tc>
              </a:tr>
            </a:tbl>
          </a:graphicData>
        </a:graphic>
      </p:graphicFrame>
      <p:grpSp>
        <p:nvGrpSpPr>
          <p:cNvPr id="14" name="그룹 13"/>
          <p:cNvGrpSpPr/>
          <p:nvPr/>
        </p:nvGrpSpPr>
        <p:grpSpPr>
          <a:xfrm>
            <a:off x="548152" y="3831416"/>
            <a:ext cx="4023762" cy="1923357"/>
            <a:chOff x="547839" y="3903848"/>
            <a:chExt cx="4023762" cy="1923357"/>
          </a:xfrm>
        </p:grpSpPr>
        <p:pic>
          <p:nvPicPr>
            <p:cNvPr id="3" name="그림 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7839" y="3903848"/>
              <a:ext cx="4023762" cy="1923357"/>
            </a:xfrm>
            <a:prstGeom prst="rect">
              <a:avLst/>
            </a:prstGeom>
          </p:spPr>
        </p:pic>
        <p:sp>
          <p:nvSpPr>
            <p:cNvPr id="13" name="오른쪽 화살표 12"/>
            <p:cNvSpPr/>
            <p:nvPr/>
          </p:nvSpPr>
          <p:spPr>
            <a:xfrm>
              <a:off x="2356158" y="4793096"/>
              <a:ext cx="271625" cy="288032"/>
            </a:xfrm>
            <a:prstGeom prst="rightArrow">
              <a:avLst/>
            </a:pr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b="1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</a:endParaRPr>
            </a:p>
          </p:txBody>
        </p:sp>
      </p:grpSp>
      <p:pic>
        <p:nvPicPr>
          <p:cNvPr id="15" name="그림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3415" y="4711537"/>
            <a:ext cx="3685580" cy="1204626"/>
          </a:xfrm>
          <a:prstGeom prst="rect">
            <a:avLst/>
          </a:prstGeom>
        </p:spPr>
      </p:pic>
      <p:grpSp>
        <p:nvGrpSpPr>
          <p:cNvPr id="19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20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12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12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22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4" name="그림 2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18" name="오른쪽 화살표 17"/>
          <p:cNvSpPr/>
          <p:nvPr/>
        </p:nvSpPr>
        <p:spPr>
          <a:xfrm>
            <a:off x="6159625" y="137549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오른쪽 화살표 25"/>
          <p:cNvSpPr/>
          <p:nvPr/>
        </p:nvSpPr>
        <p:spPr>
          <a:xfrm>
            <a:off x="6517681" y="175374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오른쪽 화살표 26"/>
          <p:cNvSpPr/>
          <p:nvPr/>
        </p:nvSpPr>
        <p:spPr>
          <a:xfrm>
            <a:off x="306663" y="6122552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699950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582" y="2872854"/>
            <a:ext cx="2448272" cy="3390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5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12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12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7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그림 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934135" y="573948"/>
            <a:ext cx="7938897" cy="3976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재난거점병원」과 </a:t>
            </a:r>
            <a:r>
              <a:rPr lang="ko-KR" altLang="en-US" sz="24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화학합동방재센터 」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연계  문제</a:t>
            </a:r>
            <a:endParaRPr lang="en-US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557402" y="213977"/>
            <a:ext cx="14401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16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소방방재청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endParaRPr lang="ko-KR" altLang="en-US" sz="16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76230" y="1173105"/>
            <a:ext cx="8326308" cy="18928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세월호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교훈으로 권역응급의료센터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(20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지방「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재난거점병원」확대 지정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중</a:t>
            </a:r>
            <a:endParaRPr lang="en-US" altLang="ko-KR" sz="1600" b="1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구미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불산사고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계기로 전국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6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산업단지 내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화학합동방재센터」설치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운영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문제는 「재난거점병원」과 「화학합동방재센터」간의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연계체계 구축이 미흡</a:t>
            </a:r>
            <a:endParaRPr lang="ko-KR" altLang="en-US" sz="16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b="1" dirty="0" smtClean="0">
                <a:latin typeface="Adobe 명조 Std M" pitchFamily="18" charset="-127"/>
                <a:ea typeface="Adobe 명조 Std M" pitchFamily="18" charset="-127"/>
              </a:rPr>
              <a:t>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‘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119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화학구조팀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’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화학사고時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환자를 이송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조치할 지정병원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명부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없음</a:t>
            </a:r>
            <a:endParaRPr lang="ko-KR" altLang="en-US" sz="14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‘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재난거점병원’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의료진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및 환자용 보호장비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약품 등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준비도 부족</a:t>
            </a:r>
            <a:endParaRPr lang="ko-KR" altLang="en-US" sz="14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21332" y="6097234"/>
            <a:ext cx="8164501" cy="5016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재난거점병원」</a:t>
            </a: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과 </a:t>
            </a: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화학합동방재센터」</a:t>
            </a: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간 연계체제 구축 시급</a:t>
            </a:r>
            <a:endParaRPr lang="ko-KR" altLang="en-US" sz="21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pSp>
        <p:nvGrpSpPr>
          <p:cNvPr id="27" name="그룹 26"/>
          <p:cNvGrpSpPr/>
          <p:nvPr/>
        </p:nvGrpSpPr>
        <p:grpSpPr>
          <a:xfrm>
            <a:off x="2015979" y="3982520"/>
            <a:ext cx="4388559" cy="256705"/>
            <a:chOff x="2015979" y="3982520"/>
            <a:chExt cx="4388559" cy="256705"/>
          </a:xfrm>
        </p:grpSpPr>
        <p:grpSp>
          <p:nvGrpSpPr>
            <p:cNvPr id="16" name="Group 8"/>
            <p:cNvGrpSpPr/>
            <p:nvPr>
              <p:custDataLst>
                <p:tags r:id="rId3"/>
              </p:custDataLst>
            </p:nvPr>
          </p:nvGrpSpPr>
          <p:grpSpPr>
            <a:xfrm>
              <a:off x="6169512" y="3982520"/>
              <a:ext cx="235026" cy="256705"/>
              <a:chOff x="7535636" y="2666546"/>
              <a:chExt cx="523875" cy="522288"/>
            </a:xfrm>
            <a:effectLst>
              <a:outerShdw blurRad="25400" dist="12700" dir="5400000" algn="t" rotWithShape="0">
                <a:prstClr val="black">
                  <a:alpha val="25000"/>
                </a:prstClr>
              </a:outerShdw>
            </a:effectLst>
          </p:grpSpPr>
          <p:sp>
            <p:nvSpPr>
              <p:cNvPr id="18" name="Oval 73"/>
              <p:cNvSpPr/>
              <p:nvPr/>
            </p:nvSpPr>
            <p:spPr bwMode="auto">
              <a:xfrm>
                <a:off x="7535636" y="2666546"/>
                <a:ext cx="523875" cy="522288"/>
              </a:xfrm>
              <a:prstGeom prst="ellipse">
                <a:avLst/>
              </a:prstGeom>
              <a:gradFill>
                <a:gsLst>
                  <a:gs pos="0">
                    <a:schemeClr val="bg1"/>
                  </a:gs>
                  <a:gs pos="100000">
                    <a:schemeClr val="bg1">
                      <a:lumMod val="85000"/>
                    </a:schemeClr>
                  </a:gs>
                </a:gsLst>
                <a:lin ang="5400000" scaled="0"/>
              </a:gradFill>
              <a:ln w="3175">
                <a:solidFill>
                  <a:schemeClr val="bg1"/>
                </a:solidFill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nb-NO">
                  <a:solidFill>
                    <a:srgbClr val="FFFFFF"/>
                  </a:solidFill>
                  <a:ea typeface="ＭＳ Ｐゴシック" charset="-128"/>
                  <a:cs typeface="Arial" charset="0"/>
                </a:endParaRPr>
              </a:p>
            </p:txBody>
          </p:sp>
          <p:sp>
            <p:nvSpPr>
              <p:cNvPr id="19" name="Oval 74"/>
              <p:cNvSpPr/>
              <p:nvPr/>
            </p:nvSpPr>
            <p:spPr bwMode="auto">
              <a:xfrm>
                <a:off x="7681686" y="2807834"/>
                <a:ext cx="239713" cy="239712"/>
              </a:xfrm>
              <a:prstGeom prst="ellipse">
                <a:avLst/>
              </a:prstGeom>
              <a:solidFill>
                <a:srgbClr val="2A9B18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nb-NO">
                  <a:latin typeface="Calibri" charset="0"/>
                  <a:ea typeface="ＭＳ Ｐゴシック" charset="-128"/>
                </a:endParaRPr>
              </a:p>
            </p:txBody>
          </p:sp>
        </p:grpSp>
        <p:cxnSp>
          <p:nvCxnSpPr>
            <p:cNvPr id="17" name="Straight Connector 72"/>
            <p:cNvCxnSpPr/>
            <p:nvPr>
              <p:custDataLst>
                <p:tags r:id="rId4"/>
              </p:custDataLst>
            </p:nvPr>
          </p:nvCxnSpPr>
          <p:spPr>
            <a:xfrm>
              <a:off x="2015979" y="4107296"/>
              <a:ext cx="4261503" cy="0"/>
            </a:xfrm>
            <a:prstGeom prst="line">
              <a:avLst/>
            </a:prstGeom>
            <a:ln w="3175">
              <a:solidFill>
                <a:srgbClr val="2A9B18"/>
              </a:solidFill>
              <a:headEnd type="oval" w="sm" len="sm"/>
              <a:tailEnd type="oval" w="sm" len="sm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extBox 19"/>
          <p:cNvSpPr txBox="1"/>
          <p:nvPr/>
        </p:nvSpPr>
        <p:spPr>
          <a:xfrm>
            <a:off x="3243172" y="3797054"/>
            <a:ext cx="31456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재난거점병원</a:t>
            </a:r>
            <a:r>
              <a:rPr lang="en-US" altLang="ko-KR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권역응급의료센터</a:t>
            </a:r>
            <a:r>
              <a:rPr lang="en-US" altLang="ko-KR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) (20</a:t>
            </a: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곳</a:t>
            </a:r>
            <a:r>
              <a:rPr lang="en-US" altLang="ko-KR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endParaRPr lang="ko-KR" altLang="en-US" sz="12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pSp>
        <p:nvGrpSpPr>
          <p:cNvPr id="21" name="Group 59"/>
          <p:cNvGrpSpPr/>
          <p:nvPr/>
        </p:nvGrpSpPr>
        <p:grpSpPr>
          <a:xfrm>
            <a:off x="2320262" y="4921435"/>
            <a:ext cx="3035639" cy="192255"/>
            <a:chOff x="741832" y="3340071"/>
            <a:chExt cx="3507639" cy="222148"/>
          </a:xfrm>
        </p:grpSpPr>
        <p:grpSp>
          <p:nvGrpSpPr>
            <p:cNvPr id="22" name="Group 8"/>
            <p:cNvGrpSpPr/>
            <p:nvPr>
              <p:custDataLst>
                <p:tags r:id="rId1"/>
              </p:custDataLst>
            </p:nvPr>
          </p:nvGrpSpPr>
          <p:grpSpPr>
            <a:xfrm>
              <a:off x="4026648" y="3340071"/>
              <a:ext cx="222823" cy="222148"/>
              <a:chOff x="7535636" y="2666546"/>
              <a:chExt cx="523875" cy="522288"/>
            </a:xfrm>
            <a:effectLst>
              <a:outerShdw blurRad="25400" dist="12700" dir="5400000" algn="t" rotWithShape="0">
                <a:prstClr val="black">
                  <a:alpha val="25000"/>
                </a:prstClr>
              </a:outerShdw>
            </a:effectLst>
          </p:grpSpPr>
          <p:sp>
            <p:nvSpPr>
              <p:cNvPr id="24" name="Oval 56"/>
              <p:cNvSpPr/>
              <p:nvPr/>
            </p:nvSpPr>
            <p:spPr bwMode="auto">
              <a:xfrm>
                <a:off x="7535636" y="2666546"/>
                <a:ext cx="523875" cy="522288"/>
              </a:xfrm>
              <a:prstGeom prst="ellipse">
                <a:avLst/>
              </a:prstGeom>
              <a:gradFill>
                <a:gsLst>
                  <a:gs pos="0">
                    <a:schemeClr val="bg1"/>
                  </a:gs>
                  <a:gs pos="100000">
                    <a:schemeClr val="bg1">
                      <a:lumMod val="85000"/>
                    </a:schemeClr>
                  </a:gs>
                </a:gsLst>
                <a:lin ang="5400000" scaled="0"/>
              </a:gradFill>
              <a:ln w="3175">
                <a:solidFill>
                  <a:schemeClr val="bg1"/>
                </a:solidFill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nb-NO">
                  <a:solidFill>
                    <a:srgbClr val="FFFFFF"/>
                  </a:solidFill>
                  <a:ea typeface="ＭＳ Ｐゴシック" charset="-128"/>
                  <a:cs typeface="Arial" charset="0"/>
                </a:endParaRPr>
              </a:p>
            </p:txBody>
          </p:sp>
          <p:sp>
            <p:nvSpPr>
              <p:cNvPr id="25" name="Oval 57"/>
              <p:cNvSpPr/>
              <p:nvPr/>
            </p:nvSpPr>
            <p:spPr bwMode="auto">
              <a:xfrm>
                <a:off x="7681686" y="2807834"/>
                <a:ext cx="239713" cy="239712"/>
              </a:xfrm>
              <a:prstGeom prst="ellipse">
                <a:avLst/>
              </a:prstGeom>
              <a:solidFill>
                <a:srgbClr val="F0B71F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nb-NO">
                  <a:latin typeface="Calibri" charset="0"/>
                  <a:ea typeface="ＭＳ Ｐゴシック" charset="-128"/>
                </a:endParaRPr>
              </a:p>
            </p:txBody>
          </p:sp>
        </p:grpSp>
        <p:cxnSp>
          <p:nvCxnSpPr>
            <p:cNvPr id="23" name="Straight Connector 37"/>
            <p:cNvCxnSpPr/>
            <p:nvPr>
              <p:custDataLst>
                <p:tags r:id="rId2"/>
              </p:custDataLst>
            </p:nvPr>
          </p:nvCxnSpPr>
          <p:spPr>
            <a:xfrm>
              <a:off x="741832" y="3448050"/>
              <a:ext cx="3392201" cy="0"/>
            </a:xfrm>
            <a:prstGeom prst="line">
              <a:avLst/>
            </a:prstGeom>
            <a:ln w="3175">
              <a:solidFill>
                <a:srgbClr val="F0B71F"/>
              </a:solidFill>
              <a:headEnd type="oval" w="sm" len="sm"/>
              <a:tailEnd type="oval" w="sm" len="sm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TextBox 25"/>
          <p:cNvSpPr txBox="1"/>
          <p:nvPr/>
        </p:nvSpPr>
        <p:spPr>
          <a:xfrm>
            <a:off x="3401853" y="4701460"/>
            <a:ext cx="19540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화학합동방재센터 </a:t>
            </a:r>
            <a:r>
              <a:rPr lang="en-US" altLang="ko-KR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(6</a:t>
            </a: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곳</a:t>
            </a:r>
            <a:r>
              <a:rPr lang="en-US" altLang="ko-KR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endParaRPr lang="ko-KR" altLang="en-US" sz="12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28" name="그림 2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6479" y="3771094"/>
            <a:ext cx="316012" cy="281250"/>
          </a:xfrm>
          <a:prstGeom prst="rect">
            <a:avLst/>
          </a:prstGeom>
        </p:spPr>
      </p:pic>
      <p:pic>
        <p:nvPicPr>
          <p:cNvPr id="31" name="그림 3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8252" y="4526327"/>
            <a:ext cx="313601" cy="446509"/>
          </a:xfrm>
          <a:prstGeom prst="rect">
            <a:avLst/>
          </a:prstGeom>
        </p:spPr>
      </p:pic>
      <p:pic>
        <p:nvPicPr>
          <p:cNvPr id="30" name="그림 2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2370" y="3277046"/>
            <a:ext cx="158006" cy="140625"/>
          </a:xfrm>
          <a:prstGeom prst="rect">
            <a:avLst/>
          </a:prstGeom>
        </p:spPr>
      </p:pic>
      <p:pic>
        <p:nvPicPr>
          <p:cNvPr id="32" name="그림 3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4364" y="3600135"/>
            <a:ext cx="158006" cy="140625"/>
          </a:xfrm>
          <a:prstGeom prst="rect">
            <a:avLst/>
          </a:prstGeom>
        </p:spPr>
      </p:pic>
      <p:pic>
        <p:nvPicPr>
          <p:cNvPr id="33" name="그림 3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9213" y="3937679"/>
            <a:ext cx="158006" cy="140625"/>
          </a:xfrm>
          <a:prstGeom prst="rect">
            <a:avLst/>
          </a:prstGeom>
        </p:spPr>
      </p:pic>
      <p:pic>
        <p:nvPicPr>
          <p:cNvPr id="34" name="그림 33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1680" y="4026780"/>
            <a:ext cx="158006" cy="140625"/>
          </a:xfrm>
          <a:prstGeom prst="rect">
            <a:avLst/>
          </a:prstGeom>
        </p:spPr>
      </p:pic>
      <p:pic>
        <p:nvPicPr>
          <p:cNvPr id="35" name="그림 34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3462" y="3499758"/>
            <a:ext cx="158006" cy="140625"/>
          </a:xfrm>
          <a:prstGeom prst="rect">
            <a:avLst/>
          </a:prstGeom>
        </p:spPr>
      </p:pic>
      <p:pic>
        <p:nvPicPr>
          <p:cNvPr id="36" name="그림 3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4770" y="3429446"/>
            <a:ext cx="158006" cy="140625"/>
          </a:xfrm>
          <a:prstGeom prst="rect">
            <a:avLst/>
          </a:prstGeom>
        </p:spPr>
      </p:pic>
      <p:pic>
        <p:nvPicPr>
          <p:cNvPr id="37" name="그림 36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2677" y="3459510"/>
            <a:ext cx="158006" cy="140625"/>
          </a:xfrm>
          <a:prstGeom prst="rect">
            <a:avLst/>
          </a:prstGeom>
        </p:spPr>
      </p:pic>
      <p:pic>
        <p:nvPicPr>
          <p:cNvPr id="38" name="그림 37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0637" y="3640383"/>
            <a:ext cx="158006" cy="140625"/>
          </a:xfrm>
          <a:prstGeom prst="rect">
            <a:avLst/>
          </a:prstGeom>
        </p:spPr>
      </p:pic>
      <p:pic>
        <p:nvPicPr>
          <p:cNvPr id="39" name="그림 38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9686" y="3640382"/>
            <a:ext cx="158006" cy="140625"/>
          </a:xfrm>
          <a:prstGeom prst="rect">
            <a:avLst/>
          </a:prstGeom>
        </p:spPr>
      </p:pic>
      <p:pic>
        <p:nvPicPr>
          <p:cNvPr id="40" name="그림 3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1680" y="3797054"/>
            <a:ext cx="158006" cy="140625"/>
          </a:xfrm>
          <a:prstGeom prst="rect">
            <a:avLst/>
          </a:prstGeom>
        </p:spPr>
      </p:pic>
      <p:pic>
        <p:nvPicPr>
          <p:cNvPr id="41" name="그림 40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9686" y="3791781"/>
            <a:ext cx="158006" cy="140625"/>
          </a:xfrm>
          <a:prstGeom prst="rect">
            <a:avLst/>
          </a:prstGeom>
        </p:spPr>
      </p:pic>
      <p:pic>
        <p:nvPicPr>
          <p:cNvPr id="42" name="그림 4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7973" y="4254382"/>
            <a:ext cx="158006" cy="140625"/>
          </a:xfrm>
          <a:prstGeom prst="rect">
            <a:avLst/>
          </a:prstGeom>
        </p:spPr>
      </p:pic>
      <p:pic>
        <p:nvPicPr>
          <p:cNvPr id="43" name="그림 4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7124" y="4324694"/>
            <a:ext cx="158006" cy="140625"/>
          </a:xfrm>
          <a:prstGeom prst="rect">
            <a:avLst/>
          </a:prstGeom>
        </p:spPr>
      </p:pic>
      <p:pic>
        <p:nvPicPr>
          <p:cNvPr id="44" name="그림 43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1658" y="4708030"/>
            <a:ext cx="158006" cy="140625"/>
          </a:xfrm>
          <a:prstGeom prst="rect">
            <a:avLst/>
          </a:prstGeom>
        </p:spPr>
      </p:pic>
      <p:pic>
        <p:nvPicPr>
          <p:cNvPr id="45" name="그림 44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1751" y="4772900"/>
            <a:ext cx="158006" cy="140625"/>
          </a:xfrm>
          <a:prstGeom prst="rect">
            <a:avLst/>
          </a:prstGeom>
        </p:spPr>
      </p:pic>
      <p:pic>
        <p:nvPicPr>
          <p:cNvPr id="46" name="그림 4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7170" y="3581846"/>
            <a:ext cx="158006" cy="140625"/>
          </a:xfrm>
          <a:prstGeom prst="rect">
            <a:avLst/>
          </a:prstGeom>
        </p:spPr>
      </p:pic>
      <p:pic>
        <p:nvPicPr>
          <p:cNvPr id="47" name="그림 46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8715" y="4776416"/>
            <a:ext cx="158006" cy="140625"/>
          </a:xfrm>
          <a:prstGeom prst="rect">
            <a:avLst/>
          </a:prstGeom>
        </p:spPr>
      </p:pic>
      <p:pic>
        <p:nvPicPr>
          <p:cNvPr id="48" name="그림 47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5484" y="5073271"/>
            <a:ext cx="158006" cy="140625"/>
          </a:xfrm>
          <a:prstGeom prst="rect">
            <a:avLst/>
          </a:prstGeom>
        </p:spPr>
      </p:pic>
      <p:pic>
        <p:nvPicPr>
          <p:cNvPr id="49" name="그림 48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7599" y="5247650"/>
            <a:ext cx="158006" cy="140625"/>
          </a:xfrm>
          <a:prstGeom prst="rect">
            <a:avLst/>
          </a:prstGeom>
        </p:spPr>
      </p:pic>
      <p:pic>
        <p:nvPicPr>
          <p:cNvPr id="50" name="그림 4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1468" y="5517232"/>
            <a:ext cx="158006" cy="140625"/>
          </a:xfrm>
          <a:prstGeom prst="rect">
            <a:avLst/>
          </a:prstGeom>
        </p:spPr>
      </p:pic>
      <p:pic>
        <p:nvPicPr>
          <p:cNvPr id="51" name="그림 50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9640" y="5376607"/>
            <a:ext cx="158006" cy="140625"/>
          </a:xfrm>
          <a:prstGeom prst="rect">
            <a:avLst/>
          </a:prstGeom>
        </p:spPr>
      </p:pic>
      <p:pic>
        <p:nvPicPr>
          <p:cNvPr id="52" name="그림 5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7188" y="5954277"/>
            <a:ext cx="158006" cy="140625"/>
          </a:xfrm>
          <a:prstGeom prst="rect">
            <a:avLst/>
          </a:prstGeom>
        </p:spPr>
      </p:pic>
      <p:pic>
        <p:nvPicPr>
          <p:cNvPr id="53" name="그림 52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3698" y="3633499"/>
            <a:ext cx="136948" cy="194988"/>
          </a:xfrm>
          <a:prstGeom prst="rect">
            <a:avLst/>
          </a:prstGeom>
        </p:spPr>
      </p:pic>
      <p:pic>
        <p:nvPicPr>
          <p:cNvPr id="54" name="그림 53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9644" y="4190284"/>
            <a:ext cx="136948" cy="194988"/>
          </a:xfrm>
          <a:prstGeom prst="rect">
            <a:avLst/>
          </a:prstGeom>
        </p:spPr>
      </p:pic>
      <p:pic>
        <p:nvPicPr>
          <p:cNvPr id="55" name="그림 54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3523" y="4270975"/>
            <a:ext cx="136948" cy="194988"/>
          </a:xfrm>
          <a:prstGeom prst="rect">
            <a:avLst/>
          </a:prstGeom>
        </p:spPr>
      </p:pic>
      <p:pic>
        <p:nvPicPr>
          <p:cNvPr id="56" name="그림 55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3838" y="4610536"/>
            <a:ext cx="136948" cy="194988"/>
          </a:xfrm>
          <a:prstGeom prst="rect">
            <a:avLst/>
          </a:prstGeom>
        </p:spPr>
      </p:pic>
      <p:pic>
        <p:nvPicPr>
          <p:cNvPr id="57" name="그림 56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9773" y="5016196"/>
            <a:ext cx="136948" cy="194988"/>
          </a:xfrm>
          <a:prstGeom prst="rect">
            <a:avLst/>
          </a:prstGeom>
        </p:spPr>
      </p:pic>
      <p:pic>
        <p:nvPicPr>
          <p:cNvPr id="58" name="그림 57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6191" y="5467087"/>
            <a:ext cx="136948" cy="194988"/>
          </a:xfrm>
          <a:prstGeom prst="rect">
            <a:avLst/>
          </a:prstGeom>
        </p:spPr>
      </p:pic>
      <p:pic>
        <p:nvPicPr>
          <p:cNvPr id="59" name="그림 58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7005" y="4368469"/>
            <a:ext cx="1692721" cy="1433170"/>
          </a:xfrm>
          <a:prstGeom prst="rect">
            <a:avLst/>
          </a:prstGeom>
        </p:spPr>
      </p:pic>
      <p:sp>
        <p:nvSpPr>
          <p:cNvPr id="60" name="TextBox 59"/>
          <p:cNvSpPr txBox="1"/>
          <p:nvPr/>
        </p:nvSpPr>
        <p:spPr>
          <a:xfrm>
            <a:off x="5532259" y="4839829"/>
            <a:ext cx="5173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900" dirty="0" smtClean="0">
                <a:solidFill>
                  <a:schemeClr val="bg1"/>
                </a:solidFill>
                <a:latin typeface="Adobe 고딕 Std B" pitchFamily="34" charset="-127"/>
                <a:ea typeface="Adobe 고딕 Std B" pitchFamily="34" charset="-127"/>
              </a:rPr>
              <a:t>119</a:t>
            </a:r>
            <a:endParaRPr lang="ko-KR" altLang="en-US" sz="900" dirty="0">
              <a:solidFill>
                <a:schemeClr val="bg1"/>
              </a:solidFill>
              <a:latin typeface="Adobe 고딕 Std B" pitchFamily="34" charset="-127"/>
              <a:ea typeface="Adobe 고딕 Std B" pitchFamily="34" charset="-127"/>
            </a:endParaRPr>
          </a:p>
        </p:txBody>
      </p:sp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9913" y="3134583"/>
            <a:ext cx="1259625" cy="12123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" name="오른쪽 화살표 60"/>
          <p:cNvSpPr/>
          <p:nvPr/>
        </p:nvSpPr>
        <p:spPr>
          <a:xfrm>
            <a:off x="4815993" y="136289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2" name="오른쪽 화살표 61"/>
          <p:cNvSpPr/>
          <p:nvPr/>
        </p:nvSpPr>
        <p:spPr>
          <a:xfrm>
            <a:off x="461476" y="6263742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98325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954800" y="462431"/>
            <a:ext cx="73338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altLang="ko-KR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『</a:t>
            </a:r>
            <a:r>
              <a:rPr lang="ko-KR" altLang="en-US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新 상</a:t>
            </a:r>
            <a:r>
              <a:rPr lang="en-US" altLang="ko-KR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장례문화 확산과 장착</a:t>
            </a:r>
            <a:r>
              <a:rPr lang="en-US" altLang="ko-KR" sz="25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』</a:t>
            </a:r>
            <a:r>
              <a:rPr lang="en-US" altLang="ko-KR" sz="25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5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sz="25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55890" y="1234747"/>
            <a:ext cx="876770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2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천 년대 이후 급격히 개선된 국민들의 장례문화     </a:t>
            </a:r>
            <a:r>
              <a:rPr lang="ko-KR" altLang="en-US" sz="1600" b="1" spc="-15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화장률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80%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선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b="1" spc="-15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웰다잉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well-dying)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인식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정착</a:t>
            </a:r>
            <a:endParaRPr lang="en-US" altLang="ko-KR" sz="1600" b="1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90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년대 부터 협소한 국토와 인구증가에 따른 </a:t>
            </a:r>
            <a:r>
              <a:rPr lang="ko-KR" altLang="en-US" sz="16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유교식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장묘문화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문제 야기 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정부차원 예측 실패</a:t>
            </a:r>
            <a:endParaRPr lang="en-US" altLang="ko-KR" sz="1600" b="1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민간중심의 </a:t>
            </a:r>
            <a:r>
              <a:rPr lang="ko-KR" altLang="en-US" sz="16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新장묘문화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개방형 납골당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자연장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등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주도 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정부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소극적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사후적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뒷북행정</a:t>
            </a:r>
            <a:endParaRPr lang="en-US" altLang="ko-KR" sz="1600" b="1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화장장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납골당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수목장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추모관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등 혐오시설 인식도 여전 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新상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장례 문화 확산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정착 필요</a:t>
            </a:r>
            <a:endParaRPr lang="ko-KR" altLang="en-US" sz="1600" b="1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772253" y="6083264"/>
            <a:ext cx="8166041" cy="5211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자치단체 중심 적극 추진토록 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법적 근거</a:t>
            </a:r>
            <a:r>
              <a:rPr lang="en-US" altLang="ko-KR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예산지원 등」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필요</a:t>
            </a:r>
            <a:endParaRPr lang="ko-KR" altLang="en-US" sz="22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7172" name="Picture 4" descr="Moped Aus Zusatzzeichen Clip Art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7483647" y="-223838"/>
            <a:ext cx="952500" cy="523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4" name="Picture 6" descr="Moped Aus Zusatzzeichen Clip Art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7483647" y="-71438"/>
            <a:ext cx="952500" cy="523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6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87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88" name="TextBox 87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12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12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89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1" name="그림 9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92" name="오른쪽 화살표 91"/>
          <p:cNvSpPr/>
          <p:nvPr/>
        </p:nvSpPr>
        <p:spPr>
          <a:xfrm>
            <a:off x="4932040" y="140355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5" name="오른쪽 화살표 94"/>
          <p:cNvSpPr/>
          <p:nvPr/>
        </p:nvSpPr>
        <p:spPr>
          <a:xfrm>
            <a:off x="5525853" y="214867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6" name="오른쪽 화살표 95"/>
          <p:cNvSpPr/>
          <p:nvPr/>
        </p:nvSpPr>
        <p:spPr>
          <a:xfrm>
            <a:off x="6907899" y="177281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오른쪽 화살표 16"/>
          <p:cNvSpPr/>
          <p:nvPr/>
        </p:nvSpPr>
        <p:spPr>
          <a:xfrm>
            <a:off x="5786265" y="249289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타원 3"/>
          <p:cNvSpPr/>
          <p:nvPr/>
        </p:nvSpPr>
        <p:spPr>
          <a:xfrm>
            <a:off x="5811542" y="3356992"/>
            <a:ext cx="525058" cy="504056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2" name="차트 1"/>
          <p:cNvGraphicFramePr/>
          <p:nvPr>
            <p:extLst>
              <p:ext uri="{D42A27DB-BD31-4B8C-83A1-F6EECF244321}">
                <p14:modId xmlns:p14="http://schemas.microsoft.com/office/powerpoint/2010/main" val="1690368628"/>
              </p:ext>
            </p:extLst>
          </p:nvPr>
        </p:nvGraphicFramePr>
        <p:xfrm>
          <a:off x="79490" y="3356992"/>
          <a:ext cx="7080448" cy="26800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3" name="차트 2"/>
          <p:cNvGraphicFramePr/>
          <p:nvPr>
            <p:extLst>
              <p:ext uri="{D42A27DB-BD31-4B8C-83A1-F6EECF244321}">
                <p14:modId xmlns:p14="http://schemas.microsoft.com/office/powerpoint/2010/main" val="2251104733"/>
              </p:ext>
            </p:extLst>
          </p:nvPr>
        </p:nvGraphicFramePr>
        <p:xfrm>
          <a:off x="529050" y="3356992"/>
          <a:ext cx="6096000" cy="20471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8" name="그림 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160" y="3099614"/>
            <a:ext cx="381196" cy="418897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1226356" y="3148050"/>
            <a:ext cx="19141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연도별 </a:t>
            </a:r>
            <a:r>
              <a:rPr lang="ko-KR" altLang="en-US" sz="14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화장률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추이</a:t>
            </a:r>
            <a:endParaRPr lang="ko-KR" altLang="en-US" sz="14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10" name="그림 9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6600" y="4293096"/>
            <a:ext cx="2559736" cy="1440160"/>
          </a:xfrm>
          <a:prstGeom prst="rect">
            <a:avLst/>
          </a:prstGeom>
        </p:spPr>
      </p:pic>
      <p:sp>
        <p:nvSpPr>
          <p:cNvPr id="24" name="오른쪽 화살표 23"/>
          <p:cNvSpPr/>
          <p:nvPr/>
        </p:nvSpPr>
        <p:spPr>
          <a:xfrm>
            <a:off x="391901" y="6226084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00616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5373" y="4484323"/>
            <a:ext cx="2768627" cy="15576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1289686" y="488310"/>
            <a:ext cx="7242754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『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지방 공설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사설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공영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화장시설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지원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』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93065" y="1195169"/>
            <a:ext cx="854343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공설화장시설 </a:t>
            </a:r>
            <a:r>
              <a:rPr lang="ko-KR" altLang="en-US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45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개 </a:t>
            </a:r>
            <a:r>
              <a:rPr lang="ko-KR" altLang="en-US" sz="1600" b="1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지자체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중 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55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개 지역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22.4%)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에만 설치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‘13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 기준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현행법상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공설화장시설 부족지역에 사설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공영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화장시설 설치 가능</a:t>
            </a:r>
          </a:p>
          <a:p>
            <a:pPr fontAlgn="base">
              <a:lnSpc>
                <a:spcPct val="150000"/>
              </a:lnSpc>
            </a:pP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- 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①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공설화장시설 미 설치 시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군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구 주민 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→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b="1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대기시간</a:t>
            </a:r>
            <a:r>
              <a:rPr lang="en-US" altLang="ko-KR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이용요금에서 </a:t>
            </a:r>
            <a:r>
              <a:rPr lang="ko-KR" altLang="en-US" sz="1400" b="1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차별</a:t>
            </a:r>
            <a:r>
              <a:rPr lang="en-US" altLang="ko-KR" sz="1400" b="1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b="1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불편</a:t>
            </a:r>
            <a:r>
              <a:rPr lang="en-US" altLang="ko-KR" sz="1400" b="1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b="1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불만 가중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endParaRPr lang="ko-KR" altLang="en-US" sz="14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- 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②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화장로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등 설치 국비지원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제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→ </a:t>
            </a:r>
            <a:r>
              <a:rPr lang="ko-KR" altLang="en-US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사설공영 화장시설은 제외</a:t>
            </a:r>
            <a:endParaRPr lang="ko-KR" altLang="en-US" sz="1400" dirty="0">
              <a:solidFill>
                <a:srgbClr val="C00000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611560" y="5534177"/>
            <a:ext cx="688863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  자치단체장 주도하에 화장시설 증설 및</a:t>
            </a:r>
            <a:endParaRPr lang="en-US" altLang="ko-KR" sz="20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인접 </a:t>
            </a:r>
            <a:r>
              <a:rPr lang="ko-KR" altLang="en-US" sz="20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他지역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공설화장시설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이용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차별 해소 대책」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필요</a:t>
            </a:r>
            <a:endParaRPr lang="ko-KR" altLang="en-US" sz="20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285" y="2969959"/>
            <a:ext cx="6350723" cy="196228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직사각형 1"/>
          <p:cNvSpPr/>
          <p:nvPr/>
        </p:nvSpPr>
        <p:spPr>
          <a:xfrm>
            <a:off x="4527207" y="3284985"/>
            <a:ext cx="2242802" cy="1647260"/>
          </a:xfrm>
          <a:prstGeom prst="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TextBox 9"/>
          <p:cNvSpPr txBox="1"/>
          <p:nvPr/>
        </p:nvSpPr>
        <p:spPr>
          <a:xfrm>
            <a:off x="7028978" y="3058607"/>
            <a:ext cx="1728192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성인 화장가격 </a:t>
            </a:r>
            <a:endParaRPr lang="en-US" altLang="ko-KR" sz="1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관내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관외 </a:t>
            </a:r>
            <a:endParaRPr lang="en-US" altLang="ko-KR" sz="1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>
              <a:lnSpc>
                <a:spcPct val="150000"/>
              </a:lnSpc>
            </a:pP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10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배 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차이</a:t>
            </a:r>
            <a:endParaRPr lang="ko-KR" altLang="en-US" sz="14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pSp>
        <p:nvGrpSpPr>
          <p:cNvPr id="15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16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12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12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18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그림 1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22" name="오른쪽 화살표 21"/>
          <p:cNvSpPr/>
          <p:nvPr/>
        </p:nvSpPr>
        <p:spPr>
          <a:xfrm>
            <a:off x="2267744" y="138160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오른쪽 화살표 20"/>
          <p:cNvSpPr/>
          <p:nvPr/>
        </p:nvSpPr>
        <p:spPr>
          <a:xfrm>
            <a:off x="441993" y="5709759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14197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953583" y="507290"/>
            <a:ext cx="7585412" cy="3976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『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복지사각지대 해소 및 취약계층 긴급지원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』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72615" y="1018259"/>
            <a:ext cx="7806001" cy="18928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갑작스러운 실업 등 위기 발생으로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생계유지 곤란한 빈곤층 증가세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·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‘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13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 긴급지원 건수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83,187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건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)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지원인원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137,565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명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)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 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전년대비 각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214%, 256%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급증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저임금의 일정한 수입을 이유로 기초생활수급대상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不포함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국민도 증가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일명 「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세모녀법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」등 복지사각지대 해소법안 </a:t>
            </a:r>
            <a:r>
              <a:rPr lang="ko-KR" altLang="en-US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국회에 계류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표류 중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여전한 복지사각지대 빈곤인구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117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 여명 </a:t>
            </a:r>
            <a:r>
              <a:rPr lang="ko-KR" altLang="en-US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해소대책 및 재원이 숙제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462234" y="6139373"/>
            <a:ext cx="8568109" cy="530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『</a:t>
            </a:r>
            <a:r>
              <a:rPr lang="ko-KR" altLang="en-US" sz="19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신빈곤층</a:t>
            </a:r>
            <a:r>
              <a:rPr lang="en-US" altLang="ko-KR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』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해소 위해 「소득</a:t>
            </a:r>
            <a:r>
              <a:rPr lang="en-US" altLang="ko-KR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재산기준 완화」</a:t>
            </a:r>
            <a:r>
              <a:rPr lang="en-US" altLang="ko-KR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「긴급지원 제도화」 시급</a:t>
            </a:r>
            <a:endParaRPr lang="ko-KR" altLang="en-US" sz="19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2943120"/>
            <a:ext cx="4685048" cy="301679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그림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6" y="3837812"/>
            <a:ext cx="3040120" cy="12274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3" name="직사각형 12"/>
          <p:cNvSpPr/>
          <p:nvPr/>
        </p:nvSpPr>
        <p:spPr>
          <a:xfrm>
            <a:off x="827584" y="5589240"/>
            <a:ext cx="1512168" cy="288032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직사각형 18"/>
          <p:cNvSpPr/>
          <p:nvPr/>
        </p:nvSpPr>
        <p:spPr>
          <a:xfrm>
            <a:off x="2483768" y="5590390"/>
            <a:ext cx="1368152" cy="288032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" name="직사각형 19"/>
          <p:cNvSpPr/>
          <p:nvPr/>
        </p:nvSpPr>
        <p:spPr>
          <a:xfrm>
            <a:off x="3954201" y="5597624"/>
            <a:ext cx="1409887" cy="288032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17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18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12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12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22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4" name="그림 2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25" name="오른쪽 화살표 24"/>
          <p:cNvSpPr/>
          <p:nvPr/>
        </p:nvSpPr>
        <p:spPr>
          <a:xfrm>
            <a:off x="5534520" y="154654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오른쪽 화살표 25"/>
          <p:cNvSpPr/>
          <p:nvPr/>
        </p:nvSpPr>
        <p:spPr>
          <a:xfrm>
            <a:off x="5404620" y="223587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오른쪽 화살표 26"/>
          <p:cNvSpPr/>
          <p:nvPr/>
        </p:nvSpPr>
        <p:spPr>
          <a:xfrm>
            <a:off x="5148064" y="263691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8" name="오른쪽 화살표 27"/>
          <p:cNvSpPr/>
          <p:nvPr/>
        </p:nvSpPr>
        <p:spPr>
          <a:xfrm>
            <a:off x="195972" y="6248837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421437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repeatCount="3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repeatCount="3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repeatCount="3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9" grpId="0" animBg="1"/>
      <p:bldP spid="20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932622" y="417234"/>
            <a:ext cx="7585412" cy="4124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보건복지부 산하 </a:t>
            </a:r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주요 공공기관 현황 </a:t>
            </a:r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점검</a:t>
            </a:r>
            <a:endParaRPr lang="en-US" sz="2600" dirty="0" smtClean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656277" y="5663792"/>
            <a:ext cx="8412216" cy="9437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정보원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진흥원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개발원 등 일부 업무중복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산만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경영개선 등 대책 강구</a:t>
            </a:r>
            <a:endParaRPr lang="en-US" altLang="ko-KR" sz="20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총 정원 대비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무기계약직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0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비정규직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소속 외 인력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23%)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대책 필요</a:t>
            </a:r>
            <a:endParaRPr lang="en-US" altLang="ko-KR" sz="20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2048318"/>
              </p:ext>
            </p:extLst>
          </p:nvPr>
        </p:nvGraphicFramePr>
        <p:xfrm>
          <a:off x="476230" y="1318709"/>
          <a:ext cx="8229600" cy="4143454"/>
        </p:xfrm>
        <a:graphic>
          <a:graphicData uri="http://schemas.openxmlformats.org/drawingml/2006/table">
            <a:tbl>
              <a:tblPr/>
              <a:tblGrid>
                <a:gridCol w="1575490"/>
                <a:gridCol w="792088"/>
                <a:gridCol w="1556757"/>
                <a:gridCol w="387459"/>
                <a:gridCol w="792088"/>
                <a:gridCol w="1008112"/>
                <a:gridCol w="1080120"/>
                <a:gridCol w="1037486"/>
              </a:tblGrid>
              <a:tr h="211967">
                <a:tc row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kern="0" spc="0" dirty="0" err="1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관명</a:t>
                      </a:r>
                      <a:endParaRPr lang="ko-KR" altLang="en-US" sz="900" b="1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원 </a:t>
                      </a:r>
                      <a:r>
                        <a:rPr lang="en-US" altLang="ko-KR" sz="9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명</a:t>
                      </a:r>
                      <a:r>
                        <a:rPr lang="en-US" altLang="ko-KR" sz="9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900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무기계약직 </a:t>
                      </a:r>
                      <a:r>
                        <a:rPr lang="en-US" altLang="ko-KR" sz="900" b="1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+</a:t>
                      </a:r>
                      <a:r>
                        <a:rPr lang="ko-KR" altLang="en-US" sz="900" b="1" kern="0" spc="0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정규직</a:t>
                      </a:r>
                      <a:r>
                        <a:rPr lang="ko-KR" altLang="en-US" sz="900" b="1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900" b="1" kern="0" spc="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+</a:t>
                      </a:r>
                    </a:p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kern="0" spc="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속 </a:t>
                      </a:r>
                      <a:r>
                        <a:rPr lang="ko-KR" altLang="en-US" sz="900" b="1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외 인력 </a:t>
                      </a:r>
                      <a:r>
                        <a:rPr lang="en-US" altLang="ko-KR" sz="9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명</a:t>
                      </a:r>
                      <a:r>
                        <a:rPr lang="en-US" altLang="ko-KR" sz="9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900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보수수준 </a:t>
                      </a:r>
                      <a:r>
                        <a:rPr lang="en-US" altLang="ko-KR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천원</a:t>
                      </a:r>
                      <a:r>
                        <a:rPr lang="en-US" altLang="ko-KR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900" kern="0" spc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외부평가결과 </a:t>
                      </a:r>
                      <a:r>
                        <a:rPr lang="en-US" altLang="ko-KR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재부 주관</a:t>
                      </a:r>
                      <a:r>
                        <a:rPr lang="en-US" altLang="ko-KR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900" kern="0" spc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1196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관장</a:t>
                      </a:r>
                      <a:endParaRPr lang="ko-KR" altLang="en-US" sz="900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b="1" kern="0" spc="0" dirty="0">
                          <a:solidFill>
                            <a:srgbClr val="C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영실적</a:t>
                      </a:r>
                      <a:endParaRPr lang="ko-KR" altLang="en-US" sz="1000" kern="0" spc="0" dirty="0">
                        <a:solidFill>
                          <a:srgbClr val="C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b="1" kern="0" spc="0" dirty="0">
                          <a:solidFill>
                            <a:srgbClr val="C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만족도</a:t>
                      </a:r>
                      <a:endParaRPr lang="ko-KR" altLang="en-US" sz="1000" kern="0" spc="0" dirty="0">
                        <a:solidFill>
                          <a:srgbClr val="C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b="1" kern="0" spc="0" dirty="0">
                          <a:solidFill>
                            <a:srgbClr val="C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종합청렴도</a:t>
                      </a:r>
                      <a:endParaRPr lang="ko-KR" altLang="en-US" sz="1000" kern="0" spc="0" dirty="0">
                        <a:solidFill>
                          <a:srgbClr val="C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</a:tr>
              <a:tr h="299351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국민연금공단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,781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07 (12.69%)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63,017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양호</a:t>
                      </a:r>
                      <a:r>
                        <a:rPr lang="en-US" altLang="ko-KR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)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우수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미흡</a:t>
                      </a:r>
                    </a:p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4</a:t>
                      </a: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급</a:t>
                      </a:r>
                      <a:r>
                        <a:rPr lang="en-US" altLang="ko-KR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900" kern="0" spc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0430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건강보험심사평가원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,917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65 (13.82%)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48,934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보통</a:t>
                      </a:r>
                      <a:r>
                        <a:rPr lang="en-US" altLang="ko-KR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)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우수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48278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-4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건강보험공단</a:t>
                      </a:r>
                      <a:endParaRPr lang="ko-KR" altLang="en-US" sz="900" kern="0" spc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2,430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,748 (14.06%)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48,934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-2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양호</a:t>
                      </a:r>
                      <a:r>
                        <a:rPr lang="en-US" altLang="ko-KR" sz="900" kern="0" spc="-2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900" kern="0" spc="-2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)</a:t>
                      </a:r>
                      <a:endParaRPr lang="en-US" sz="900" kern="0" spc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-2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우수</a:t>
                      </a:r>
                      <a:endParaRPr lang="ko-KR" altLang="en-US" sz="900" kern="0" spc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24661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-4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건강보험공단일</a:t>
                      </a: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산병원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62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75 (80.56%)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47,531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-2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난 </a:t>
                      </a:r>
                      <a:r>
                        <a:rPr lang="en-US" altLang="ko-KR" sz="900" kern="0" spc="-2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</a:t>
                      </a:r>
                      <a:r>
                        <a:rPr lang="ko-KR" altLang="en-US" sz="900" kern="0" spc="-2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간 외부 평가 결과 없음</a:t>
                      </a:r>
                      <a:endParaRPr lang="ko-KR" altLang="en-US" sz="900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20430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노인인력개발원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3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 (10.75%)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40,908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양호</a:t>
                      </a:r>
                      <a:r>
                        <a:rPr lang="en-US" altLang="ko-KR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)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우수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-6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미흡</a:t>
                      </a:r>
                      <a:r>
                        <a:rPr lang="en-US" altLang="ko-KR" sz="900" kern="0" spc="-6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4</a:t>
                      </a:r>
                      <a:r>
                        <a:rPr lang="ko-KR" altLang="en-US" sz="900" kern="0" spc="-6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급</a:t>
                      </a:r>
                      <a:r>
                        <a:rPr lang="en-US" altLang="ko-KR" sz="900" kern="0" spc="-6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900" kern="0" spc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0430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보건복지인력개발원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8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4 (194.82%)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77,102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양호</a:t>
                      </a:r>
                      <a:r>
                        <a:rPr lang="en-US" altLang="ko-KR" sz="9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9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)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양호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우수</a:t>
                      </a:r>
                    </a:p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2</a:t>
                      </a: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급</a:t>
                      </a:r>
                      <a:r>
                        <a:rPr lang="en-US" altLang="ko-KR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900" kern="0" spc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0430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보건복지정보개발원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99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07 (102.67%)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48,934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미흡</a:t>
                      </a:r>
                      <a:r>
                        <a:rPr lang="en-US" altLang="ko-KR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)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보통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20430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-1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보건산업진흥원</a:t>
                      </a:r>
                      <a:endParaRPr lang="ko-KR" altLang="en-US" sz="900" kern="0" spc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55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87 (185.16%)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48,934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미흡</a:t>
                      </a:r>
                      <a:r>
                        <a:rPr lang="en-US" altLang="ko-KR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)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보통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보통 </a:t>
                      </a:r>
                      <a:r>
                        <a:rPr lang="en-US" altLang="ko-KR" sz="9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3</a:t>
                      </a: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급</a:t>
                      </a:r>
                      <a:r>
                        <a:rPr lang="en-US" altLang="ko-KR" sz="9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900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0430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국립암센터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,197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08 (50.87%)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19,276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우수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미흡</a:t>
                      </a:r>
                    </a:p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4</a:t>
                      </a: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급</a:t>
                      </a:r>
                      <a:r>
                        <a:rPr lang="en-US" altLang="ko-KR" sz="9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900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0430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국립중앙의료원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28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93 (42.78%)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17,083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양호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20430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한적십자사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,269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24 (16.02%)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8,400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양호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보통 </a:t>
                      </a:r>
                      <a:r>
                        <a:rPr lang="en-US" altLang="ko-KR" sz="9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3</a:t>
                      </a: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급</a:t>
                      </a:r>
                      <a:r>
                        <a:rPr lang="en-US" altLang="ko-KR" sz="9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900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0430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국제보건의료재단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0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 (16%)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상임</a:t>
                      </a:r>
                      <a:r>
                        <a:rPr lang="en-US" altLang="ko-KR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36,000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-2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난 </a:t>
                      </a:r>
                      <a:r>
                        <a:rPr lang="en-US" altLang="ko-KR" sz="900" kern="0" spc="-2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</a:t>
                      </a:r>
                      <a:r>
                        <a:rPr lang="ko-KR" altLang="en-US" sz="900" kern="0" spc="-2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간 외부 평가 결과 없음</a:t>
                      </a:r>
                      <a:endParaRPr lang="ko-KR" altLang="en-US" sz="900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20430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-1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보건의료연구원</a:t>
                      </a:r>
                      <a:endParaRPr lang="ko-KR" altLang="en-US" sz="900" kern="0" spc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1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7 (66.19%)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20,765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미흡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0430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보육진흥원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9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39 (574.57%)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5,000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미흡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0430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인개발원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0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9 (138%)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50,479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미흡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1994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kern="0" spc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계</a:t>
                      </a:r>
                      <a:endParaRPr lang="ko-KR" altLang="en-US" sz="900" kern="0" spc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6,319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101 (23.18%)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평균</a:t>
                      </a:r>
                      <a:endParaRPr lang="ko-KR" altLang="en-US" sz="900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65,378</a:t>
                      </a: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900" kern="0" spc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 marL="50187" marR="50187" marT="13875" marB="1387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pSp>
        <p:nvGrpSpPr>
          <p:cNvPr id="14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15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12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12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17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9" name="그림 1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13" name="오른쪽 화살표 12"/>
          <p:cNvSpPr/>
          <p:nvPr/>
        </p:nvSpPr>
        <p:spPr>
          <a:xfrm>
            <a:off x="317144" y="5805264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오른쪽 화살표 20"/>
          <p:cNvSpPr/>
          <p:nvPr/>
        </p:nvSpPr>
        <p:spPr>
          <a:xfrm>
            <a:off x="317143" y="6263742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59278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59"/>
          <p:cNvGrpSpPr/>
          <p:nvPr/>
        </p:nvGrpSpPr>
        <p:grpSpPr>
          <a:xfrm>
            <a:off x="1889128" y="4893441"/>
            <a:ext cx="2319867" cy="158080"/>
            <a:chOff x="741832" y="3340071"/>
            <a:chExt cx="3507639" cy="222148"/>
          </a:xfrm>
        </p:grpSpPr>
        <p:grpSp>
          <p:nvGrpSpPr>
            <p:cNvPr id="21" name="Group 8"/>
            <p:cNvGrpSpPr/>
            <p:nvPr>
              <p:custDataLst>
                <p:tags r:id="rId3"/>
              </p:custDataLst>
            </p:nvPr>
          </p:nvGrpSpPr>
          <p:grpSpPr>
            <a:xfrm>
              <a:off x="4026648" y="3340071"/>
              <a:ext cx="222823" cy="222148"/>
              <a:chOff x="7535636" y="2666546"/>
              <a:chExt cx="523875" cy="522288"/>
            </a:xfrm>
            <a:effectLst>
              <a:outerShdw blurRad="25400" dist="12700" dir="5400000" algn="t" rotWithShape="0">
                <a:prstClr val="black">
                  <a:alpha val="25000"/>
                </a:prstClr>
              </a:outerShdw>
            </a:effectLst>
          </p:grpSpPr>
          <p:sp>
            <p:nvSpPr>
              <p:cNvPr id="23" name="Oval 56"/>
              <p:cNvSpPr/>
              <p:nvPr/>
            </p:nvSpPr>
            <p:spPr bwMode="auto">
              <a:xfrm>
                <a:off x="7535636" y="2666546"/>
                <a:ext cx="523875" cy="522288"/>
              </a:xfrm>
              <a:prstGeom prst="ellipse">
                <a:avLst/>
              </a:prstGeom>
              <a:gradFill>
                <a:gsLst>
                  <a:gs pos="0">
                    <a:schemeClr val="bg1"/>
                  </a:gs>
                  <a:gs pos="100000">
                    <a:schemeClr val="bg1">
                      <a:lumMod val="85000"/>
                    </a:schemeClr>
                  </a:gs>
                </a:gsLst>
                <a:lin ang="5400000" scaled="0"/>
              </a:gradFill>
              <a:ln w="3175">
                <a:solidFill>
                  <a:schemeClr val="bg1"/>
                </a:solidFill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nb-NO">
                  <a:solidFill>
                    <a:srgbClr val="FFFFFF"/>
                  </a:solidFill>
                  <a:ea typeface="ＭＳ Ｐゴシック" charset="-128"/>
                  <a:cs typeface="Arial" charset="0"/>
                </a:endParaRPr>
              </a:p>
            </p:txBody>
          </p:sp>
          <p:sp>
            <p:nvSpPr>
              <p:cNvPr id="24" name="Oval 57"/>
              <p:cNvSpPr/>
              <p:nvPr/>
            </p:nvSpPr>
            <p:spPr bwMode="auto">
              <a:xfrm>
                <a:off x="7681686" y="2807834"/>
                <a:ext cx="239713" cy="239712"/>
              </a:xfrm>
              <a:prstGeom prst="ellipse">
                <a:avLst/>
              </a:prstGeom>
              <a:solidFill>
                <a:srgbClr val="F0B71F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nb-NO">
                  <a:latin typeface="Calibri" charset="0"/>
                  <a:ea typeface="ＭＳ Ｐゴシック" charset="-128"/>
                </a:endParaRPr>
              </a:p>
            </p:txBody>
          </p:sp>
        </p:grpSp>
        <p:cxnSp>
          <p:nvCxnSpPr>
            <p:cNvPr id="22" name="Straight Connector 37"/>
            <p:cNvCxnSpPr/>
            <p:nvPr>
              <p:custDataLst>
                <p:tags r:id="rId4"/>
              </p:custDataLst>
            </p:nvPr>
          </p:nvCxnSpPr>
          <p:spPr>
            <a:xfrm>
              <a:off x="741832" y="3448050"/>
              <a:ext cx="3392201" cy="0"/>
            </a:xfrm>
            <a:prstGeom prst="line">
              <a:avLst/>
            </a:prstGeom>
            <a:ln w="3175">
              <a:solidFill>
                <a:srgbClr val="F0B71F"/>
              </a:solidFill>
              <a:headEnd type="oval" w="sm" len="sm"/>
              <a:tailEnd type="oval" w="sm" len="sm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TextBox 10"/>
          <p:cNvSpPr txBox="1"/>
          <p:nvPr/>
        </p:nvSpPr>
        <p:spPr>
          <a:xfrm>
            <a:off x="953583" y="507290"/>
            <a:ext cx="7585412" cy="3976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국정과제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건강보험료  부과체계  개편」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8407" y="1201680"/>
            <a:ext cx="847032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세계가 주목하는 건강보험제도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「부과체계 개편」 논의만 수년째 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국민 불신 가중</a:t>
            </a:r>
            <a:endParaRPr lang="en-US" altLang="ko-KR" sz="1600" b="1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5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년간 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국민권익위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보건복지 민원 중 「건강보험 민원」이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최다 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국민 </a:t>
            </a:r>
            <a:r>
              <a:rPr lang="ko-KR" altLang="en-US" sz="1600" b="1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답답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최고조</a:t>
            </a:r>
            <a:endParaRPr lang="en-US" altLang="ko-KR" sz="1600" b="1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＇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13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년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공단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보험료 부과관련 민원」 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5,730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만 건 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전체 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7,160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만 건의 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80%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차지</a:t>
            </a:r>
            <a:endParaRPr lang="en-US" altLang="ko-KR" sz="1600" b="1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「가입자 부담능력」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제대로 반영 못하는 제도    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54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만 세대 체납 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6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개월 이상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4.2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現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건강보험제도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“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국민만족도는 높으나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불형평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불공정한 부과체계엔 불만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”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여론</a:t>
            </a:r>
            <a:endParaRPr lang="en-US" altLang="ko-KR" sz="1600" b="1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b="1" dirty="0" smtClean="0">
                <a:latin typeface="Adobe 명조 Std M" pitchFamily="18" charset="-127"/>
                <a:ea typeface="Adobe 명조 Std M" pitchFamily="18" charset="-127"/>
              </a:rPr>
              <a:t>  </a:t>
            </a: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송파 「</a:t>
            </a:r>
            <a:r>
              <a:rPr lang="ko-KR" altLang="en-US" sz="1400" b="1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세모녀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: 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無소득</a:t>
            </a: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월세」 세대도 월 </a:t>
            </a: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5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만원의 보험료가 부과되는 상황</a:t>
            </a:r>
            <a:endParaRPr lang="en-US" altLang="ko-KR" sz="1600" spc="-15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13" name="Oval 46"/>
          <p:cNvSpPr/>
          <p:nvPr/>
        </p:nvSpPr>
        <p:spPr>
          <a:xfrm>
            <a:off x="971391" y="4140177"/>
            <a:ext cx="1274697" cy="1274697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/>
          <p:cNvSpPr txBox="1"/>
          <p:nvPr/>
        </p:nvSpPr>
        <p:spPr>
          <a:xfrm>
            <a:off x="1053052" y="4533270"/>
            <a:ext cx="11113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5</a:t>
            </a:r>
            <a:r>
              <a:rPr lang="ko-KR" altLang="en-US" sz="2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만원</a:t>
            </a:r>
            <a:endParaRPr lang="ko-KR" altLang="en-US" sz="2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406424" y="5026417"/>
            <a:ext cx="167458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송파세모녀</a:t>
            </a:r>
            <a:endParaRPr lang="ko-KR" altLang="en-US" sz="14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pSp>
        <p:nvGrpSpPr>
          <p:cNvPr id="33" name="Group 59"/>
          <p:cNvGrpSpPr/>
          <p:nvPr/>
        </p:nvGrpSpPr>
        <p:grpSpPr>
          <a:xfrm>
            <a:off x="4766558" y="4882053"/>
            <a:ext cx="3258862" cy="205526"/>
            <a:chOff x="741832" y="3340071"/>
            <a:chExt cx="3507639" cy="222148"/>
          </a:xfrm>
        </p:grpSpPr>
        <p:grpSp>
          <p:nvGrpSpPr>
            <p:cNvPr id="34" name="Group 8"/>
            <p:cNvGrpSpPr/>
            <p:nvPr>
              <p:custDataLst>
                <p:tags r:id="rId1"/>
              </p:custDataLst>
            </p:nvPr>
          </p:nvGrpSpPr>
          <p:grpSpPr>
            <a:xfrm>
              <a:off x="4026648" y="3340071"/>
              <a:ext cx="222823" cy="222148"/>
              <a:chOff x="7535636" y="2666546"/>
              <a:chExt cx="523875" cy="522288"/>
            </a:xfrm>
            <a:effectLst>
              <a:outerShdw blurRad="25400" dist="12700" dir="5400000" algn="t" rotWithShape="0">
                <a:prstClr val="black">
                  <a:alpha val="25000"/>
                </a:prstClr>
              </a:outerShdw>
            </a:effectLst>
          </p:grpSpPr>
          <p:sp>
            <p:nvSpPr>
              <p:cNvPr id="36" name="Oval 56"/>
              <p:cNvSpPr/>
              <p:nvPr/>
            </p:nvSpPr>
            <p:spPr bwMode="auto">
              <a:xfrm>
                <a:off x="7535636" y="2666546"/>
                <a:ext cx="523875" cy="522288"/>
              </a:xfrm>
              <a:prstGeom prst="ellipse">
                <a:avLst/>
              </a:prstGeom>
              <a:gradFill>
                <a:gsLst>
                  <a:gs pos="0">
                    <a:schemeClr val="bg1"/>
                  </a:gs>
                  <a:gs pos="100000">
                    <a:schemeClr val="bg1">
                      <a:lumMod val="85000"/>
                    </a:schemeClr>
                  </a:gs>
                </a:gsLst>
                <a:lin ang="5400000" scaled="0"/>
              </a:gradFill>
              <a:ln w="3175">
                <a:solidFill>
                  <a:schemeClr val="bg1"/>
                </a:solidFill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nb-NO">
                  <a:solidFill>
                    <a:srgbClr val="FFFFFF"/>
                  </a:solidFill>
                  <a:ea typeface="ＭＳ Ｐゴシック" charset="-128"/>
                  <a:cs typeface="Arial" charset="0"/>
                </a:endParaRPr>
              </a:p>
            </p:txBody>
          </p:sp>
          <p:sp>
            <p:nvSpPr>
              <p:cNvPr id="37" name="Oval 57"/>
              <p:cNvSpPr/>
              <p:nvPr/>
            </p:nvSpPr>
            <p:spPr bwMode="auto">
              <a:xfrm>
                <a:off x="7681686" y="2807834"/>
                <a:ext cx="239713" cy="239712"/>
              </a:xfrm>
              <a:prstGeom prst="ellipse">
                <a:avLst/>
              </a:prstGeom>
              <a:solidFill>
                <a:srgbClr val="F0B71F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nb-NO">
                  <a:latin typeface="Calibri" charset="0"/>
                  <a:ea typeface="ＭＳ Ｐゴシック" charset="-128"/>
                </a:endParaRPr>
              </a:p>
            </p:txBody>
          </p:sp>
        </p:grpSp>
        <p:cxnSp>
          <p:nvCxnSpPr>
            <p:cNvPr id="35" name="Straight Connector 37"/>
            <p:cNvCxnSpPr/>
            <p:nvPr>
              <p:custDataLst>
                <p:tags r:id="rId2"/>
              </p:custDataLst>
            </p:nvPr>
          </p:nvCxnSpPr>
          <p:spPr>
            <a:xfrm>
              <a:off x="741832" y="3448050"/>
              <a:ext cx="3392201" cy="0"/>
            </a:xfrm>
            <a:prstGeom prst="line">
              <a:avLst/>
            </a:prstGeom>
            <a:ln w="3175">
              <a:solidFill>
                <a:srgbClr val="F0B71F"/>
              </a:solidFill>
              <a:headEnd type="oval" w="sm" len="sm"/>
              <a:tailEnd type="oval" w="sm" len="sm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" name="Oval 46"/>
          <p:cNvSpPr/>
          <p:nvPr/>
        </p:nvSpPr>
        <p:spPr>
          <a:xfrm>
            <a:off x="4418184" y="4140177"/>
            <a:ext cx="1274697" cy="1274697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extBox 38"/>
          <p:cNvSpPr txBox="1"/>
          <p:nvPr/>
        </p:nvSpPr>
        <p:spPr>
          <a:xfrm>
            <a:off x="4712237" y="4533269"/>
            <a:ext cx="6865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4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0</a:t>
            </a:r>
            <a:r>
              <a:rPr lang="ko-KR" altLang="en-US" sz="24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원</a:t>
            </a:r>
            <a:endParaRPr lang="ko-KR" altLang="en-US" sz="240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5788051" y="5037506"/>
            <a:ext cx="20746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2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주택 소유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피부양자</a:t>
            </a:r>
            <a:endParaRPr lang="en-US" altLang="ko-KR" sz="1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/>
            <a:r>
              <a:rPr lang="en-US" altLang="ko-KR" sz="1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120</a:t>
            </a:r>
            <a:r>
              <a:rPr lang="ko-KR" altLang="en-US" sz="1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만 명</a:t>
            </a:r>
            <a:endParaRPr lang="ko-KR" altLang="en-US" sz="14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069279" y="5962602"/>
            <a:ext cx="7814203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20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사회적 합의 통한 소득중심 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보험료 부과체계 개선」 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시급</a:t>
            </a:r>
            <a:endParaRPr lang="ko-KR" altLang="en-US" sz="22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14" name="그림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1544" y="4054233"/>
            <a:ext cx="1779462" cy="918248"/>
          </a:xfrm>
          <a:prstGeom prst="rect">
            <a:avLst/>
          </a:prstGeom>
        </p:spPr>
      </p:pic>
      <p:pic>
        <p:nvPicPr>
          <p:cNvPr id="15" name="그림 1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3529" y="4110925"/>
            <a:ext cx="927163" cy="871533"/>
          </a:xfrm>
          <a:prstGeom prst="rect">
            <a:avLst/>
          </a:prstGeom>
        </p:spPr>
      </p:pic>
      <p:pic>
        <p:nvPicPr>
          <p:cNvPr id="31" name="그림 30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0700" y="4113283"/>
            <a:ext cx="927163" cy="871533"/>
          </a:xfrm>
          <a:prstGeom prst="rect">
            <a:avLst/>
          </a:prstGeom>
        </p:spPr>
      </p:pic>
      <p:grpSp>
        <p:nvGrpSpPr>
          <p:cNvPr id="32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43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4" name="TextBox 43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12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12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45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7" name="그림 4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48" name="오른쪽 화살표 47"/>
          <p:cNvSpPr/>
          <p:nvPr/>
        </p:nvSpPr>
        <p:spPr>
          <a:xfrm>
            <a:off x="7089351" y="138374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9" name="오른쪽 화살표 48"/>
          <p:cNvSpPr/>
          <p:nvPr/>
        </p:nvSpPr>
        <p:spPr>
          <a:xfrm>
            <a:off x="6873327" y="172422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0" name="오른쪽 화살표 49"/>
          <p:cNvSpPr/>
          <p:nvPr/>
        </p:nvSpPr>
        <p:spPr>
          <a:xfrm>
            <a:off x="5735517" y="213285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1" name="오른쪽 화살표 50"/>
          <p:cNvSpPr/>
          <p:nvPr/>
        </p:nvSpPr>
        <p:spPr>
          <a:xfrm>
            <a:off x="5060679" y="249289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2" name="오른쪽 화살표 51"/>
          <p:cNvSpPr/>
          <p:nvPr/>
        </p:nvSpPr>
        <p:spPr>
          <a:xfrm>
            <a:off x="620471" y="6107749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4885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9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5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12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12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7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그림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929322" y="451614"/>
            <a:ext cx="7585412" cy="3976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「의료 해외진출</a:t>
            </a:r>
            <a:r>
              <a:rPr lang="en-US" altLang="ko-KR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해외환자 유치 정책」 문제</a:t>
            </a:r>
            <a:endParaRPr lang="en-US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aphicFrame>
        <p:nvGraphicFramePr>
          <p:cNvPr id="10" name="Chart 14"/>
          <p:cNvGraphicFramePr/>
          <p:nvPr>
            <p:extLst>
              <p:ext uri="{D42A27DB-BD31-4B8C-83A1-F6EECF244321}">
                <p14:modId xmlns:p14="http://schemas.microsoft.com/office/powerpoint/2010/main" val="3202602162"/>
              </p:ext>
            </p:extLst>
          </p:nvPr>
        </p:nvGraphicFramePr>
        <p:xfrm>
          <a:off x="2514620" y="2708772"/>
          <a:ext cx="7129622" cy="26599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4154" y="3274882"/>
            <a:ext cx="684957" cy="47698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7961527" y="3137732"/>
            <a:ext cx="90054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단위</a:t>
            </a:r>
            <a:r>
              <a:rPr lang="en-US" altLang="ko-KR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: </a:t>
            </a:r>
            <a:r>
              <a:rPr lang="ko-KR" altLang="en-US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명</a:t>
            </a:r>
            <a:r>
              <a:rPr lang="en-US" altLang="ko-KR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endParaRPr lang="ko-KR" altLang="en-US" sz="1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0182" y="3513371"/>
            <a:ext cx="675010" cy="47005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0125" y="3751862"/>
            <a:ext cx="675010" cy="47005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8" name="Picture 6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7938" y="3856679"/>
            <a:ext cx="675010" cy="50448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9" name="Picture 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0858" y="3975873"/>
            <a:ext cx="679997" cy="49207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476230" y="1338650"/>
            <a:ext cx="832630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단기사업에 집착    의료글로벌화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진출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)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허브화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유치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위한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큰 그림」 없어</a:t>
            </a:r>
            <a:endParaRPr lang="en-US" altLang="ko-KR" sz="1600" b="1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3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년간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12~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14)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예산 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308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억원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사후 관리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점검 부실 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길라잡이 역할」 미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흡</a:t>
            </a:r>
            <a:endParaRPr lang="en-US" altLang="ko-KR" sz="1600" b="1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「모셔오는 中東 환자」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에 집중 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찾아 드는 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Asia·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러시아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환자」엔 상대적 소홀</a:t>
            </a:r>
            <a:endParaRPr lang="en-US" altLang="ko-KR" sz="1600" b="1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70678" y="5865386"/>
            <a:ext cx="870428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권역별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국가별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해외 의료진출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의료관광객 집중 유치정책」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적극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추진</a:t>
            </a:r>
            <a:endParaRPr lang="ko-KR" altLang="en-US" sz="2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634" y="2953194"/>
            <a:ext cx="2657475" cy="2428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직선 연결선 12"/>
          <p:cNvCxnSpPr/>
          <p:nvPr/>
        </p:nvCxnSpPr>
        <p:spPr>
          <a:xfrm flipV="1">
            <a:off x="2204657" y="3551977"/>
            <a:ext cx="356145" cy="847792"/>
          </a:xfrm>
          <a:prstGeom prst="line">
            <a:avLst/>
          </a:prstGeom>
          <a:ln w="44450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오른쪽 화살표 21"/>
          <p:cNvSpPr/>
          <p:nvPr/>
        </p:nvSpPr>
        <p:spPr>
          <a:xfrm>
            <a:off x="2452790" y="151926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오른쪽 화살표 22"/>
          <p:cNvSpPr/>
          <p:nvPr/>
        </p:nvSpPr>
        <p:spPr>
          <a:xfrm>
            <a:off x="6087630" y="187370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오른쪽 화살표 23"/>
          <p:cNvSpPr/>
          <p:nvPr/>
        </p:nvSpPr>
        <p:spPr>
          <a:xfrm>
            <a:off x="3749140" y="226997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오른쪽 화살표 24"/>
          <p:cNvSpPr/>
          <p:nvPr/>
        </p:nvSpPr>
        <p:spPr>
          <a:xfrm>
            <a:off x="156067" y="5986392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570745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6" presetClass="emph" presetSubtype="0" repeatCount="5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750" tmFilter="0, 0; .2, .5; .8, .5; 1, 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" dur="375" autoRev="1" fill="hold"/>
                                        <p:tgtEl>
                                          <p:spTgt spid="307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1413462" y="507290"/>
            <a:ext cx="6572574" cy="4124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altLang="ko-KR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『</a:t>
            </a:r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의료관련 감염</a:t>
            </a:r>
            <a:r>
              <a:rPr lang="en-US" altLang="ko-KR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26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병원內</a:t>
            </a:r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2</a:t>
            </a:r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차 감염</a:t>
            </a:r>
            <a:r>
              <a:rPr lang="en-US" altLang="ko-KR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』 </a:t>
            </a:r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sz="26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19955" y="1171939"/>
            <a:ext cx="815958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병원성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내인성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미생물이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주요인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입원환자의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5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∼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0%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선 발생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  의료기구가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주원인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「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감염관리실」설치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병상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200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↑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병원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(280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여개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 의무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 「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감염감시체계」참여 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9%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*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중환자실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감염감시 참여병원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97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개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34.6%)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수술부위 감염감시 참여병원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67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개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23.9%)</a:t>
            </a:r>
            <a:endParaRPr lang="ko-KR" altLang="en-US" sz="14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①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「年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1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회 서면조사」만으로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2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차 감염 실태조사</a:t>
            </a:r>
            <a:r>
              <a:rPr lang="en-US" altLang="ko-KR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400" b="1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질본</a:t>
            </a:r>
            <a:r>
              <a:rPr lang="en-US" altLang="ko-KR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부실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지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속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②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행정기관에</a:t>
            </a:r>
            <a:r>
              <a:rPr lang="ko-KR" altLang="en-US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「발생보고 의무」없고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「통계 신뢰도」매우 낮음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③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해당 의료기관의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2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차 감염 관리활동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미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흡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</a:t>
            </a:r>
            <a:r>
              <a:rPr lang="ko-KR" altLang="en-US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「처벌근거」없음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938125" y="5908649"/>
            <a:ext cx="804663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의료불신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분쟁 자초하는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제도 미흡」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관리 부실」</a:t>
            </a:r>
            <a:r>
              <a:rPr lang="ko-KR" altLang="en-US" sz="2000" dirty="0" smtClean="0">
                <a:solidFill>
                  <a:schemeClr val="accent2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대책 필요</a:t>
            </a:r>
            <a:endParaRPr lang="ko-KR" altLang="en-US" sz="2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9639" y="3593752"/>
            <a:ext cx="1092624" cy="10926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그림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8630" y="3593752"/>
            <a:ext cx="1086344" cy="10926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TextBox 9"/>
          <p:cNvSpPr txBox="1"/>
          <p:nvPr/>
        </p:nvSpPr>
        <p:spPr>
          <a:xfrm>
            <a:off x="1909140" y="4686376"/>
            <a:ext cx="124215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600" dirty="0" smtClean="0">
                <a:solidFill>
                  <a:schemeClr val="accent1">
                    <a:lumMod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병원환경</a:t>
            </a:r>
            <a:endParaRPr lang="ko-KR" altLang="en-US" sz="1600" dirty="0">
              <a:solidFill>
                <a:schemeClr val="accent1">
                  <a:lumMod val="50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223817" y="4686376"/>
            <a:ext cx="159597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600" dirty="0" smtClean="0">
                <a:solidFill>
                  <a:schemeClr val="accent1">
                    <a:lumMod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사람과의 접촉</a:t>
            </a:r>
            <a:endParaRPr lang="ko-KR" altLang="en-US" sz="1600" dirty="0">
              <a:solidFill>
                <a:schemeClr val="accent1">
                  <a:lumMod val="50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044675" y="4944582"/>
            <a:ext cx="1161655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dirty="0" smtClean="0"/>
              <a:t>공기</a:t>
            </a:r>
            <a:r>
              <a:rPr lang="en-US" altLang="ko-KR" sz="1100" dirty="0"/>
              <a:t>(</a:t>
            </a:r>
            <a:r>
              <a:rPr lang="ko-KR" altLang="en-US" sz="1100" dirty="0" smtClean="0"/>
              <a:t>곰팡이</a:t>
            </a:r>
            <a:r>
              <a:rPr lang="en-US" altLang="ko-KR" sz="1100" dirty="0" smtClean="0"/>
              <a:t>)</a:t>
            </a:r>
          </a:p>
          <a:p>
            <a:r>
              <a:rPr lang="ko-KR" altLang="en-US" sz="1100" dirty="0" smtClean="0"/>
              <a:t>물</a:t>
            </a:r>
            <a:r>
              <a:rPr lang="en-US" altLang="ko-KR" sz="1100" dirty="0" smtClean="0"/>
              <a:t>(</a:t>
            </a:r>
            <a:r>
              <a:rPr lang="ko-KR" altLang="en-US" sz="1100" dirty="0" err="1" smtClean="0"/>
              <a:t>레지오넬라</a:t>
            </a:r>
            <a:r>
              <a:rPr lang="en-US" altLang="ko-KR" sz="1100" dirty="0" smtClean="0"/>
              <a:t>)</a:t>
            </a:r>
          </a:p>
          <a:p>
            <a:r>
              <a:rPr lang="ko-KR" altLang="en-US" sz="1100" dirty="0" smtClean="0"/>
              <a:t>음식</a:t>
            </a:r>
            <a:r>
              <a:rPr lang="en-US" altLang="ko-KR" sz="1100" dirty="0" smtClean="0"/>
              <a:t>(</a:t>
            </a:r>
            <a:r>
              <a:rPr lang="ko-KR" altLang="en-US" sz="1100" dirty="0" smtClean="0"/>
              <a:t>병원체</a:t>
            </a:r>
            <a:r>
              <a:rPr lang="en-US" altLang="ko-KR" sz="1100" dirty="0"/>
              <a:t>)</a:t>
            </a:r>
            <a:endParaRPr lang="ko-KR" altLang="en-US" sz="1100" dirty="0"/>
          </a:p>
        </p:txBody>
      </p:sp>
      <p:sp>
        <p:nvSpPr>
          <p:cNvPr id="20" name="TextBox 19"/>
          <p:cNvSpPr txBox="1"/>
          <p:nvPr/>
        </p:nvSpPr>
        <p:spPr>
          <a:xfrm>
            <a:off x="3303057" y="4944581"/>
            <a:ext cx="135708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dirty="0" smtClean="0"/>
              <a:t>의료진</a:t>
            </a:r>
            <a:endParaRPr lang="en-US" altLang="ko-KR" sz="1100" dirty="0" smtClean="0"/>
          </a:p>
          <a:p>
            <a:r>
              <a:rPr lang="ko-KR" altLang="en-US" sz="1100" dirty="0" err="1" smtClean="0"/>
              <a:t>다른환자</a:t>
            </a:r>
            <a:endParaRPr lang="en-US" altLang="ko-KR" sz="1100" dirty="0" smtClean="0"/>
          </a:p>
          <a:p>
            <a:r>
              <a:rPr lang="ko-KR" altLang="en-US" sz="1100" dirty="0" smtClean="0"/>
              <a:t>방문객</a:t>
            </a:r>
            <a:r>
              <a:rPr lang="en-US" altLang="ko-KR" sz="1100" dirty="0" smtClean="0"/>
              <a:t>(</a:t>
            </a:r>
            <a:r>
              <a:rPr lang="ko-KR" altLang="en-US" sz="1100" dirty="0" smtClean="0"/>
              <a:t>간염</a:t>
            </a:r>
            <a:r>
              <a:rPr lang="en-US" altLang="ko-KR" sz="1100" dirty="0" smtClean="0"/>
              <a:t>, </a:t>
            </a:r>
            <a:r>
              <a:rPr lang="ko-KR" altLang="en-US" sz="1100" dirty="0" smtClean="0"/>
              <a:t>결핵</a:t>
            </a:r>
            <a:r>
              <a:rPr lang="en-US" altLang="ko-KR" sz="1100" dirty="0" smtClean="0"/>
              <a:t>, </a:t>
            </a:r>
            <a:r>
              <a:rPr lang="ko-KR" altLang="en-US" sz="1100" dirty="0" smtClean="0"/>
              <a:t>인플루엔자</a:t>
            </a:r>
            <a:r>
              <a:rPr lang="en-US" altLang="ko-KR" sz="1100" dirty="0" smtClean="0"/>
              <a:t>)</a:t>
            </a:r>
            <a:endParaRPr lang="ko-KR" altLang="en-US" sz="1100" dirty="0"/>
          </a:p>
        </p:txBody>
      </p:sp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349" y="4023805"/>
            <a:ext cx="603357" cy="551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/>
        </p:nvSpPr>
        <p:spPr>
          <a:xfrm>
            <a:off x="476230" y="4644614"/>
            <a:ext cx="132202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600" dirty="0" smtClean="0">
                <a:solidFill>
                  <a:schemeClr val="accent1">
                    <a:lumMod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병원 內 </a:t>
            </a:r>
            <a:endParaRPr lang="en-US" altLang="ko-KR" sz="1600" dirty="0" smtClean="0">
              <a:solidFill>
                <a:schemeClr val="accent1">
                  <a:lumMod val="50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/>
            <a:r>
              <a:rPr lang="ko-KR" altLang="en-US" sz="1600" dirty="0" smtClean="0">
                <a:solidFill>
                  <a:schemeClr val="accent1">
                    <a:lumMod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감염경로</a:t>
            </a:r>
            <a:endParaRPr lang="ko-KR" altLang="en-US" sz="1600" dirty="0">
              <a:solidFill>
                <a:schemeClr val="accent1">
                  <a:lumMod val="50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22" name="그림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0254" y="3720710"/>
            <a:ext cx="3398144" cy="186976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9" name="TextBox 28"/>
          <p:cNvSpPr txBox="1"/>
          <p:nvPr/>
        </p:nvSpPr>
        <p:spPr>
          <a:xfrm>
            <a:off x="7427735" y="5319284"/>
            <a:ext cx="11097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600" dirty="0" smtClean="0">
                <a:solidFill>
                  <a:schemeClr val="accent1">
                    <a:lumMod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의료기구</a:t>
            </a:r>
            <a:endParaRPr lang="ko-KR" altLang="en-US" sz="1600" dirty="0">
              <a:solidFill>
                <a:schemeClr val="accent1">
                  <a:lumMod val="50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5066327" y="4172667"/>
            <a:ext cx="122413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50" dirty="0" smtClean="0"/>
              <a:t>가래 흡입 삽입관</a:t>
            </a:r>
            <a:endParaRPr lang="ko-KR" altLang="en-US" sz="1050" dirty="0"/>
          </a:p>
        </p:txBody>
      </p:sp>
      <p:sp>
        <p:nvSpPr>
          <p:cNvPr id="31" name="TextBox 30"/>
          <p:cNvSpPr txBox="1"/>
          <p:nvPr/>
        </p:nvSpPr>
        <p:spPr>
          <a:xfrm>
            <a:off x="5431438" y="5488561"/>
            <a:ext cx="85989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50" dirty="0" smtClean="0"/>
              <a:t>인공호흡</a:t>
            </a:r>
            <a:endParaRPr lang="ko-KR" altLang="en-US" sz="1050" dirty="0"/>
          </a:p>
        </p:txBody>
      </p:sp>
      <p:sp>
        <p:nvSpPr>
          <p:cNvPr id="32" name="TextBox 31"/>
          <p:cNvSpPr txBox="1"/>
          <p:nvPr/>
        </p:nvSpPr>
        <p:spPr>
          <a:xfrm>
            <a:off x="5058915" y="3606104"/>
            <a:ext cx="85989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50" dirty="0" err="1" smtClean="0"/>
              <a:t>정맥주사</a:t>
            </a:r>
            <a:r>
              <a:rPr lang="ko-KR" altLang="en-US" sz="1050" dirty="0" err="1"/>
              <a:t>관</a:t>
            </a:r>
            <a:endParaRPr lang="ko-KR" altLang="en-US" sz="1050" dirty="0"/>
          </a:p>
        </p:txBody>
      </p:sp>
      <p:sp>
        <p:nvSpPr>
          <p:cNvPr id="33" name="TextBox 32"/>
          <p:cNvSpPr txBox="1"/>
          <p:nvPr/>
        </p:nvSpPr>
        <p:spPr>
          <a:xfrm>
            <a:off x="5860516" y="3804955"/>
            <a:ext cx="85989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50" dirty="0" smtClean="0"/>
              <a:t>중심정맥관</a:t>
            </a:r>
            <a:endParaRPr lang="ko-KR" altLang="en-US" sz="1050" dirty="0"/>
          </a:p>
        </p:txBody>
      </p:sp>
      <p:sp>
        <p:nvSpPr>
          <p:cNvPr id="34" name="TextBox 33"/>
          <p:cNvSpPr txBox="1"/>
          <p:nvPr/>
        </p:nvSpPr>
        <p:spPr>
          <a:xfrm>
            <a:off x="7429943" y="4013106"/>
            <a:ext cx="85989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50" smtClean="0"/>
              <a:t>요로삽입관</a:t>
            </a:r>
            <a:endParaRPr lang="ko-KR" altLang="en-US" sz="1050" dirty="0"/>
          </a:p>
        </p:txBody>
      </p:sp>
      <p:grpSp>
        <p:nvGrpSpPr>
          <p:cNvPr id="27" name="Group 50"/>
          <p:cNvGrpSpPr/>
          <p:nvPr/>
        </p:nvGrpSpPr>
        <p:grpSpPr>
          <a:xfrm>
            <a:off x="-3806" y="6570"/>
            <a:ext cx="1496056" cy="1459010"/>
            <a:chOff x="-10849" y="-23336"/>
            <a:chExt cx="976687" cy="952500"/>
          </a:xfrm>
        </p:grpSpPr>
        <p:sp>
          <p:nvSpPr>
            <p:cNvPr id="28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12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12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36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54"/>
            <p:cNvCxnSpPr/>
            <p:nvPr/>
          </p:nvCxnSpPr>
          <p:spPr>
            <a:xfrm flipH="1">
              <a:off x="-10849" y="-18888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8" name="그림 3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39" name="오른쪽 화살표 38"/>
          <p:cNvSpPr/>
          <p:nvPr/>
        </p:nvSpPr>
        <p:spPr>
          <a:xfrm>
            <a:off x="6504385" y="136085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0" name="오른쪽 화살표 39"/>
          <p:cNvSpPr/>
          <p:nvPr/>
        </p:nvSpPr>
        <p:spPr>
          <a:xfrm>
            <a:off x="5938528" y="168949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1" name="오른쪽 화살표 40"/>
          <p:cNvSpPr/>
          <p:nvPr/>
        </p:nvSpPr>
        <p:spPr>
          <a:xfrm>
            <a:off x="479743" y="6032753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TextBox 3"/>
          <p:cNvSpPr txBox="1"/>
          <p:nvPr/>
        </p:nvSpPr>
        <p:spPr>
          <a:xfrm>
            <a:off x="942723" y="6350469"/>
            <a:ext cx="74348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※ 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의료인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병원경영자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환자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면회인 등 감염관리 인식 제고 시급</a:t>
            </a:r>
            <a:endParaRPr lang="ko-KR" altLang="en-US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048024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707706" y="476323"/>
            <a:ext cx="8217388" cy="4124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장기이식 및 인체조직 기증」 </a:t>
            </a:r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관리정책</a:t>
            </a:r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sz="26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80581" y="1182240"/>
            <a:ext cx="8134378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장기이식대기자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등록업무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해당의료기관에만 부여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민간단체 </a:t>
            </a:r>
            <a:r>
              <a:rPr lang="ko-KR" altLang="en-US" sz="1600" b="1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不허용</a:t>
            </a:r>
            <a:endParaRPr lang="ko-KR" altLang="en-US" sz="1600" b="1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정부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비혈연간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기증을‘부정적 시각에서 심사’→「승인권」남용 의혹 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서류심사원칙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당사자間 현장실사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면담은 全無 → 인력부족으로 不可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인체조직기증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‘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국민 인식부족과 정부 소극정책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’   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기증희망자 태부족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기증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희망 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서약자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142,704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명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‘14.1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기준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)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→ 장기기증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1/5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수준에 불과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국내수요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年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30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만 건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78.6%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를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해외에 의존 → 연간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24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만 여건 수입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06541" y="5212164"/>
            <a:ext cx="8380754" cy="14080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사전</a:t>
            </a:r>
            <a:r>
              <a:rPr lang="en-US" altLang="ko-KR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사후 </a:t>
            </a:r>
            <a:r>
              <a:rPr lang="ko-KR" altLang="en-US" sz="19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부당거래시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처벌강화 전제</a:t>
            </a:r>
            <a:r>
              <a:rPr lang="en-US" altLang="ko-KR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장기이식 기증 승인절차</a:t>
            </a:r>
            <a:r>
              <a:rPr lang="en-US" altLang="ko-KR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내용」</a:t>
            </a:r>
            <a:endParaRPr lang="en-US" altLang="ko-KR" sz="1900" dirty="0" smtClean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대한 규제완화 필요 </a:t>
            </a:r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안전성 </a:t>
            </a:r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+ </a:t>
            </a:r>
            <a:r>
              <a:rPr lang="ko-KR" altLang="en-US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도덕성에 효율성</a:t>
            </a:r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·</a:t>
            </a:r>
            <a:r>
              <a:rPr lang="ko-KR" altLang="en-US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체계성 보완</a:t>
            </a:r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정부</a:t>
            </a:r>
            <a:r>
              <a:rPr lang="en-US" altLang="ko-KR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인체조직기증 활성화 정책</a:t>
            </a:r>
            <a:r>
              <a:rPr lang="en-US" altLang="ko-KR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관련법 정비」 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등 개선 필요</a:t>
            </a:r>
            <a:endParaRPr lang="ko-KR" altLang="en-US" sz="19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pSp>
        <p:nvGrpSpPr>
          <p:cNvPr id="14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15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12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12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17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9" name="그림 1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20" name="오른쪽 화살표 19"/>
          <p:cNvSpPr/>
          <p:nvPr/>
        </p:nvSpPr>
        <p:spPr>
          <a:xfrm>
            <a:off x="5659081" y="134225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오른쪽 화살표 20"/>
          <p:cNvSpPr/>
          <p:nvPr/>
        </p:nvSpPr>
        <p:spPr>
          <a:xfrm>
            <a:off x="5551069" y="234590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모서리가 둥근 직사각형 1"/>
          <p:cNvSpPr/>
          <p:nvPr/>
        </p:nvSpPr>
        <p:spPr>
          <a:xfrm>
            <a:off x="591216" y="3609020"/>
            <a:ext cx="1964560" cy="216024"/>
          </a:xfrm>
          <a:prstGeom prst="round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5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인체조직 </a:t>
            </a:r>
            <a:r>
              <a:rPr lang="ko-KR" altLang="en-US" sz="105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이식재</a:t>
            </a:r>
            <a:r>
              <a:rPr lang="ko-KR" altLang="en-US" sz="105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 수입현황</a:t>
            </a:r>
            <a:endParaRPr lang="ko-KR" altLang="en-US" sz="105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pSp>
        <p:nvGrpSpPr>
          <p:cNvPr id="8" name="그룹 7"/>
          <p:cNvGrpSpPr/>
          <p:nvPr/>
        </p:nvGrpSpPr>
        <p:grpSpPr>
          <a:xfrm>
            <a:off x="476230" y="4088819"/>
            <a:ext cx="3519706" cy="1087774"/>
            <a:chOff x="476230" y="3997857"/>
            <a:chExt cx="3692752" cy="1087774"/>
          </a:xfrm>
        </p:grpSpPr>
        <p:graphicFrame>
          <p:nvGraphicFramePr>
            <p:cNvPr id="4" name="차트 3"/>
            <p:cNvGraphicFramePr/>
            <p:nvPr>
              <p:extLst>
                <p:ext uri="{D42A27DB-BD31-4B8C-83A1-F6EECF244321}">
                  <p14:modId xmlns:p14="http://schemas.microsoft.com/office/powerpoint/2010/main" val="2286201693"/>
                </p:ext>
              </p:extLst>
            </p:nvPr>
          </p:nvGraphicFramePr>
          <p:xfrm>
            <a:off x="476230" y="3997857"/>
            <a:ext cx="3692752" cy="108777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5" name="TextBox 4"/>
            <p:cNvSpPr txBox="1"/>
            <p:nvPr/>
          </p:nvSpPr>
          <p:spPr>
            <a:xfrm>
              <a:off x="2271913" y="4380303"/>
              <a:ext cx="81109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600" spc="-150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HY견고딕" panose="02030600000101010101" pitchFamily="18" charset="-127"/>
                  <a:ea typeface="HY견고딕" panose="02030600000101010101" pitchFamily="18" charset="-127"/>
                </a:rPr>
                <a:t>78.6%</a:t>
              </a:r>
              <a:endParaRPr lang="ko-KR" altLang="en-US" sz="1600" spc="-15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606541" y="4359037"/>
              <a:ext cx="81109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600" spc="-150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HY견고딕" panose="02030600000101010101" pitchFamily="18" charset="-127"/>
                  <a:ea typeface="HY견고딕" panose="02030600000101010101" pitchFamily="18" charset="-127"/>
                </a:rPr>
                <a:t>21.4%</a:t>
              </a:r>
              <a:endParaRPr lang="ko-KR" altLang="en-US" sz="1600" spc="-15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590516" y="4037285"/>
              <a:ext cx="78103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100" dirty="0" smtClean="0">
                  <a:solidFill>
                    <a:schemeClr val="accent1">
                      <a:lumMod val="75000"/>
                    </a:schemeClr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내생산</a:t>
              </a:r>
              <a:endParaRPr lang="ko-KR" altLang="en-US" sz="1100" dirty="0">
                <a:solidFill>
                  <a:schemeClr val="accent1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2286939" y="4037285"/>
              <a:ext cx="78103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100" smtClean="0">
                  <a:solidFill>
                    <a:schemeClr val="accent2">
                      <a:lumMod val="75000"/>
                    </a:schemeClr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해외수입</a:t>
              </a:r>
              <a:endParaRPr lang="ko-KR" altLang="en-US" sz="1100" dirty="0">
                <a:solidFill>
                  <a:schemeClr val="accent2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</p:grpSp>
      <p:sp>
        <p:nvSpPr>
          <p:cNvPr id="28" name="모서리가 둥근 직사각형 27"/>
          <p:cNvSpPr/>
          <p:nvPr/>
        </p:nvSpPr>
        <p:spPr>
          <a:xfrm>
            <a:off x="6495873" y="3609020"/>
            <a:ext cx="1964560" cy="216024"/>
          </a:xfrm>
          <a:prstGeom prst="round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5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인구 </a:t>
            </a:r>
            <a:r>
              <a:rPr lang="ko-KR" altLang="en-US" sz="105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백만명</a:t>
            </a:r>
            <a:r>
              <a:rPr lang="ko-KR" altLang="en-US" sz="105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 당 기증자 수</a:t>
            </a:r>
            <a:endParaRPr lang="ko-KR" altLang="en-US" sz="105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9" name="Picture 2" descr="flag">
            <a:hlinkClick r:id="rId5"/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5576" y="4427099"/>
            <a:ext cx="514351" cy="385763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4" descr="flag">
            <a:hlinkClick r:id="rId7"/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9917" y="4427098"/>
            <a:ext cx="514351" cy="385763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6" descr="flag">
            <a:hlinkClick r:id="rId9"/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7093" y="4424637"/>
            <a:ext cx="514351" cy="385763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8" descr="flag">
            <a:hlinkClick r:id="rId11"/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1692" y="4424635"/>
            <a:ext cx="514351" cy="385763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그림 28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5336" y="3816336"/>
            <a:ext cx="565665" cy="1182240"/>
          </a:xfrm>
          <a:prstGeom prst="rect">
            <a:avLst/>
          </a:prstGeom>
        </p:spPr>
      </p:pic>
      <p:pic>
        <p:nvPicPr>
          <p:cNvPr id="39" name="그림 38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5297" y="4097310"/>
            <a:ext cx="491796" cy="895163"/>
          </a:xfrm>
          <a:prstGeom prst="rect">
            <a:avLst/>
          </a:prstGeom>
        </p:spPr>
      </p:pic>
      <p:pic>
        <p:nvPicPr>
          <p:cNvPr id="40" name="그림 39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6684" y="4232564"/>
            <a:ext cx="405881" cy="720561"/>
          </a:xfrm>
          <a:prstGeom prst="rect">
            <a:avLst/>
          </a:prstGeom>
        </p:spPr>
      </p:pic>
      <p:pic>
        <p:nvPicPr>
          <p:cNvPr id="41" name="그림 40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9079" y="4448203"/>
            <a:ext cx="251354" cy="446229"/>
          </a:xfrm>
          <a:prstGeom prst="rect">
            <a:avLst/>
          </a:prstGeom>
        </p:spPr>
      </p:pic>
      <p:sp>
        <p:nvSpPr>
          <p:cNvPr id="30" name="TextBox 29"/>
          <p:cNvSpPr txBox="1"/>
          <p:nvPr/>
        </p:nvSpPr>
        <p:spPr>
          <a:xfrm>
            <a:off x="4270703" y="4130960"/>
            <a:ext cx="8640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133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명</a:t>
            </a:r>
            <a:endParaRPr lang="ko-KR" alt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5467099" y="4130960"/>
            <a:ext cx="8640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59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명</a:t>
            </a:r>
            <a:endParaRPr lang="ko-KR" alt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6495873" y="4115571"/>
            <a:ext cx="8640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30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명</a:t>
            </a:r>
            <a:endParaRPr lang="ko-KR" alt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7543653" y="4130960"/>
            <a:ext cx="8640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4.7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명</a:t>
            </a:r>
            <a:endParaRPr lang="ko-KR" alt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7" name="오른쪽 화살표 36"/>
          <p:cNvSpPr/>
          <p:nvPr/>
        </p:nvSpPr>
        <p:spPr>
          <a:xfrm>
            <a:off x="273578" y="5301208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8" name="오른쪽 화살표 37"/>
          <p:cNvSpPr/>
          <p:nvPr/>
        </p:nvSpPr>
        <p:spPr>
          <a:xfrm>
            <a:off x="267408" y="6231591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092799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747853" y="492560"/>
            <a:ext cx="8017017" cy="4370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8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보건복지 업무」</a:t>
            </a:r>
            <a:r>
              <a:rPr lang="ko-KR" altLang="en-US" sz="28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에 대한 평가와 여론</a:t>
            </a:r>
            <a:endParaRPr lang="en-US" sz="28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89720" y="1375495"/>
            <a:ext cx="8436294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ko-KR" altLang="en-US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총론중심</a:t>
            </a:r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일시적 </a:t>
            </a:r>
            <a:r>
              <a:rPr lang="ko-KR" altLang="en-US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단기 현안 </a:t>
            </a:r>
            <a:r>
              <a:rPr lang="ko-KR" altLang="en-US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위주       각론중심</a:t>
            </a:r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「</a:t>
            </a:r>
            <a:r>
              <a:rPr lang="ko-KR" altLang="en-US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미래 중장기 발전계획」과 연계 </a:t>
            </a:r>
            <a:r>
              <a:rPr lang="ko-KR" altLang="en-US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추진</a:t>
            </a:r>
            <a:endParaRPr lang="en-US" altLang="ko-KR" sz="16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lnSpc>
                <a:spcPct val="200000"/>
              </a:lnSpc>
            </a:pPr>
            <a:r>
              <a:rPr lang="ko-KR" altLang="en-US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「보건복지부」 입장에서 추진      「정부」 전체 입장에서 </a:t>
            </a:r>
            <a:r>
              <a:rPr lang="ko-KR" altLang="en-US" sz="16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타부처와</a:t>
            </a:r>
            <a:r>
              <a:rPr lang="ko-KR" altLang="en-US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종합 추진</a:t>
            </a:r>
            <a:endParaRPr lang="en-US" altLang="ko-KR" sz="16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lnSpc>
                <a:spcPct val="200000"/>
              </a:lnSpc>
            </a:pPr>
            <a:r>
              <a:rPr lang="ko-KR" altLang="en-US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부재정 위주로 복지수요 충당      </a:t>
            </a:r>
            <a:r>
              <a:rPr lang="ko-KR" altLang="en-US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복지 수요조절</a:t>
            </a:r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중앙과 지방</a:t>
            </a:r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관</a:t>
            </a:r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·</a:t>
            </a:r>
            <a:r>
              <a:rPr lang="ko-KR" altLang="en-US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민 공동대응 확대</a:t>
            </a:r>
            <a:endParaRPr lang="en-US" altLang="ko-KR" sz="16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lnSpc>
                <a:spcPct val="200000"/>
              </a:lnSpc>
            </a:pPr>
            <a:r>
              <a:rPr lang="ko-KR" altLang="en-US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후 구제 위주</a:t>
            </a:r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업체</a:t>
            </a:r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·</a:t>
            </a:r>
            <a:r>
              <a:rPr lang="ko-KR" altLang="en-US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업소</a:t>
            </a:r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·</a:t>
            </a:r>
            <a:r>
              <a:rPr lang="ko-KR" altLang="en-US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업자 중심 소통      </a:t>
            </a:r>
            <a:r>
              <a:rPr lang="ko-KR" altLang="en-US" sz="16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예방위주 선제행정</a:t>
            </a:r>
            <a:r>
              <a:rPr lang="en-US" altLang="ko-KR" sz="16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6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수요자중심</a:t>
            </a:r>
            <a:r>
              <a:rPr lang="en-US" altLang="ko-KR" sz="16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6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현장중심 전환</a:t>
            </a:r>
            <a:endParaRPr lang="en-US" altLang="ko-KR" sz="1600" spc="-15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lnSpc>
                <a:spcPct val="200000"/>
              </a:lnSpc>
            </a:pPr>
            <a:r>
              <a:rPr lang="ko-KR" altLang="en-US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법규보다 지침</a:t>
            </a:r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·</a:t>
            </a:r>
            <a:r>
              <a:rPr lang="ko-KR" altLang="en-US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예규</a:t>
            </a:r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·</a:t>
            </a:r>
            <a:r>
              <a:rPr lang="ko-KR" altLang="en-US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훈령 위주 업무      </a:t>
            </a:r>
            <a:r>
              <a:rPr lang="ko-KR" altLang="en-US" sz="16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법규 및 각종 지침 등 정비</a:t>
            </a:r>
            <a:r>
              <a:rPr lang="en-US" altLang="ko-KR" sz="16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6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본적 법령체계 재정립</a:t>
            </a:r>
            <a:endParaRPr lang="en-US" altLang="ko-KR" sz="1600" spc="-15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lnSpc>
                <a:spcPct val="200000"/>
              </a:lnSpc>
            </a:pPr>
            <a:r>
              <a:rPr lang="ko-KR" altLang="en-US" sz="16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각종 「자격증」 남발</a:t>
            </a:r>
            <a:r>
              <a:rPr lang="en-US" altLang="ko-KR" sz="16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6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관련 단체</a:t>
            </a:r>
            <a:r>
              <a:rPr lang="en-US" altLang="ko-KR" sz="16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·</a:t>
            </a:r>
            <a:r>
              <a:rPr lang="ko-KR" altLang="en-US" sz="16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협회 난립</a:t>
            </a:r>
            <a:r>
              <a:rPr lang="en-US" altLang="ko-KR" sz="16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6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해 충돌         </a:t>
            </a:r>
            <a:r>
              <a:rPr lang="ko-KR" altLang="en-US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적절한 규제</a:t>
            </a:r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해조정기능 강화</a:t>
            </a:r>
            <a:endParaRPr lang="en-US" altLang="ko-KR" sz="16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lnSpc>
                <a:spcPct val="200000"/>
              </a:lnSpc>
            </a:pPr>
            <a:r>
              <a:rPr lang="ko-KR" altLang="en-US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연구 따로 시행 따로</a:t>
            </a:r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중앙 따로 지방 따로      </a:t>
            </a:r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&amp;D </a:t>
            </a:r>
            <a:r>
              <a:rPr lang="ko-KR" altLang="en-US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결과 적극 活用</a:t>
            </a:r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地方 기능 연계강화</a:t>
            </a:r>
            <a:endParaRPr lang="en-US" altLang="ko-KR" sz="16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lnSpc>
                <a:spcPct val="200000"/>
              </a:lnSpc>
            </a:pPr>
            <a:r>
              <a:rPr lang="ko-KR" altLang="en-US" sz="16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저소득층 복지 강조 불구 사각지대 여전        저소득층 현장 관리강화</a:t>
            </a:r>
            <a:r>
              <a:rPr lang="en-US" altLang="ko-KR" sz="16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6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계층별 </a:t>
            </a:r>
            <a:r>
              <a:rPr lang="ko-KR" altLang="en-US" sz="1600" spc="-15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욕구별</a:t>
            </a:r>
            <a:r>
              <a:rPr lang="en-US" altLang="ko-KR" sz="1600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6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복지모형설정</a:t>
            </a:r>
            <a:endParaRPr lang="en-US" altLang="ko-KR" sz="1600" spc="-15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" name="오른쪽 화살표 11"/>
          <p:cNvSpPr/>
          <p:nvPr/>
        </p:nvSpPr>
        <p:spPr>
          <a:xfrm>
            <a:off x="3867850" y="164767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3514065" y="212584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오른쪽 화살표 13"/>
          <p:cNvSpPr/>
          <p:nvPr/>
        </p:nvSpPr>
        <p:spPr>
          <a:xfrm>
            <a:off x="3759838" y="264781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오른쪽 화살표 14"/>
          <p:cNvSpPr/>
          <p:nvPr/>
        </p:nvSpPr>
        <p:spPr>
          <a:xfrm>
            <a:off x="4608494" y="310480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오른쪽 화살표 15"/>
          <p:cNvSpPr/>
          <p:nvPr/>
        </p:nvSpPr>
        <p:spPr>
          <a:xfrm>
            <a:off x="4058277" y="359604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오른쪽 화살표 16"/>
          <p:cNvSpPr/>
          <p:nvPr/>
        </p:nvSpPr>
        <p:spPr>
          <a:xfrm>
            <a:off x="5048225" y="409413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오른쪽 화살표 17"/>
          <p:cNvSpPr/>
          <p:nvPr/>
        </p:nvSpPr>
        <p:spPr>
          <a:xfrm>
            <a:off x="4666260" y="458112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오른쪽 화살표 18"/>
          <p:cNvSpPr/>
          <p:nvPr/>
        </p:nvSpPr>
        <p:spPr>
          <a:xfrm>
            <a:off x="4098061" y="506469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TextBox 21"/>
          <p:cNvSpPr txBox="1"/>
          <p:nvPr/>
        </p:nvSpPr>
        <p:spPr>
          <a:xfrm>
            <a:off x="767356" y="5805191"/>
            <a:ext cx="81676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국정의 중추기능 재인식</a:t>
            </a:r>
            <a:r>
              <a:rPr lang="en-US" altLang="ko-KR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업무 목표와 방법론 등 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패러다임 쇄신</a:t>
            </a:r>
            <a:endParaRPr lang="ko-KR" altLang="en-US" sz="22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pSp>
        <p:nvGrpSpPr>
          <p:cNvPr id="23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24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12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12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26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8" name="그림 27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grpSp>
        <p:nvGrpSpPr>
          <p:cNvPr id="29" name="Group 7"/>
          <p:cNvGrpSpPr/>
          <p:nvPr/>
        </p:nvGrpSpPr>
        <p:grpSpPr>
          <a:xfrm>
            <a:off x="300953" y="1505293"/>
            <a:ext cx="414987" cy="414986"/>
            <a:chOff x="349648" y="2204865"/>
            <a:chExt cx="518790" cy="518788"/>
          </a:xfrm>
        </p:grpSpPr>
        <p:sp>
          <p:nvSpPr>
            <p:cNvPr id="30" name="Oval 55"/>
            <p:cNvSpPr/>
            <p:nvPr>
              <p:custDataLst>
                <p:tags r:id="rId15"/>
              </p:custDataLst>
            </p:nvPr>
          </p:nvSpPr>
          <p:spPr>
            <a:xfrm>
              <a:off x="349648" y="2204865"/>
              <a:ext cx="518790" cy="518788"/>
            </a:xfrm>
            <a:prstGeom prst="ellipse">
              <a:avLst/>
            </a:prstGeom>
            <a:gradFill flip="none" rotWithShape="1">
              <a:gsLst>
                <a:gs pos="79000">
                  <a:schemeClr val="bg1">
                    <a:lumMod val="50000"/>
                  </a:schemeClr>
                </a:gs>
                <a:gs pos="19000">
                  <a:schemeClr val="bg1">
                    <a:lumMod val="80000"/>
                  </a:schemeClr>
                </a:gs>
                <a:gs pos="47000">
                  <a:schemeClr val="bg1">
                    <a:lumMod val="95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  <a:effectLst>
              <a:outerShdw blurRad="38100" dist="127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31" name="Oval 56"/>
            <p:cNvSpPr/>
            <p:nvPr>
              <p:custDataLst>
                <p:tags r:id="rId16"/>
              </p:custDataLst>
            </p:nvPr>
          </p:nvSpPr>
          <p:spPr>
            <a:xfrm>
              <a:off x="391262" y="2246478"/>
              <a:ext cx="435563" cy="435563"/>
            </a:xfrm>
            <a:prstGeom prst="ellipse">
              <a:avLst/>
            </a:prstGeom>
            <a:solidFill>
              <a:srgbClr val="0D65AC"/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300" dirty="0">
                  <a:solidFill>
                    <a:schemeClr val="bg1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1</a:t>
              </a:r>
            </a:p>
          </p:txBody>
        </p:sp>
      </p:grpSp>
      <p:grpSp>
        <p:nvGrpSpPr>
          <p:cNvPr id="32" name="Group 7"/>
          <p:cNvGrpSpPr/>
          <p:nvPr/>
        </p:nvGrpSpPr>
        <p:grpSpPr>
          <a:xfrm>
            <a:off x="300952" y="2023525"/>
            <a:ext cx="414987" cy="414986"/>
            <a:chOff x="349648" y="2204865"/>
            <a:chExt cx="518790" cy="518788"/>
          </a:xfrm>
        </p:grpSpPr>
        <p:sp>
          <p:nvSpPr>
            <p:cNvPr id="33" name="Oval 55"/>
            <p:cNvSpPr/>
            <p:nvPr>
              <p:custDataLst>
                <p:tags r:id="rId13"/>
              </p:custDataLst>
            </p:nvPr>
          </p:nvSpPr>
          <p:spPr>
            <a:xfrm>
              <a:off x="349648" y="2204865"/>
              <a:ext cx="518790" cy="518788"/>
            </a:xfrm>
            <a:prstGeom prst="ellipse">
              <a:avLst/>
            </a:prstGeom>
            <a:gradFill flip="none" rotWithShape="1">
              <a:gsLst>
                <a:gs pos="79000">
                  <a:schemeClr val="bg1">
                    <a:lumMod val="50000"/>
                  </a:schemeClr>
                </a:gs>
                <a:gs pos="19000">
                  <a:schemeClr val="bg1">
                    <a:lumMod val="80000"/>
                  </a:schemeClr>
                </a:gs>
                <a:gs pos="47000">
                  <a:schemeClr val="bg1">
                    <a:lumMod val="95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  <a:effectLst>
              <a:outerShdw blurRad="38100" dist="127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34" name="Oval 56"/>
            <p:cNvSpPr/>
            <p:nvPr>
              <p:custDataLst>
                <p:tags r:id="rId14"/>
              </p:custDataLst>
            </p:nvPr>
          </p:nvSpPr>
          <p:spPr>
            <a:xfrm>
              <a:off x="391262" y="2246478"/>
              <a:ext cx="435563" cy="435563"/>
            </a:xfrm>
            <a:prstGeom prst="ellipse">
              <a:avLst/>
            </a:prstGeom>
            <a:solidFill>
              <a:srgbClr val="0D65AC"/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300" dirty="0" smtClean="0">
                  <a:solidFill>
                    <a:schemeClr val="bg1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2</a:t>
              </a:r>
              <a:endParaRPr lang="en-US" sz="1300" dirty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</p:grpSp>
      <p:grpSp>
        <p:nvGrpSpPr>
          <p:cNvPr id="35" name="Group 7"/>
          <p:cNvGrpSpPr/>
          <p:nvPr/>
        </p:nvGrpSpPr>
        <p:grpSpPr>
          <a:xfrm>
            <a:off x="300951" y="2507207"/>
            <a:ext cx="414987" cy="414986"/>
            <a:chOff x="349648" y="2204865"/>
            <a:chExt cx="518790" cy="518788"/>
          </a:xfrm>
        </p:grpSpPr>
        <p:sp>
          <p:nvSpPr>
            <p:cNvPr id="36" name="Oval 55"/>
            <p:cNvSpPr/>
            <p:nvPr>
              <p:custDataLst>
                <p:tags r:id="rId11"/>
              </p:custDataLst>
            </p:nvPr>
          </p:nvSpPr>
          <p:spPr>
            <a:xfrm>
              <a:off x="349648" y="2204865"/>
              <a:ext cx="518790" cy="518788"/>
            </a:xfrm>
            <a:prstGeom prst="ellipse">
              <a:avLst/>
            </a:prstGeom>
            <a:gradFill flip="none" rotWithShape="1">
              <a:gsLst>
                <a:gs pos="79000">
                  <a:schemeClr val="bg1">
                    <a:lumMod val="50000"/>
                  </a:schemeClr>
                </a:gs>
                <a:gs pos="19000">
                  <a:schemeClr val="bg1">
                    <a:lumMod val="80000"/>
                  </a:schemeClr>
                </a:gs>
                <a:gs pos="47000">
                  <a:schemeClr val="bg1">
                    <a:lumMod val="95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  <a:effectLst>
              <a:outerShdw blurRad="38100" dist="127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37" name="Oval 56"/>
            <p:cNvSpPr/>
            <p:nvPr>
              <p:custDataLst>
                <p:tags r:id="rId12"/>
              </p:custDataLst>
            </p:nvPr>
          </p:nvSpPr>
          <p:spPr>
            <a:xfrm>
              <a:off x="391262" y="2246478"/>
              <a:ext cx="435563" cy="435563"/>
            </a:xfrm>
            <a:prstGeom prst="ellipse">
              <a:avLst/>
            </a:prstGeom>
            <a:solidFill>
              <a:srgbClr val="0D65AC"/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300" dirty="0" smtClean="0">
                  <a:solidFill>
                    <a:schemeClr val="bg1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3</a:t>
              </a:r>
              <a:endParaRPr lang="en-US" sz="1300" dirty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</p:grpSp>
      <p:grpSp>
        <p:nvGrpSpPr>
          <p:cNvPr id="38" name="Group 7"/>
          <p:cNvGrpSpPr/>
          <p:nvPr/>
        </p:nvGrpSpPr>
        <p:grpSpPr>
          <a:xfrm>
            <a:off x="287846" y="2976445"/>
            <a:ext cx="414987" cy="414986"/>
            <a:chOff x="349648" y="2204865"/>
            <a:chExt cx="518790" cy="518788"/>
          </a:xfrm>
        </p:grpSpPr>
        <p:sp>
          <p:nvSpPr>
            <p:cNvPr id="39" name="Oval 55"/>
            <p:cNvSpPr/>
            <p:nvPr>
              <p:custDataLst>
                <p:tags r:id="rId9"/>
              </p:custDataLst>
            </p:nvPr>
          </p:nvSpPr>
          <p:spPr>
            <a:xfrm>
              <a:off x="349648" y="2204865"/>
              <a:ext cx="518790" cy="518788"/>
            </a:xfrm>
            <a:prstGeom prst="ellipse">
              <a:avLst/>
            </a:prstGeom>
            <a:gradFill flip="none" rotWithShape="1">
              <a:gsLst>
                <a:gs pos="79000">
                  <a:schemeClr val="bg1">
                    <a:lumMod val="50000"/>
                  </a:schemeClr>
                </a:gs>
                <a:gs pos="19000">
                  <a:schemeClr val="bg1">
                    <a:lumMod val="80000"/>
                  </a:schemeClr>
                </a:gs>
                <a:gs pos="47000">
                  <a:schemeClr val="bg1">
                    <a:lumMod val="95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  <a:effectLst>
              <a:outerShdw blurRad="38100" dist="127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40" name="Oval 56"/>
            <p:cNvSpPr/>
            <p:nvPr>
              <p:custDataLst>
                <p:tags r:id="rId10"/>
              </p:custDataLst>
            </p:nvPr>
          </p:nvSpPr>
          <p:spPr>
            <a:xfrm>
              <a:off x="391262" y="2246478"/>
              <a:ext cx="435563" cy="435563"/>
            </a:xfrm>
            <a:prstGeom prst="ellipse">
              <a:avLst/>
            </a:prstGeom>
            <a:solidFill>
              <a:srgbClr val="0D65AC"/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300" dirty="0" smtClean="0">
                  <a:solidFill>
                    <a:schemeClr val="bg1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4</a:t>
              </a:r>
              <a:endParaRPr lang="en-US" sz="1300" dirty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</p:grpSp>
      <p:grpSp>
        <p:nvGrpSpPr>
          <p:cNvPr id="41" name="Group 7"/>
          <p:cNvGrpSpPr/>
          <p:nvPr/>
        </p:nvGrpSpPr>
        <p:grpSpPr>
          <a:xfrm>
            <a:off x="287847" y="3453658"/>
            <a:ext cx="414987" cy="414986"/>
            <a:chOff x="349648" y="2204865"/>
            <a:chExt cx="518790" cy="518788"/>
          </a:xfrm>
        </p:grpSpPr>
        <p:sp>
          <p:nvSpPr>
            <p:cNvPr id="42" name="Oval 55"/>
            <p:cNvSpPr/>
            <p:nvPr>
              <p:custDataLst>
                <p:tags r:id="rId7"/>
              </p:custDataLst>
            </p:nvPr>
          </p:nvSpPr>
          <p:spPr>
            <a:xfrm>
              <a:off x="349648" y="2204865"/>
              <a:ext cx="518790" cy="518788"/>
            </a:xfrm>
            <a:prstGeom prst="ellipse">
              <a:avLst/>
            </a:prstGeom>
            <a:gradFill flip="none" rotWithShape="1">
              <a:gsLst>
                <a:gs pos="79000">
                  <a:schemeClr val="bg1">
                    <a:lumMod val="50000"/>
                  </a:schemeClr>
                </a:gs>
                <a:gs pos="19000">
                  <a:schemeClr val="bg1">
                    <a:lumMod val="80000"/>
                  </a:schemeClr>
                </a:gs>
                <a:gs pos="47000">
                  <a:schemeClr val="bg1">
                    <a:lumMod val="95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  <a:effectLst>
              <a:outerShdw blurRad="38100" dist="127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43" name="Oval 56"/>
            <p:cNvSpPr/>
            <p:nvPr>
              <p:custDataLst>
                <p:tags r:id="rId8"/>
              </p:custDataLst>
            </p:nvPr>
          </p:nvSpPr>
          <p:spPr>
            <a:xfrm>
              <a:off x="391262" y="2246478"/>
              <a:ext cx="435563" cy="435563"/>
            </a:xfrm>
            <a:prstGeom prst="ellipse">
              <a:avLst/>
            </a:prstGeom>
            <a:solidFill>
              <a:srgbClr val="0D65AC"/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300" dirty="0" smtClean="0">
                  <a:solidFill>
                    <a:schemeClr val="bg1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5</a:t>
              </a:r>
              <a:endParaRPr lang="en-US" sz="1300" dirty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</p:grpSp>
      <p:grpSp>
        <p:nvGrpSpPr>
          <p:cNvPr id="44" name="Group 7"/>
          <p:cNvGrpSpPr/>
          <p:nvPr/>
        </p:nvGrpSpPr>
        <p:grpSpPr>
          <a:xfrm>
            <a:off x="279397" y="3965131"/>
            <a:ext cx="414987" cy="414986"/>
            <a:chOff x="349648" y="2204865"/>
            <a:chExt cx="518790" cy="518788"/>
          </a:xfrm>
        </p:grpSpPr>
        <p:sp>
          <p:nvSpPr>
            <p:cNvPr id="45" name="Oval 55"/>
            <p:cNvSpPr/>
            <p:nvPr>
              <p:custDataLst>
                <p:tags r:id="rId5"/>
              </p:custDataLst>
            </p:nvPr>
          </p:nvSpPr>
          <p:spPr>
            <a:xfrm>
              <a:off x="349648" y="2204865"/>
              <a:ext cx="518790" cy="518788"/>
            </a:xfrm>
            <a:prstGeom prst="ellipse">
              <a:avLst/>
            </a:prstGeom>
            <a:gradFill flip="none" rotWithShape="1">
              <a:gsLst>
                <a:gs pos="79000">
                  <a:schemeClr val="bg1">
                    <a:lumMod val="50000"/>
                  </a:schemeClr>
                </a:gs>
                <a:gs pos="19000">
                  <a:schemeClr val="bg1">
                    <a:lumMod val="80000"/>
                  </a:schemeClr>
                </a:gs>
                <a:gs pos="47000">
                  <a:schemeClr val="bg1">
                    <a:lumMod val="95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  <a:effectLst>
              <a:outerShdw blurRad="38100" dist="127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46" name="Oval 56"/>
            <p:cNvSpPr/>
            <p:nvPr>
              <p:custDataLst>
                <p:tags r:id="rId6"/>
              </p:custDataLst>
            </p:nvPr>
          </p:nvSpPr>
          <p:spPr>
            <a:xfrm>
              <a:off x="391262" y="2246478"/>
              <a:ext cx="435563" cy="435563"/>
            </a:xfrm>
            <a:prstGeom prst="ellipse">
              <a:avLst/>
            </a:prstGeom>
            <a:solidFill>
              <a:srgbClr val="0D65AC"/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300" dirty="0" smtClean="0">
                  <a:solidFill>
                    <a:schemeClr val="bg1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6</a:t>
              </a:r>
              <a:endParaRPr lang="en-US" sz="1300" dirty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</p:grpSp>
      <p:grpSp>
        <p:nvGrpSpPr>
          <p:cNvPr id="47" name="Group 7"/>
          <p:cNvGrpSpPr/>
          <p:nvPr/>
        </p:nvGrpSpPr>
        <p:grpSpPr>
          <a:xfrm>
            <a:off x="288439" y="4453631"/>
            <a:ext cx="414987" cy="414986"/>
            <a:chOff x="349648" y="2204865"/>
            <a:chExt cx="518790" cy="518788"/>
          </a:xfrm>
        </p:grpSpPr>
        <p:sp>
          <p:nvSpPr>
            <p:cNvPr id="48" name="Oval 55"/>
            <p:cNvSpPr/>
            <p:nvPr>
              <p:custDataLst>
                <p:tags r:id="rId3"/>
              </p:custDataLst>
            </p:nvPr>
          </p:nvSpPr>
          <p:spPr>
            <a:xfrm>
              <a:off x="349648" y="2204865"/>
              <a:ext cx="518790" cy="518788"/>
            </a:xfrm>
            <a:prstGeom prst="ellipse">
              <a:avLst/>
            </a:prstGeom>
            <a:gradFill flip="none" rotWithShape="1">
              <a:gsLst>
                <a:gs pos="79000">
                  <a:schemeClr val="bg1">
                    <a:lumMod val="50000"/>
                  </a:schemeClr>
                </a:gs>
                <a:gs pos="19000">
                  <a:schemeClr val="bg1">
                    <a:lumMod val="80000"/>
                  </a:schemeClr>
                </a:gs>
                <a:gs pos="47000">
                  <a:schemeClr val="bg1">
                    <a:lumMod val="95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  <a:effectLst>
              <a:outerShdw blurRad="38100" dist="127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49" name="Oval 56"/>
            <p:cNvSpPr/>
            <p:nvPr>
              <p:custDataLst>
                <p:tags r:id="rId4"/>
              </p:custDataLst>
            </p:nvPr>
          </p:nvSpPr>
          <p:spPr>
            <a:xfrm>
              <a:off x="391262" y="2246478"/>
              <a:ext cx="435563" cy="435563"/>
            </a:xfrm>
            <a:prstGeom prst="ellipse">
              <a:avLst/>
            </a:prstGeom>
            <a:solidFill>
              <a:srgbClr val="0D65AC"/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300" dirty="0" smtClean="0">
                  <a:solidFill>
                    <a:schemeClr val="bg1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7</a:t>
              </a:r>
              <a:endParaRPr lang="en-US" sz="1300" dirty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</p:grpSp>
      <p:grpSp>
        <p:nvGrpSpPr>
          <p:cNvPr id="50" name="Group 7"/>
          <p:cNvGrpSpPr/>
          <p:nvPr/>
        </p:nvGrpSpPr>
        <p:grpSpPr>
          <a:xfrm>
            <a:off x="287845" y="4922308"/>
            <a:ext cx="414987" cy="414986"/>
            <a:chOff x="349648" y="2204865"/>
            <a:chExt cx="518790" cy="518788"/>
          </a:xfrm>
        </p:grpSpPr>
        <p:sp>
          <p:nvSpPr>
            <p:cNvPr id="51" name="Oval 55"/>
            <p:cNvSpPr/>
            <p:nvPr>
              <p:custDataLst>
                <p:tags r:id="rId1"/>
              </p:custDataLst>
            </p:nvPr>
          </p:nvSpPr>
          <p:spPr>
            <a:xfrm>
              <a:off x="349648" y="2204865"/>
              <a:ext cx="518790" cy="518788"/>
            </a:xfrm>
            <a:prstGeom prst="ellipse">
              <a:avLst/>
            </a:prstGeom>
            <a:gradFill flip="none" rotWithShape="1">
              <a:gsLst>
                <a:gs pos="79000">
                  <a:schemeClr val="bg1">
                    <a:lumMod val="50000"/>
                  </a:schemeClr>
                </a:gs>
                <a:gs pos="19000">
                  <a:schemeClr val="bg1">
                    <a:lumMod val="80000"/>
                  </a:schemeClr>
                </a:gs>
                <a:gs pos="47000">
                  <a:schemeClr val="bg1">
                    <a:lumMod val="95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  <a:effectLst>
              <a:outerShdw blurRad="38100" dist="127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52" name="Oval 56"/>
            <p:cNvSpPr/>
            <p:nvPr>
              <p:custDataLst>
                <p:tags r:id="rId2"/>
              </p:custDataLst>
            </p:nvPr>
          </p:nvSpPr>
          <p:spPr>
            <a:xfrm>
              <a:off x="391262" y="2246478"/>
              <a:ext cx="435563" cy="435563"/>
            </a:xfrm>
            <a:prstGeom prst="ellipse">
              <a:avLst/>
            </a:prstGeom>
            <a:solidFill>
              <a:srgbClr val="0D65AC"/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300" dirty="0" smtClean="0">
                  <a:solidFill>
                    <a:schemeClr val="bg1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8</a:t>
              </a:r>
              <a:endParaRPr lang="en-US" sz="1300" dirty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</p:grpSp>
      <p:sp>
        <p:nvSpPr>
          <p:cNvPr id="2" name="오른쪽 화살표 1"/>
          <p:cNvSpPr/>
          <p:nvPr/>
        </p:nvSpPr>
        <p:spPr>
          <a:xfrm>
            <a:off x="325114" y="5949280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944545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2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1000" tmFilter="0, 0; .2, .5; .8, .5; 1, 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" dur="500" autoRev="1" fill="hold"/>
                                        <p:tgtEl>
                                          <p:spTgt spid="3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1000" tmFilter="0, 0; .2, .5; .8, .5; 1, 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" dur="500" autoRev="1" fill="hold"/>
                                        <p:tgtEl>
                                          <p:spTgt spid="3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1000" tmFilter="0, 0; .2, .5; .8, .5; 1, 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9" dur="500" autoRev="1" fill="hold"/>
                                        <p:tgtEl>
                                          <p:spTgt spid="3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1000" tmFilter="0, 0; .2, .5; .8, .5; 1, 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3" dur="500" autoRev="1" fill="hold"/>
                                        <p:tgtEl>
                                          <p:spTgt spid="4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0"/>
                            </p:stCondLst>
                            <p:childTnLst>
                              <p:par>
                                <p:cTn id="25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1000" tmFilter="0, 0; .2, .5; .8, .5; 1, 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7" dur="500" autoRev="1" fill="hold"/>
                                        <p:tgtEl>
                                          <p:spTgt spid="4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6000"/>
                            </p:stCondLst>
                            <p:childTnLst>
                              <p:par>
                                <p:cTn id="29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1000" tmFilter="0, 0; .2, .5; .8, .5; 1, 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1" dur="500" autoRev="1" fill="hold"/>
                                        <p:tgtEl>
                                          <p:spTgt spid="4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7000"/>
                            </p:stCondLst>
                            <p:childTnLst>
                              <p:par>
                                <p:cTn id="33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" dur="1000" tmFilter="0, 0; .2, .5; .8, .5; 1, 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5" dur="500" autoRev="1" fill="hold"/>
                                        <p:tgtEl>
                                          <p:spTgt spid="5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5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12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12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7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그림 8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972623" y="502827"/>
            <a:ext cx="7585412" cy="3976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희귀난치성질환 국가 지원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관리 </a:t>
            </a:r>
            <a:r>
              <a:rPr lang="ko-KR" altLang="en-US" sz="24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정책 」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94164" y="1162405"/>
            <a:ext cx="8542332" cy="18004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정부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2016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까지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4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대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중증질환의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건강보험 영역 포함」추진 계획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①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지원대상 질환종류는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137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개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지원의료비는 감소 </a:t>
            </a:r>
            <a:r>
              <a:rPr lang="ko-KR" altLang="en-US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b="1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  ＇</a:t>
            </a:r>
            <a:r>
              <a:rPr lang="en-US" altLang="ko-KR" sz="1400" b="1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13</a:t>
            </a:r>
            <a:r>
              <a:rPr lang="ko-KR" altLang="en-US" sz="1400" b="1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년 </a:t>
            </a:r>
            <a:r>
              <a:rPr lang="en-US" altLang="ko-KR" sz="1400" b="1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315</a:t>
            </a:r>
            <a:r>
              <a:rPr lang="ko-KR" altLang="en-US" sz="1400" b="1" dirty="0" err="1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억원</a:t>
            </a:r>
            <a:r>
              <a:rPr lang="en-US" altLang="ko-KR" sz="1400" b="1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b="1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＇</a:t>
            </a:r>
            <a:r>
              <a:rPr lang="en-US" altLang="ko-KR" sz="1400" b="1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14</a:t>
            </a:r>
            <a:r>
              <a:rPr lang="ko-KR" altLang="en-US" sz="1400" b="1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년 </a:t>
            </a:r>
            <a:r>
              <a:rPr lang="en-US" altLang="ko-KR" sz="1400" b="1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280</a:t>
            </a:r>
            <a:r>
              <a:rPr lang="ko-KR" altLang="en-US" sz="1400" b="1" dirty="0" err="1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억원</a:t>
            </a:r>
            <a:endParaRPr lang="en-US" altLang="ko-KR" sz="1400" b="1" dirty="0" smtClean="0">
              <a:solidFill>
                <a:srgbClr val="C00000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②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환자생존 필수의료기구인 가정용 호흡보조기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  </a:t>
            </a:r>
            <a:r>
              <a:rPr lang="ko-KR" altLang="en-US" sz="1400" b="1" dirty="0" err="1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비급여대상</a:t>
            </a:r>
            <a:r>
              <a:rPr lang="ko-KR" altLang="en-US" sz="1400" b="1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b="1" dirty="0" err="1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보장성</a:t>
            </a:r>
            <a:r>
              <a:rPr lang="ko-KR" altLang="en-US" sz="1400" b="1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 미</a:t>
            </a:r>
            <a:r>
              <a:rPr lang="ko-KR" altLang="en-US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흡</a:t>
            </a:r>
            <a:endParaRPr lang="en-US" altLang="ko-KR" sz="1400" b="1" dirty="0" smtClean="0">
              <a:solidFill>
                <a:srgbClr val="C00000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③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정부차원의 법적 지원 근거 없어 </a:t>
            </a:r>
            <a:r>
              <a:rPr lang="ko-KR" altLang="en-US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b="1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   지속적인 지원이 불투명한 상황</a:t>
            </a:r>
            <a:endParaRPr lang="en-US" altLang="ko-KR" sz="1400" b="1" dirty="0" smtClean="0">
              <a:solidFill>
                <a:srgbClr val="C00000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*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일본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＇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13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년 관련법 제정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소비세 징수 등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으로 비용 충당 법적 근거 마련 </a:t>
            </a:r>
            <a:endParaRPr lang="ko-KR" altLang="en-US" sz="12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75202" y="6083787"/>
            <a:ext cx="814928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희귀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난치성질환」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에 대한 법적 지원 및 비용 충당 근거 등 대책</a:t>
            </a:r>
            <a:endParaRPr lang="ko-KR" altLang="en-US" sz="2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3428" y="3509980"/>
            <a:ext cx="2105025" cy="2390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0" name="그룹 79"/>
          <p:cNvGrpSpPr/>
          <p:nvPr/>
        </p:nvGrpSpPr>
        <p:grpSpPr>
          <a:xfrm>
            <a:off x="5219916" y="5009953"/>
            <a:ext cx="3338119" cy="234592"/>
            <a:chOff x="2588254" y="4824768"/>
            <a:chExt cx="3063866" cy="234592"/>
          </a:xfrm>
        </p:grpSpPr>
        <p:cxnSp>
          <p:nvCxnSpPr>
            <p:cNvPr id="17" name="Straight Connector 37"/>
            <p:cNvCxnSpPr/>
            <p:nvPr>
              <p:custDataLst>
                <p:tags r:id="rId6"/>
              </p:custDataLst>
            </p:nvPr>
          </p:nvCxnSpPr>
          <p:spPr>
            <a:xfrm>
              <a:off x="3906757" y="4824768"/>
              <a:ext cx="1745363" cy="0"/>
            </a:xfrm>
            <a:prstGeom prst="line">
              <a:avLst/>
            </a:prstGeom>
            <a:ln w="3175">
              <a:solidFill>
                <a:srgbClr val="F0B71F"/>
              </a:solidFill>
              <a:headEnd type="oval" w="sm" len="sm"/>
              <a:tailEnd type="oval" w="sm" len="sm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37"/>
            <p:cNvCxnSpPr/>
            <p:nvPr>
              <p:custDataLst>
                <p:tags r:id="rId7"/>
              </p:custDataLst>
            </p:nvPr>
          </p:nvCxnSpPr>
          <p:spPr>
            <a:xfrm>
              <a:off x="2588254" y="5059359"/>
              <a:ext cx="1001810" cy="0"/>
            </a:xfrm>
            <a:prstGeom prst="line">
              <a:avLst/>
            </a:prstGeom>
            <a:ln w="3175">
              <a:solidFill>
                <a:srgbClr val="F0B71F"/>
              </a:solidFill>
              <a:headEnd type="oval" w="sm" len="sm"/>
              <a:tailEnd type="oval" w="sm" len="sm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37"/>
            <p:cNvCxnSpPr/>
            <p:nvPr>
              <p:custDataLst>
                <p:tags r:id="rId8"/>
              </p:custDataLst>
            </p:nvPr>
          </p:nvCxnSpPr>
          <p:spPr>
            <a:xfrm flipV="1">
              <a:off x="3590064" y="4824768"/>
              <a:ext cx="316693" cy="234592"/>
            </a:xfrm>
            <a:prstGeom prst="line">
              <a:avLst/>
            </a:prstGeom>
            <a:ln w="3175">
              <a:solidFill>
                <a:srgbClr val="F0B71F"/>
              </a:solidFill>
              <a:headEnd type="oval" w="sm" len="sm"/>
              <a:tailEnd type="oval" w="sm" len="sm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9" name="그룹 78"/>
          <p:cNvGrpSpPr/>
          <p:nvPr/>
        </p:nvGrpSpPr>
        <p:grpSpPr>
          <a:xfrm>
            <a:off x="5239964" y="4349745"/>
            <a:ext cx="2932435" cy="234592"/>
            <a:chOff x="2592279" y="4106960"/>
            <a:chExt cx="2705780" cy="234592"/>
          </a:xfrm>
        </p:grpSpPr>
        <p:cxnSp>
          <p:nvCxnSpPr>
            <p:cNvPr id="28" name="Straight Connector 37"/>
            <p:cNvCxnSpPr/>
            <p:nvPr>
              <p:custDataLst>
                <p:tags r:id="rId3"/>
              </p:custDataLst>
            </p:nvPr>
          </p:nvCxnSpPr>
          <p:spPr>
            <a:xfrm>
              <a:off x="3910782" y="4106960"/>
              <a:ext cx="1387277" cy="2"/>
            </a:xfrm>
            <a:prstGeom prst="line">
              <a:avLst/>
            </a:prstGeom>
            <a:ln w="3175">
              <a:solidFill>
                <a:schemeClr val="accent2"/>
              </a:solidFill>
              <a:headEnd type="oval" w="sm" len="sm"/>
              <a:tailEnd type="oval" w="sm" len="sm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37"/>
            <p:cNvCxnSpPr/>
            <p:nvPr>
              <p:custDataLst>
                <p:tags r:id="rId4"/>
              </p:custDataLst>
            </p:nvPr>
          </p:nvCxnSpPr>
          <p:spPr>
            <a:xfrm>
              <a:off x="2592279" y="4341551"/>
              <a:ext cx="1001810" cy="0"/>
            </a:xfrm>
            <a:prstGeom prst="line">
              <a:avLst/>
            </a:prstGeom>
            <a:ln w="3175">
              <a:solidFill>
                <a:schemeClr val="accent2"/>
              </a:solidFill>
              <a:headEnd type="oval" w="sm" len="sm"/>
              <a:tailEnd type="oval" w="sm" len="sm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37"/>
            <p:cNvCxnSpPr/>
            <p:nvPr>
              <p:custDataLst>
                <p:tags r:id="rId5"/>
              </p:custDataLst>
            </p:nvPr>
          </p:nvCxnSpPr>
          <p:spPr>
            <a:xfrm flipV="1">
              <a:off x="3594089" y="4106960"/>
              <a:ext cx="316693" cy="234592"/>
            </a:xfrm>
            <a:prstGeom prst="line">
              <a:avLst/>
            </a:prstGeom>
            <a:ln w="3175">
              <a:solidFill>
                <a:schemeClr val="accent2"/>
              </a:solidFill>
              <a:headEnd type="oval" w="sm" len="sm"/>
              <a:tailEnd type="oval" w="sm" len="sm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1" name="그룹 80"/>
          <p:cNvGrpSpPr/>
          <p:nvPr/>
        </p:nvGrpSpPr>
        <p:grpSpPr>
          <a:xfrm>
            <a:off x="2987824" y="3982528"/>
            <a:ext cx="1489061" cy="321812"/>
            <a:chOff x="852200" y="3739743"/>
            <a:chExt cx="976999" cy="321812"/>
          </a:xfrm>
        </p:grpSpPr>
        <p:cxnSp>
          <p:nvCxnSpPr>
            <p:cNvPr id="38" name="Straight Connector 37"/>
            <p:cNvCxnSpPr/>
            <p:nvPr>
              <p:custDataLst>
                <p:tags r:id="rId1"/>
              </p:custDataLst>
            </p:nvPr>
          </p:nvCxnSpPr>
          <p:spPr>
            <a:xfrm>
              <a:off x="1591077" y="3739743"/>
              <a:ext cx="238122" cy="321812"/>
            </a:xfrm>
            <a:prstGeom prst="line">
              <a:avLst/>
            </a:prstGeom>
            <a:ln w="3175">
              <a:solidFill>
                <a:schemeClr val="tx2"/>
              </a:solidFill>
              <a:headEnd type="oval" w="sm" len="sm"/>
              <a:tailEnd type="oval" w="sm" len="sm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37"/>
            <p:cNvCxnSpPr/>
            <p:nvPr>
              <p:custDataLst>
                <p:tags r:id="rId2"/>
              </p:custDataLst>
            </p:nvPr>
          </p:nvCxnSpPr>
          <p:spPr>
            <a:xfrm>
              <a:off x="852200" y="3739743"/>
              <a:ext cx="739567" cy="0"/>
            </a:xfrm>
            <a:prstGeom prst="line">
              <a:avLst/>
            </a:prstGeom>
            <a:ln w="3175">
              <a:solidFill>
                <a:schemeClr val="tx2"/>
              </a:solidFill>
              <a:headEnd type="oval" w="sm" len="sm"/>
              <a:tailEnd type="oval" w="sm" len="sm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8" name="TextBox 47"/>
          <p:cNvSpPr txBox="1"/>
          <p:nvPr/>
        </p:nvSpPr>
        <p:spPr>
          <a:xfrm>
            <a:off x="2898949" y="3450537"/>
            <a:ext cx="18722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한 병 </a:t>
            </a:r>
            <a:r>
              <a:rPr lang="en-US" altLang="ko-KR" sz="28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669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만 원</a:t>
            </a:r>
            <a:endParaRPr lang="ko-KR" altLang="en-US" sz="14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6567274" y="3781120"/>
            <a:ext cx="18722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한 달 </a:t>
            </a:r>
            <a:r>
              <a:rPr lang="en-US" altLang="ko-KR" sz="28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4</a:t>
            </a:r>
            <a:r>
              <a:rPr lang="ko-KR" altLang="en-US" sz="28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천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만 원</a:t>
            </a:r>
            <a:endParaRPr lang="ko-KR" altLang="en-US" sz="14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6526242" y="4467041"/>
            <a:ext cx="24152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1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년  </a:t>
            </a:r>
            <a:r>
              <a:rPr lang="en-US" altLang="ko-KR" sz="28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4</a:t>
            </a:r>
            <a:r>
              <a:rPr lang="ko-KR" altLang="en-US" sz="28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억</a:t>
            </a:r>
            <a:r>
              <a:rPr lang="en-US" altLang="ko-KR" sz="28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8</a:t>
            </a:r>
            <a:r>
              <a:rPr lang="ko-KR" altLang="en-US" sz="28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천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만 원</a:t>
            </a:r>
            <a:endParaRPr lang="ko-KR" altLang="en-US" sz="14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" name="모서리가 둥근 직사각형 1"/>
          <p:cNvSpPr/>
          <p:nvPr/>
        </p:nvSpPr>
        <p:spPr>
          <a:xfrm>
            <a:off x="827584" y="4941168"/>
            <a:ext cx="2952328" cy="741505"/>
          </a:xfrm>
          <a:prstGeom prst="roundRect">
            <a:avLst/>
          </a:prstGeom>
          <a:solidFill>
            <a:schemeClr val="tx2">
              <a:lumMod val="75000"/>
              <a:alpha val="3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ko-KR" altLang="en-US" dirty="0"/>
          </a:p>
        </p:txBody>
      </p:sp>
      <p:sp>
        <p:nvSpPr>
          <p:cNvPr id="31" name="직사각형 30"/>
          <p:cNvSpPr/>
          <p:nvPr/>
        </p:nvSpPr>
        <p:spPr>
          <a:xfrm>
            <a:off x="937027" y="4944009"/>
            <a:ext cx="2733442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400" dirty="0">
                <a:latin typeface="HY견고딕" panose="02030600000101010101" pitchFamily="18" charset="-127"/>
                <a:ea typeface="HY견고딕" panose="02030600000101010101" pitchFamily="18" charset="-127"/>
              </a:rPr>
              <a:t>발작성 야간 </a:t>
            </a:r>
            <a:r>
              <a:rPr lang="ko-KR" altLang="en-US" sz="1400" dirty="0" err="1">
                <a:latin typeface="HY견고딕" panose="02030600000101010101" pitchFamily="18" charset="-127"/>
                <a:ea typeface="HY견고딕" panose="02030600000101010101" pitchFamily="18" charset="-127"/>
              </a:rPr>
              <a:t>혈색소뇨증</a:t>
            </a:r>
            <a:r>
              <a:rPr lang="en-US" altLang="ko-KR" sz="1400" dirty="0">
                <a:latin typeface="HY견고딕" panose="02030600000101010101" pitchFamily="18" charset="-127"/>
                <a:ea typeface="HY견고딕" panose="02030600000101010101" pitchFamily="18" charset="-127"/>
              </a:rPr>
              <a:t>(PNH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) </a:t>
            </a:r>
          </a:p>
          <a:p>
            <a:pPr algn="ctr">
              <a:lnSpc>
                <a:spcPct val="150000"/>
              </a:lnSpc>
            </a:pP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치료제 「</a:t>
            </a:r>
            <a:r>
              <a:rPr lang="ko-KR" altLang="en-US" sz="14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솔리리스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」</a:t>
            </a:r>
            <a:endParaRPr lang="ko-KR" altLang="en-US" sz="14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2" name="오른쪽 화살표 31"/>
          <p:cNvSpPr/>
          <p:nvPr/>
        </p:nvSpPr>
        <p:spPr>
          <a:xfrm>
            <a:off x="5364088" y="166707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3" name="오른쪽 화살표 32"/>
          <p:cNvSpPr/>
          <p:nvPr/>
        </p:nvSpPr>
        <p:spPr>
          <a:xfrm>
            <a:off x="5131953" y="199753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4" name="오른쪽 화살표 33"/>
          <p:cNvSpPr/>
          <p:nvPr/>
        </p:nvSpPr>
        <p:spPr>
          <a:xfrm>
            <a:off x="4141800" y="233399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5" name="오른쪽 화살표 34"/>
          <p:cNvSpPr/>
          <p:nvPr/>
        </p:nvSpPr>
        <p:spPr>
          <a:xfrm>
            <a:off x="479743" y="6204793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419460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5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12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12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7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그림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953583" y="507290"/>
            <a:ext cx="7585412" cy="3976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생애주기별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맞춤형 「국가검진제도」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94164" y="1173105"/>
            <a:ext cx="8326308" cy="18928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국가검진제도의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목적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 질병의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조기발견과 사전예방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사망률 감소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등</a:t>
            </a:r>
            <a:endParaRPr lang="en-US" altLang="ko-KR" sz="1600" b="1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건강검진에 대한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만족도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  응답자의 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64.9%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만 만족 의견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12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 기준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</a:p>
          <a:p>
            <a:pPr fontAlgn="base">
              <a:lnSpc>
                <a:spcPct val="150000"/>
              </a:lnSpc>
            </a:pP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는 검진제도의 분산 운영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검진주기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항목이 일부 부적절하게 운영</a:t>
            </a:r>
            <a:endParaRPr lang="en-US" altLang="ko-KR" sz="14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또한 검진결과의 후속연계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사후관리 수단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)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미흡으로 실효성이 낮음</a:t>
            </a:r>
            <a:endParaRPr lang="en-US" altLang="ko-KR" sz="14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초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중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고 건강검진은 교육부 소관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학교장이 자의적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인위적인 검진기관 선택</a:t>
            </a:r>
            <a:endParaRPr lang="en-US" altLang="ko-KR" sz="1600" b="1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002591" y="5569233"/>
            <a:ext cx="753761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관계부처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교육부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고용노동부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)·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학계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검진기관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단체 등과의</a:t>
            </a:r>
            <a:endParaRPr lang="en-US" altLang="ko-KR" sz="20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긴밀한 협의 통해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국가검진 실효성 개선대책」 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필요</a:t>
            </a:r>
            <a:endParaRPr lang="ko-KR" altLang="en-US" sz="2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770" y="3429000"/>
            <a:ext cx="3465160" cy="1476599"/>
          </a:xfrm>
          <a:prstGeom prst="rect">
            <a:avLst/>
          </a:prstGeom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2949" y="3552432"/>
            <a:ext cx="4377121" cy="135560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오른쪽 화살표 14"/>
          <p:cNvSpPr/>
          <p:nvPr/>
        </p:nvSpPr>
        <p:spPr>
          <a:xfrm>
            <a:off x="3023828" y="137549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오른쪽 화살표 15"/>
          <p:cNvSpPr/>
          <p:nvPr/>
        </p:nvSpPr>
        <p:spPr>
          <a:xfrm>
            <a:off x="3254524" y="171460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오른쪽 화살표 16"/>
          <p:cNvSpPr/>
          <p:nvPr/>
        </p:nvSpPr>
        <p:spPr>
          <a:xfrm>
            <a:off x="4427984" y="276946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오른쪽 화살표 17"/>
          <p:cNvSpPr/>
          <p:nvPr/>
        </p:nvSpPr>
        <p:spPr>
          <a:xfrm>
            <a:off x="494164" y="5739636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98306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직사각형 79"/>
          <p:cNvSpPr/>
          <p:nvPr/>
        </p:nvSpPr>
        <p:spPr>
          <a:xfrm>
            <a:off x="6765181" y="5250422"/>
            <a:ext cx="325298" cy="4932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9" name="직사각형 78"/>
          <p:cNvSpPr/>
          <p:nvPr/>
        </p:nvSpPr>
        <p:spPr>
          <a:xfrm>
            <a:off x="6733103" y="4706034"/>
            <a:ext cx="329891" cy="4932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8" name="직사각형 77"/>
          <p:cNvSpPr/>
          <p:nvPr/>
        </p:nvSpPr>
        <p:spPr>
          <a:xfrm>
            <a:off x="6733103" y="4119732"/>
            <a:ext cx="144016" cy="4932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7" name="직사각형 76"/>
          <p:cNvSpPr/>
          <p:nvPr/>
        </p:nvSpPr>
        <p:spPr>
          <a:xfrm>
            <a:off x="6177022" y="5243694"/>
            <a:ext cx="483210" cy="4932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6" name="직사각형 75"/>
          <p:cNvSpPr/>
          <p:nvPr/>
        </p:nvSpPr>
        <p:spPr>
          <a:xfrm>
            <a:off x="6169608" y="4696983"/>
            <a:ext cx="490624" cy="4932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5" name="직사각형 74"/>
          <p:cNvSpPr/>
          <p:nvPr/>
        </p:nvSpPr>
        <p:spPr>
          <a:xfrm>
            <a:off x="6167630" y="4119731"/>
            <a:ext cx="530027" cy="4932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3" name="직사각형 72"/>
          <p:cNvSpPr/>
          <p:nvPr/>
        </p:nvSpPr>
        <p:spPr>
          <a:xfrm>
            <a:off x="6158154" y="3501055"/>
            <a:ext cx="539504" cy="4932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2" name="직사각형 71"/>
          <p:cNvSpPr/>
          <p:nvPr/>
        </p:nvSpPr>
        <p:spPr>
          <a:xfrm>
            <a:off x="2570639" y="5260002"/>
            <a:ext cx="310604" cy="4932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1" name="직사각형 70"/>
          <p:cNvSpPr/>
          <p:nvPr/>
        </p:nvSpPr>
        <p:spPr>
          <a:xfrm>
            <a:off x="2567282" y="4674355"/>
            <a:ext cx="288032" cy="4932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0" name="직사각형 69"/>
          <p:cNvSpPr/>
          <p:nvPr/>
        </p:nvSpPr>
        <p:spPr>
          <a:xfrm>
            <a:off x="2567282" y="4101276"/>
            <a:ext cx="288032" cy="4932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직사각형 20"/>
          <p:cNvSpPr/>
          <p:nvPr/>
        </p:nvSpPr>
        <p:spPr>
          <a:xfrm>
            <a:off x="2547589" y="3489398"/>
            <a:ext cx="288032" cy="4932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4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5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12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12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7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그림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1055343" y="619060"/>
            <a:ext cx="7926364" cy="3631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국민 구강검진 향상 </a:t>
            </a:r>
            <a:r>
              <a:rPr lang="en-US" altLang="ko-KR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-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중장기적 구강건강 예방사업 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진단</a:t>
            </a:r>
            <a:endParaRPr lang="en-US" sz="22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94164" y="1171939"/>
            <a:ext cx="832630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12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세 아동의 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젖니충치경험치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유치우식경험자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지수    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OECD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국가 중 하위그룹</a:t>
            </a:r>
            <a:endParaRPr lang="en-US" altLang="ko-KR" sz="1600" b="1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우리나라 구강보건예산 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노인틀니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b="1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임플란트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급여화 등 노인관련 정책에 편중</a:t>
            </a:r>
            <a:endParaRPr lang="en-US" altLang="ko-KR" sz="1600" b="1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구강질환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생활습관에 의해 주로 발생 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생활습관의 개선 우선적 필요</a:t>
            </a:r>
            <a:endParaRPr lang="en-US" altLang="ko-KR" sz="1600" b="1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국가차원의 적극적인 충치예방사업과 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학교구강보건실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설치 확대 필요</a:t>
            </a:r>
            <a:endParaRPr lang="en-US" altLang="ko-KR" sz="1600" b="1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82876" y="6067754"/>
            <a:ext cx="8209379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2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범정부적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차원의 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全국민 구강질환 예방사업」</a:t>
            </a:r>
            <a:r>
              <a:rPr lang="ko-KR" altLang="en-US" sz="22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지속 확</a:t>
            </a:r>
            <a:r>
              <a:rPr lang="ko-KR" altLang="en-US" sz="2200" dirty="0">
                <a:latin typeface="HY견고딕" panose="02030600000101010101" pitchFamily="18" charset="-127"/>
                <a:ea typeface="HY견고딕" panose="02030600000101010101" pitchFamily="18" charset="-127"/>
              </a:rPr>
              <a:t>대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필요</a:t>
            </a:r>
            <a:endParaRPr lang="ko-KR" altLang="en-US" sz="22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5" name="오른쪽 화살표 14"/>
          <p:cNvSpPr/>
          <p:nvPr/>
        </p:nvSpPr>
        <p:spPr>
          <a:xfrm>
            <a:off x="5688327" y="134837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오른쪽 화살표 15"/>
          <p:cNvSpPr/>
          <p:nvPr/>
        </p:nvSpPr>
        <p:spPr>
          <a:xfrm>
            <a:off x="3113990" y="172676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오른쪽 화살표 16"/>
          <p:cNvSpPr/>
          <p:nvPr/>
        </p:nvSpPr>
        <p:spPr>
          <a:xfrm>
            <a:off x="4522004" y="208234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TextBox 2"/>
          <p:cNvSpPr txBox="1"/>
          <p:nvPr/>
        </p:nvSpPr>
        <p:spPr>
          <a:xfrm>
            <a:off x="7257344" y="194723"/>
            <a:ext cx="1440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[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정책백서</a:t>
            </a:r>
            <a:r>
              <a:rPr lang="en-US" altLang="ko-KR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]</a:t>
            </a:r>
            <a:endParaRPr lang="ko-KR" alt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2050" name="Picture 2" descr="flag">
            <a:hlinkClick r:id="rId4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4426" y="5302908"/>
            <a:ext cx="543288" cy="407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flag">
            <a:hlinkClick r:id="rId6"/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8310" y="3575210"/>
            <a:ext cx="543288" cy="407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flag">
            <a:hlinkClick r:id="rId8"/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8310" y="4162638"/>
            <a:ext cx="543288" cy="407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flag">
            <a:hlinkClick r:id="rId10"/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9681" y="4735717"/>
            <a:ext cx="543288" cy="407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 descr="flag">
            <a:hlinkClick r:id="rId12"/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7610" y="5321364"/>
            <a:ext cx="543288" cy="407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2" name="Picture 14" descr="flag">
            <a:hlinkClick r:id="rId14"/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4426" y="4144182"/>
            <a:ext cx="543288" cy="407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4" name="Picture 16" descr="flag">
            <a:hlinkClick r:id="rId16"/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4426" y="3556754"/>
            <a:ext cx="543288" cy="407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6" name="Picture 18" descr="flag">
            <a:hlinkClick r:id="rId18"/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4426" y="4717261"/>
            <a:ext cx="543288" cy="407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/>
          <p:cNvSpPr txBox="1"/>
          <p:nvPr/>
        </p:nvSpPr>
        <p:spPr>
          <a:xfrm>
            <a:off x="1663984" y="2942926"/>
            <a:ext cx="66840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주요 국가별 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12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세 영구치 충치경험도 </a:t>
            </a:r>
            <a:r>
              <a:rPr lang="en-US" altLang="ko-KR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보건복지부</a:t>
            </a:r>
            <a:r>
              <a:rPr lang="en-US" altLang="ko-KR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2014</a:t>
            </a:r>
            <a:r>
              <a:rPr lang="ko-KR" altLang="en-US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년 지역사회통합건강증진사업안내</a:t>
            </a:r>
            <a:r>
              <a:rPr lang="en-US" altLang="ko-KR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endParaRPr lang="ko-KR" altLang="en-US" sz="11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727916" y="3735370"/>
            <a:ext cx="64641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덴마크</a:t>
            </a:r>
            <a:endParaRPr lang="ko-KR" altLang="en-US" sz="1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1727916" y="4311284"/>
            <a:ext cx="64641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독일</a:t>
            </a:r>
            <a:endParaRPr lang="ko-KR" altLang="en-US" sz="1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1727916" y="4878506"/>
            <a:ext cx="64641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영국</a:t>
            </a:r>
            <a:endParaRPr lang="ko-KR" altLang="en-US" sz="1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1727916" y="5460884"/>
            <a:ext cx="75585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네덜란드</a:t>
            </a:r>
            <a:endParaRPr lang="ko-KR" altLang="en-US" sz="1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5427714" y="3717999"/>
            <a:ext cx="64641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호주</a:t>
            </a:r>
            <a:endParaRPr lang="ko-KR" altLang="en-US" sz="1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5427714" y="4288222"/>
            <a:ext cx="64641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미국</a:t>
            </a:r>
            <a:endParaRPr lang="ko-KR" altLang="en-US" sz="1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5427714" y="4870565"/>
            <a:ext cx="64641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일본</a:t>
            </a:r>
            <a:endParaRPr lang="ko-KR" altLang="en-US" sz="1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420412" y="5435506"/>
            <a:ext cx="64641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한국</a:t>
            </a:r>
            <a:endParaRPr lang="ko-KR" altLang="en-US" sz="1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20" name="그림 19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2068" y="3470975"/>
            <a:ext cx="541482" cy="553439"/>
          </a:xfrm>
          <a:prstGeom prst="rect">
            <a:avLst/>
          </a:prstGeom>
        </p:spPr>
      </p:pic>
      <p:pic>
        <p:nvPicPr>
          <p:cNvPr id="54" name="그림 53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8995" y="3470975"/>
            <a:ext cx="541482" cy="553439"/>
          </a:xfrm>
          <a:prstGeom prst="rect">
            <a:avLst/>
          </a:prstGeom>
        </p:spPr>
      </p:pic>
      <p:pic>
        <p:nvPicPr>
          <p:cNvPr id="55" name="그림 54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1090" y="4089651"/>
            <a:ext cx="541482" cy="553439"/>
          </a:xfrm>
          <a:prstGeom prst="rect">
            <a:avLst/>
          </a:prstGeom>
        </p:spPr>
      </p:pic>
      <p:pic>
        <p:nvPicPr>
          <p:cNvPr id="56" name="그림 55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8017" y="4089651"/>
            <a:ext cx="541482" cy="553439"/>
          </a:xfrm>
          <a:prstGeom prst="rect">
            <a:avLst/>
          </a:prstGeom>
        </p:spPr>
      </p:pic>
      <p:pic>
        <p:nvPicPr>
          <p:cNvPr id="57" name="그림 56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2068" y="4666903"/>
            <a:ext cx="541482" cy="553439"/>
          </a:xfrm>
          <a:prstGeom prst="rect">
            <a:avLst/>
          </a:prstGeom>
        </p:spPr>
      </p:pic>
      <p:pic>
        <p:nvPicPr>
          <p:cNvPr id="58" name="그림 57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8995" y="4666903"/>
            <a:ext cx="541482" cy="553439"/>
          </a:xfrm>
          <a:prstGeom prst="rect">
            <a:avLst/>
          </a:prstGeom>
        </p:spPr>
      </p:pic>
      <p:pic>
        <p:nvPicPr>
          <p:cNvPr id="59" name="그림 58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1090" y="5248377"/>
            <a:ext cx="541482" cy="553439"/>
          </a:xfrm>
          <a:prstGeom prst="rect">
            <a:avLst/>
          </a:prstGeom>
        </p:spPr>
      </p:pic>
      <p:pic>
        <p:nvPicPr>
          <p:cNvPr id="60" name="그림 59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8017" y="5248377"/>
            <a:ext cx="541482" cy="553439"/>
          </a:xfrm>
          <a:prstGeom prst="rect">
            <a:avLst/>
          </a:prstGeom>
        </p:spPr>
      </p:pic>
      <p:pic>
        <p:nvPicPr>
          <p:cNvPr id="61" name="그림 60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176" y="3470975"/>
            <a:ext cx="541482" cy="553439"/>
          </a:xfrm>
          <a:prstGeom prst="rect">
            <a:avLst/>
          </a:prstGeom>
        </p:spPr>
      </p:pic>
      <p:pic>
        <p:nvPicPr>
          <p:cNvPr id="62" name="그림 61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3103" y="3470975"/>
            <a:ext cx="541482" cy="553439"/>
          </a:xfrm>
          <a:prstGeom prst="rect">
            <a:avLst/>
          </a:prstGeom>
        </p:spPr>
      </p:pic>
      <p:pic>
        <p:nvPicPr>
          <p:cNvPr id="63" name="그림 62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176" y="4089651"/>
            <a:ext cx="541482" cy="553439"/>
          </a:xfrm>
          <a:prstGeom prst="rect">
            <a:avLst/>
          </a:prstGeom>
        </p:spPr>
      </p:pic>
      <p:pic>
        <p:nvPicPr>
          <p:cNvPr id="64" name="그림 63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3103" y="4089651"/>
            <a:ext cx="541482" cy="553439"/>
          </a:xfrm>
          <a:prstGeom prst="rect">
            <a:avLst/>
          </a:prstGeom>
        </p:spPr>
      </p:pic>
      <p:pic>
        <p:nvPicPr>
          <p:cNvPr id="65" name="그림 64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176" y="4666903"/>
            <a:ext cx="541482" cy="553439"/>
          </a:xfrm>
          <a:prstGeom prst="rect">
            <a:avLst/>
          </a:prstGeom>
        </p:spPr>
      </p:pic>
      <p:pic>
        <p:nvPicPr>
          <p:cNvPr id="66" name="그림 65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3103" y="4666903"/>
            <a:ext cx="541482" cy="553439"/>
          </a:xfrm>
          <a:prstGeom prst="rect">
            <a:avLst/>
          </a:prstGeom>
        </p:spPr>
      </p:pic>
      <p:pic>
        <p:nvPicPr>
          <p:cNvPr id="67" name="그림 66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176" y="5220342"/>
            <a:ext cx="541482" cy="553439"/>
          </a:xfrm>
          <a:prstGeom prst="rect">
            <a:avLst/>
          </a:prstGeom>
        </p:spPr>
      </p:pic>
      <p:pic>
        <p:nvPicPr>
          <p:cNvPr id="68" name="그림 67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3103" y="5220342"/>
            <a:ext cx="541482" cy="553439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3743908" y="3612259"/>
            <a:ext cx="7780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0.6</a:t>
            </a:r>
            <a:endParaRPr lang="ko-KR" altLang="en-US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3743908" y="4165111"/>
            <a:ext cx="7780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0.7</a:t>
            </a:r>
            <a:endParaRPr lang="ko-KR" altLang="en-US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3743908" y="4746252"/>
            <a:ext cx="7780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0.7</a:t>
            </a:r>
            <a:endParaRPr lang="ko-KR" altLang="en-US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3743908" y="5341042"/>
            <a:ext cx="7780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0.8</a:t>
            </a:r>
            <a:endParaRPr lang="ko-KR" altLang="en-US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7492929" y="3594888"/>
            <a:ext cx="7780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1.0</a:t>
            </a:r>
            <a:endParaRPr lang="ko-KR" altLang="en-US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7492929" y="4144182"/>
            <a:ext cx="7780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1.19</a:t>
            </a:r>
            <a:endParaRPr lang="ko-KR" altLang="en-US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7492929" y="4735717"/>
            <a:ext cx="7780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1.7</a:t>
            </a:r>
            <a:endParaRPr lang="ko-KR" altLang="en-US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7492929" y="5312395"/>
            <a:ext cx="7780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1.8</a:t>
            </a:r>
            <a:endParaRPr lang="ko-KR" altLang="en-US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23" name="그림 22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408" y="2870489"/>
            <a:ext cx="471769" cy="452652"/>
          </a:xfrm>
          <a:prstGeom prst="rect">
            <a:avLst/>
          </a:prstGeom>
        </p:spPr>
      </p:pic>
      <p:pic>
        <p:nvPicPr>
          <p:cNvPr id="24" name="그림 23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133" y="2826837"/>
            <a:ext cx="546317" cy="524180"/>
          </a:xfrm>
          <a:prstGeom prst="rect">
            <a:avLst/>
          </a:prstGeom>
        </p:spPr>
      </p:pic>
      <p:sp>
        <p:nvSpPr>
          <p:cNvPr id="74" name="오른쪽 화살표 73"/>
          <p:cNvSpPr/>
          <p:nvPr/>
        </p:nvSpPr>
        <p:spPr>
          <a:xfrm>
            <a:off x="387682" y="6219288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669830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000"/>
                            </p:stCondLst>
                            <p:childTnLst>
                              <p:par>
                                <p:cTn id="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500"/>
                            </p:stCondLst>
                            <p:childTnLst>
                              <p:par>
                                <p:cTn id="1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3000"/>
                            </p:stCondLst>
                            <p:childTnLst>
                              <p:par>
                                <p:cTn id="1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500"/>
                            </p:stCondLst>
                            <p:childTnLst>
                              <p:par>
                                <p:cTn id="2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4000"/>
                            </p:stCondLst>
                            <p:childTnLst>
                              <p:par>
                                <p:cTn id="2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4500"/>
                            </p:stCondLst>
                            <p:childTnLst>
                              <p:par>
                                <p:cTn id="3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000"/>
                            </p:stCondLst>
                            <p:childTnLst>
                              <p:par>
                                <p:cTn id="3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500"/>
                            </p:stCondLst>
                            <p:childTnLst>
                              <p:par>
                                <p:cTn id="3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6000"/>
                            </p:stCondLst>
                            <p:childTnLst>
                              <p:par>
                                <p:cTn id="4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6500"/>
                            </p:stCondLst>
                            <p:childTnLst>
                              <p:par>
                                <p:cTn id="4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7000"/>
                            </p:stCondLst>
                            <p:childTnLst>
                              <p:par>
                                <p:cTn id="5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0" grpId="0" animBg="1"/>
      <p:bldP spid="79" grpId="0" animBg="1"/>
      <p:bldP spid="78" grpId="0" animBg="1"/>
      <p:bldP spid="77" grpId="0" animBg="1"/>
      <p:bldP spid="76" grpId="0" animBg="1"/>
      <p:bldP spid="75" grpId="0" animBg="1"/>
      <p:bldP spid="73" grpId="0" animBg="1"/>
      <p:bldP spid="72" grpId="0" animBg="1"/>
      <p:bldP spid="71" grpId="0" animBg="1"/>
      <p:bldP spid="70" grpId="0" animBg="1"/>
      <p:bldP spid="21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5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12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12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7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그림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837992" y="507290"/>
            <a:ext cx="7585412" cy="4124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국가검진 </a:t>
            </a:r>
            <a:r>
              <a:rPr lang="en-US" altLang="ko-KR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- </a:t>
            </a:r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사회적 약자 </a:t>
            </a:r>
            <a:r>
              <a:rPr lang="ko-KR" altLang="en-US" sz="26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수검률</a:t>
            </a:r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</a:t>
            </a:r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sz="26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pSp>
        <p:nvGrpSpPr>
          <p:cNvPr id="10" name="Group 2"/>
          <p:cNvGrpSpPr>
            <a:grpSpLocks/>
          </p:cNvGrpSpPr>
          <p:nvPr/>
        </p:nvGrpSpPr>
        <p:grpSpPr bwMode="auto">
          <a:xfrm>
            <a:off x="1106435" y="3778841"/>
            <a:ext cx="1947874" cy="1249992"/>
            <a:chOff x="672" y="1344"/>
            <a:chExt cx="2130" cy="1486"/>
          </a:xfrm>
        </p:grpSpPr>
        <p:sp>
          <p:nvSpPr>
            <p:cNvPr id="12" name="AutoShape 3"/>
            <p:cNvSpPr>
              <a:spLocks noChangeArrowheads="1"/>
            </p:cNvSpPr>
            <p:nvPr/>
          </p:nvSpPr>
          <p:spPr bwMode="gray">
            <a:xfrm>
              <a:off x="672" y="1872"/>
              <a:ext cx="2112" cy="958"/>
            </a:xfrm>
            <a:prstGeom prst="roundRect">
              <a:avLst>
                <a:gd name="adj" fmla="val 10347"/>
              </a:avLst>
            </a:prstGeom>
            <a:gradFill rotWithShape="1">
              <a:gsLst>
                <a:gs pos="0">
                  <a:srgbClr val="CCECFF"/>
                </a:gs>
                <a:gs pos="100000">
                  <a:srgbClr val="CCECFF">
                    <a:gamma/>
                    <a:tint val="0"/>
                    <a:invGamma/>
                  </a:srgbClr>
                </a:gs>
              </a:gsLst>
              <a:lin ang="18900000" scaled="1"/>
            </a:gradFill>
            <a:ln w="50800">
              <a:solidFill>
                <a:srgbClr val="7099E2"/>
              </a:solidFill>
              <a:round/>
              <a:headEnd/>
              <a:tailEnd/>
            </a:ln>
            <a:effectLst>
              <a:outerShdw dist="107763" dir="2700000" algn="ctr" rotWithShape="0">
                <a:srgbClr val="C0C0C0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endParaRPr lang="ko-KR" altLang="en-US"/>
            </a:p>
          </p:txBody>
        </p:sp>
        <p:grpSp>
          <p:nvGrpSpPr>
            <p:cNvPr id="13" name="Group 4"/>
            <p:cNvGrpSpPr>
              <a:grpSpLocks/>
            </p:cNvGrpSpPr>
            <p:nvPr/>
          </p:nvGrpSpPr>
          <p:grpSpPr bwMode="auto">
            <a:xfrm>
              <a:off x="2304" y="1344"/>
              <a:ext cx="498" cy="1245"/>
              <a:chOff x="2304" y="1344"/>
              <a:chExt cx="498" cy="1245"/>
            </a:xfrm>
          </p:grpSpPr>
          <p:sp>
            <p:nvSpPr>
              <p:cNvPr id="14" name="Freeform 5"/>
              <p:cNvSpPr>
                <a:spLocks/>
              </p:cNvSpPr>
              <p:nvPr/>
            </p:nvSpPr>
            <p:spPr bwMode="gray">
              <a:xfrm>
                <a:off x="2425" y="1344"/>
                <a:ext cx="233" cy="254"/>
              </a:xfrm>
              <a:custGeom>
                <a:avLst/>
                <a:gdLst>
                  <a:gd name="T0" fmla="*/ 133 w 267"/>
                  <a:gd name="T1" fmla="*/ 0 h 292"/>
                  <a:gd name="T2" fmla="*/ 161 w 267"/>
                  <a:gd name="T3" fmla="*/ 3 h 292"/>
                  <a:gd name="T4" fmla="*/ 186 w 267"/>
                  <a:gd name="T5" fmla="*/ 12 h 292"/>
                  <a:gd name="T6" fmla="*/ 209 w 267"/>
                  <a:gd name="T7" fmla="*/ 25 h 292"/>
                  <a:gd name="T8" fmla="*/ 228 w 267"/>
                  <a:gd name="T9" fmla="*/ 42 h 292"/>
                  <a:gd name="T10" fmla="*/ 245 w 267"/>
                  <a:gd name="T11" fmla="*/ 64 h 292"/>
                  <a:gd name="T12" fmla="*/ 257 w 267"/>
                  <a:gd name="T13" fmla="*/ 88 h 292"/>
                  <a:gd name="T14" fmla="*/ 265 w 267"/>
                  <a:gd name="T15" fmla="*/ 116 h 292"/>
                  <a:gd name="T16" fmla="*/ 267 w 267"/>
                  <a:gd name="T17" fmla="*/ 146 h 292"/>
                  <a:gd name="T18" fmla="*/ 265 w 267"/>
                  <a:gd name="T19" fmla="*/ 175 h 292"/>
                  <a:gd name="T20" fmla="*/ 257 w 267"/>
                  <a:gd name="T21" fmla="*/ 203 h 292"/>
                  <a:gd name="T22" fmla="*/ 245 w 267"/>
                  <a:gd name="T23" fmla="*/ 227 h 292"/>
                  <a:gd name="T24" fmla="*/ 228 w 267"/>
                  <a:gd name="T25" fmla="*/ 249 h 292"/>
                  <a:gd name="T26" fmla="*/ 209 w 267"/>
                  <a:gd name="T27" fmla="*/ 267 h 292"/>
                  <a:gd name="T28" fmla="*/ 186 w 267"/>
                  <a:gd name="T29" fmla="*/ 281 h 292"/>
                  <a:gd name="T30" fmla="*/ 161 w 267"/>
                  <a:gd name="T31" fmla="*/ 289 h 292"/>
                  <a:gd name="T32" fmla="*/ 133 w 267"/>
                  <a:gd name="T33" fmla="*/ 292 h 292"/>
                  <a:gd name="T34" fmla="*/ 103 w 267"/>
                  <a:gd name="T35" fmla="*/ 288 h 292"/>
                  <a:gd name="T36" fmla="*/ 75 w 267"/>
                  <a:gd name="T37" fmla="*/ 277 h 292"/>
                  <a:gd name="T38" fmla="*/ 51 w 267"/>
                  <a:gd name="T39" fmla="*/ 260 h 292"/>
                  <a:gd name="T40" fmla="*/ 29 w 267"/>
                  <a:gd name="T41" fmla="*/ 237 h 292"/>
                  <a:gd name="T42" fmla="*/ 13 w 267"/>
                  <a:gd name="T43" fmla="*/ 210 h 292"/>
                  <a:gd name="T44" fmla="*/ 4 w 267"/>
                  <a:gd name="T45" fmla="*/ 178 h 292"/>
                  <a:gd name="T46" fmla="*/ 0 w 267"/>
                  <a:gd name="T47" fmla="*/ 146 h 292"/>
                  <a:gd name="T48" fmla="*/ 4 w 267"/>
                  <a:gd name="T49" fmla="*/ 113 h 292"/>
                  <a:gd name="T50" fmla="*/ 13 w 267"/>
                  <a:gd name="T51" fmla="*/ 81 h 292"/>
                  <a:gd name="T52" fmla="*/ 29 w 267"/>
                  <a:gd name="T53" fmla="*/ 54 h 292"/>
                  <a:gd name="T54" fmla="*/ 51 w 267"/>
                  <a:gd name="T55" fmla="*/ 32 h 292"/>
                  <a:gd name="T56" fmla="*/ 75 w 267"/>
                  <a:gd name="T57" fmla="*/ 14 h 292"/>
                  <a:gd name="T58" fmla="*/ 103 w 267"/>
                  <a:gd name="T59" fmla="*/ 3 h 292"/>
                  <a:gd name="T60" fmla="*/ 133 w 267"/>
                  <a:gd name="T61" fmla="*/ 0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67" h="292">
                    <a:moveTo>
                      <a:pt x="133" y="0"/>
                    </a:moveTo>
                    <a:lnTo>
                      <a:pt x="161" y="3"/>
                    </a:lnTo>
                    <a:lnTo>
                      <a:pt x="186" y="12"/>
                    </a:lnTo>
                    <a:lnTo>
                      <a:pt x="209" y="25"/>
                    </a:lnTo>
                    <a:lnTo>
                      <a:pt x="228" y="42"/>
                    </a:lnTo>
                    <a:lnTo>
                      <a:pt x="245" y="64"/>
                    </a:lnTo>
                    <a:lnTo>
                      <a:pt x="257" y="88"/>
                    </a:lnTo>
                    <a:lnTo>
                      <a:pt x="265" y="116"/>
                    </a:lnTo>
                    <a:lnTo>
                      <a:pt x="267" y="146"/>
                    </a:lnTo>
                    <a:lnTo>
                      <a:pt x="265" y="175"/>
                    </a:lnTo>
                    <a:lnTo>
                      <a:pt x="257" y="203"/>
                    </a:lnTo>
                    <a:lnTo>
                      <a:pt x="245" y="227"/>
                    </a:lnTo>
                    <a:lnTo>
                      <a:pt x="228" y="249"/>
                    </a:lnTo>
                    <a:lnTo>
                      <a:pt x="209" y="267"/>
                    </a:lnTo>
                    <a:lnTo>
                      <a:pt x="186" y="281"/>
                    </a:lnTo>
                    <a:lnTo>
                      <a:pt x="161" y="289"/>
                    </a:lnTo>
                    <a:lnTo>
                      <a:pt x="133" y="292"/>
                    </a:lnTo>
                    <a:lnTo>
                      <a:pt x="103" y="288"/>
                    </a:lnTo>
                    <a:lnTo>
                      <a:pt x="75" y="277"/>
                    </a:lnTo>
                    <a:lnTo>
                      <a:pt x="51" y="260"/>
                    </a:lnTo>
                    <a:lnTo>
                      <a:pt x="29" y="237"/>
                    </a:lnTo>
                    <a:lnTo>
                      <a:pt x="13" y="210"/>
                    </a:lnTo>
                    <a:lnTo>
                      <a:pt x="4" y="178"/>
                    </a:lnTo>
                    <a:lnTo>
                      <a:pt x="0" y="146"/>
                    </a:lnTo>
                    <a:lnTo>
                      <a:pt x="4" y="113"/>
                    </a:lnTo>
                    <a:lnTo>
                      <a:pt x="13" y="81"/>
                    </a:lnTo>
                    <a:lnTo>
                      <a:pt x="29" y="54"/>
                    </a:lnTo>
                    <a:lnTo>
                      <a:pt x="51" y="32"/>
                    </a:lnTo>
                    <a:lnTo>
                      <a:pt x="75" y="14"/>
                    </a:lnTo>
                    <a:lnTo>
                      <a:pt x="103" y="3"/>
                    </a:lnTo>
                    <a:lnTo>
                      <a:pt x="133" y="0"/>
                    </a:lnTo>
                    <a:close/>
                  </a:path>
                </a:pathLst>
              </a:custGeom>
              <a:solidFill>
                <a:srgbClr val="7099E2"/>
              </a:solidFill>
              <a:ln>
                <a:noFill/>
              </a:ln>
              <a:effectLst>
                <a:outerShdw dist="91581" dir="3378596" algn="ctr" rotWithShape="0">
                  <a:srgbClr val="C0C0C0">
                    <a:alpha val="50000"/>
                  </a:srgbClr>
                </a:outerShdw>
              </a:effectLst>
              <a:extLst>
                <a:ext uri="{91240B29-F687-4F45-9708-019B960494DF}">
                  <a14:hiddenLine xmlns:a14="http://schemas.microsoft.com/office/drawing/2010/main" w="0">
                    <a:solidFill>
                      <a:srgbClr val="F7F161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5" name="Freeform 6"/>
              <p:cNvSpPr>
                <a:spLocks/>
              </p:cNvSpPr>
              <p:nvPr/>
            </p:nvSpPr>
            <p:spPr bwMode="gray">
              <a:xfrm>
                <a:off x="2304" y="1625"/>
                <a:ext cx="498" cy="964"/>
              </a:xfrm>
              <a:custGeom>
                <a:avLst/>
                <a:gdLst>
                  <a:gd name="T0" fmla="*/ 72 w 573"/>
                  <a:gd name="T1" fmla="*/ 5 h 1111"/>
                  <a:gd name="T2" fmla="*/ 30 w 573"/>
                  <a:gd name="T3" fmla="*/ 32 h 1111"/>
                  <a:gd name="T4" fmla="*/ 4 w 573"/>
                  <a:gd name="T5" fmla="*/ 75 h 1111"/>
                  <a:gd name="T6" fmla="*/ 0 w 573"/>
                  <a:gd name="T7" fmla="*/ 509 h 1111"/>
                  <a:gd name="T8" fmla="*/ 1 w 573"/>
                  <a:gd name="T9" fmla="*/ 516 h 1111"/>
                  <a:gd name="T10" fmla="*/ 9 w 573"/>
                  <a:gd name="T11" fmla="*/ 533 h 1111"/>
                  <a:gd name="T12" fmla="*/ 26 w 573"/>
                  <a:gd name="T13" fmla="*/ 550 h 1111"/>
                  <a:gd name="T14" fmla="*/ 56 w 573"/>
                  <a:gd name="T15" fmla="*/ 557 h 1111"/>
                  <a:gd name="T16" fmla="*/ 84 w 573"/>
                  <a:gd name="T17" fmla="*/ 551 h 1111"/>
                  <a:gd name="T18" fmla="*/ 100 w 573"/>
                  <a:gd name="T19" fmla="*/ 534 h 1111"/>
                  <a:gd name="T20" fmla="*/ 106 w 573"/>
                  <a:gd name="T21" fmla="*/ 516 h 1111"/>
                  <a:gd name="T22" fmla="*/ 108 w 573"/>
                  <a:gd name="T23" fmla="*/ 503 h 1111"/>
                  <a:gd name="T24" fmla="*/ 108 w 573"/>
                  <a:gd name="T25" fmla="*/ 166 h 1111"/>
                  <a:gd name="T26" fmla="*/ 135 w 573"/>
                  <a:gd name="T27" fmla="*/ 1066 h 1111"/>
                  <a:gd name="T28" fmla="*/ 138 w 573"/>
                  <a:gd name="T29" fmla="*/ 1073 h 1111"/>
                  <a:gd name="T30" fmla="*/ 151 w 573"/>
                  <a:gd name="T31" fmla="*/ 1089 h 1111"/>
                  <a:gd name="T32" fmla="*/ 174 w 573"/>
                  <a:gd name="T33" fmla="*/ 1105 h 1111"/>
                  <a:gd name="T34" fmla="*/ 199 w 573"/>
                  <a:gd name="T35" fmla="*/ 1111 h 1111"/>
                  <a:gd name="T36" fmla="*/ 227 w 573"/>
                  <a:gd name="T37" fmla="*/ 1110 h 1111"/>
                  <a:gd name="T38" fmla="*/ 255 w 573"/>
                  <a:gd name="T39" fmla="*/ 1097 h 1111"/>
                  <a:gd name="T40" fmla="*/ 272 w 573"/>
                  <a:gd name="T41" fmla="*/ 1080 h 1111"/>
                  <a:gd name="T42" fmla="*/ 278 w 573"/>
                  <a:gd name="T43" fmla="*/ 1068 h 1111"/>
                  <a:gd name="T44" fmla="*/ 279 w 573"/>
                  <a:gd name="T45" fmla="*/ 499 h 1111"/>
                  <a:gd name="T46" fmla="*/ 302 w 573"/>
                  <a:gd name="T47" fmla="*/ 503 h 1111"/>
                  <a:gd name="T48" fmla="*/ 302 w 573"/>
                  <a:gd name="T49" fmla="*/ 534 h 1111"/>
                  <a:gd name="T50" fmla="*/ 304 w 573"/>
                  <a:gd name="T51" fmla="*/ 590 h 1111"/>
                  <a:gd name="T52" fmla="*/ 304 w 573"/>
                  <a:gd name="T53" fmla="*/ 664 h 1111"/>
                  <a:gd name="T54" fmla="*/ 304 w 573"/>
                  <a:gd name="T55" fmla="*/ 750 h 1111"/>
                  <a:gd name="T56" fmla="*/ 304 w 573"/>
                  <a:gd name="T57" fmla="*/ 838 h 1111"/>
                  <a:gd name="T58" fmla="*/ 305 w 573"/>
                  <a:gd name="T59" fmla="*/ 926 h 1111"/>
                  <a:gd name="T60" fmla="*/ 305 w 573"/>
                  <a:gd name="T61" fmla="*/ 1004 h 1111"/>
                  <a:gd name="T62" fmla="*/ 305 w 573"/>
                  <a:gd name="T63" fmla="*/ 1066 h 1111"/>
                  <a:gd name="T64" fmla="*/ 306 w 573"/>
                  <a:gd name="T65" fmla="*/ 1073 h 1111"/>
                  <a:gd name="T66" fmla="*/ 315 w 573"/>
                  <a:gd name="T67" fmla="*/ 1088 h 1111"/>
                  <a:gd name="T68" fmla="*/ 335 w 573"/>
                  <a:gd name="T69" fmla="*/ 1103 h 1111"/>
                  <a:gd name="T70" fmla="*/ 372 w 573"/>
                  <a:gd name="T71" fmla="*/ 1111 h 1111"/>
                  <a:gd name="T72" fmla="*/ 408 w 573"/>
                  <a:gd name="T73" fmla="*/ 1103 h 1111"/>
                  <a:gd name="T74" fmla="*/ 429 w 573"/>
                  <a:gd name="T75" fmla="*/ 1089 h 1111"/>
                  <a:gd name="T76" fmla="*/ 437 w 573"/>
                  <a:gd name="T77" fmla="*/ 1073 h 1111"/>
                  <a:gd name="T78" fmla="*/ 438 w 573"/>
                  <a:gd name="T79" fmla="*/ 1067 h 1111"/>
                  <a:gd name="T80" fmla="*/ 466 w 573"/>
                  <a:gd name="T81" fmla="*/ 166 h 1111"/>
                  <a:gd name="T82" fmla="*/ 468 w 573"/>
                  <a:gd name="T83" fmla="*/ 503 h 1111"/>
                  <a:gd name="T84" fmla="*/ 472 w 573"/>
                  <a:gd name="T85" fmla="*/ 517 h 1111"/>
                  <a:gd name="T86" fmla="*/ 483 w 573"/>
                  <a:gd name="T87" fmla="*/ 537 h 1111"/>
                  <a:gd name="T88" fmla="*/ 505 w 573"/>
                  <a:gd name="T89" fmla="*/ 551 h 1111"/>
                  <a:gd name="T90" fmla="*/ 536 w 573"/>
                  <a:gd name="T91" fmla="*/ 551 h 1111"/>
                  <a:gd name="T92" fmla="*/ 557 w 573"/>
                  <a:gd name="T93" fmla="*/ 537 h 1111"/>
                  <a:gd name="T94" fmla="*/ 570 w 573"/>
                  <a:gd name="T95" fmla="*/ 517 h 1111"/>
                  <a:gd name="T96" fmla="*/ 573 w 573"/>
                  <a:gd name="T97" fmla="*/ 508 h 1111"/>
                  <a:gd name="T98" fmla="*/ 572 w 573"/>
                  <a:gd name="T99" fmla="*/ 68 h 1111"/>
                  <a:gd name="T100" fmla="*/ 546 w 573"/>
                  <a:gd name="T101" fmla="*/ 28 h 1111"/>
                  <a:gd name="T102" fmla="*/ 506 w 573"/>
                  <a:gd name="T103" fmla="*/ 4 h 1111"/>
                  <a:gd name="T104" fmla="*/ 94 w 573"/>
                  <a:gd name="T105" fmla="*/ 0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573" h="1111">
                    <a:moveTo>
                      <a:pt x="94" y="0"/>
                    </a:moveTo>
                    <a:lnTo>
                      <a:pt x="72" y="5"/>
                    </a:lnTo>
                    <a:lnTo>
                      <a:pt x="50" y="16"/>
                    </a:lnTo>
                    <a:lnTo>
                      <a:pt x="30" y="32"/>
                    </a:lnTo>
                    <a:lnTo>
                      <a:pt x="15" y="53"/>
                    </a:lnTo>
                    <a:lnTo>
                      <a:pt x="4" y="75"/>
                    </a:lnTo>
                    <a:lnTo>
                      <a:pt x="0" y="99"/>
                    </a:lnTo>
                    <a:lnTo>
                      <a:pt x="0" y="509"/>
                    </a:lnTo>
                    <a:lnTo>
                      <a:pt x="0" y="511"/>
                    </a:lnTo>
                    <a:lnTo>
                      <a:pt x="1" y="516"/>
                    </a:lnTo>
                    <a:lnTo>
                      <a:pt x="4" y="525"/>
                    </a:lnTo>
                    <a:lnTo>
                      <a:pt x="9" y="533"/>
                    </a:lnTo>
                    <a:lnTo>
                      <a:pt x="16" y="543"/>
                    </a:lnTo>
                    <a:lnTo>
                      <a:pt x="26" y="550"/>
                    </a:lnTo>
                    <a:lnTo>
                      <a:pt x="39" y="556"/>
                    </a:lnTo>
                    <a:lnTo>
                      <a:pt x="56" y="557"/>
                    </a:lnTo>
                    <a:lnTo>
                      <a:pt x="72" y="556"/>
                    </a:lnTo>
                    <a:lnTo>
                      <a:pt x="84" y="551"/>
                    </a:lnTo>
                    <a:lnTo>
                      <a:pt x="92" y="543"/>
                    </a:lnTo>
                    <a:lnTo>
                      <a:pt x="100" y="534"/>
                    </a:lnTo>
                    <a:lnTo>
                      <a:pt x="103" y="525"/>
                    </a:lnTo>
                    <a:lnTo>
                      <a:pt x="106" y="516"/>
                    </a:lnTo>
                    <a:lnTo>
                      <a:pt x="107" y="508"/>
                    </a:lnTo>
                    <a:lnTo>
                      <a:pt x="108" y="503"/>
                    </a:lnTo>
                    <a:lnTo>
                      <a:pt x="108" y="500"/>
                    </a:lnTo>
                    <a:lnTo>
                      <a:pt x="108" y="166"/>
                    </a:lnTo>
                    <a:lnTo>
                      <a:pt x="134" y="167"/>
                    </a:lnTo>
                    <a:lnTo>
                      <a:pt x="135" y="1066"/>
                    </a:lnTo>
                    <a:lnTo>
                      <a:pt x="136" y="1068"/>
                    </a:lnTo>
                    <a:lnTo>
                      <a:pt x="138" y="1073"/>
                    </a:lnTo>
                    <a:lnTo>
                      <a:pt x="143" y="1080"/>
                    </a:lnTo>
                    <a:lnTo>
                      <a:pt x="151" y="1089"/>
                    </a:lnTo>
                    <a:lnTo>
                      <a:pt x="162" y="1097"/>
                    </a:lnTo>
                    <a:lnTo>
                      <a:pt x="174" y="1105"/>
                    </a:lnTo>
                    <a:lnTo>
                      <a:pt x="189" y="1110"/>
                    </a:lnTo>
                    <a:lnTo>
                      <a:pt x="199" y="1111"/>
                    </a:lnTo>
                    <a:lnTo>
                      <a:pt x="217" y="1111"/>
                    </a:lnTo>
                    <a:lnTo>
                      <a:pt x="227" y="1110"/>
                    </a:lnTo>
                    <a:lnTo>
                      <a:pt x="243" y="1105"/>
                    </a:lnTo>
                    <a:lnTo>
                      <a:pt x="255" y="1097"/>
                    </a:lnTo>
                    <a:lnTo>
                      <a:pt x="265" y="1089"/>
                    </a:lnTo>
                    <a:lnTo>
                      <a:pt x="272" y="1080"/>
                    </a:lnTo>
                    <a:lnTo>
                      <a:pt x="276" y="1073"/>
                    </a:lnTo>
                    <a:lnTo>
                      <a:pt x="278" y="1068"/>
                    </a:lnTo>
                    <a:lnTo>
                      <a:pt x="279" y="1066"/>
                    </a:lnTo>
                    <a:lnTo>
                      <a:pt x="279" y="499"/>
                    </a:lnTo>
                    <a:lnTo>
                      <a:pt x="302" y="499"/>
                    </a:lnTo>
                    <a:lnTo>
                      <a:pt x="302" y="503"/>
                    </a:lnTo>
                    <a:lnTo>
                      <a:pt x="302" y="515"/>
                    </a:lnTo>
                    <a:lnTo>
                      <a:pt x="302" y="534"/>
                    </a:lnTo>
                    <a:lnTo>
                      <a:pt x="302" y="560"/>
                    </a:lnTo>
                    <a:lnTo>
                      <a:pt x="304" y="590"/>
                    </a:lnTo>
                    <a:lnTo>
                      <a:pt x="304" y="626"/>
                    </a:lnTo>
                    <a:lnTo>
                      <a:pt x="304" y="664"/>
                    </a:lnTo>
                    <a:lnTo>
                      <a:pt x="304" y="706"/>
                    </a:lnTo>
                    <a:lnTo>
                      <a:pt x="304" y="750"/>
                    </a:lnTo>
                    <a:lnTo>
                      <a:pt x="304" y="793"/>
                    </a:lnTo>
                    <a:lnTo>
                      <a:pt x="304" y="838"/>
                    </a:lnTo>
                    <a:lnTo>
                      <a:pt x="305" y="882"/>
                    </a:lnTo>
                    <a:lnTo>
                      <a:pt x="305" y="926"/>
                    </a:lnTo>
                    <a:lnTo>
                      <a:pt x="305" y="966"/>
                    </a:lnTo>
                    <a:lnTo>
                      <a:pt x="305" y="1004"/>
                    </a:lnTo>
                    <a:lnTo>
                      <a:pt x="305" y="1037"/>
                    </a:lnTo>
                    <a:lnTo>
                      <a:pt x="305" y="1066"/>
                    </a:lnTo>
                    <a:lnTo>
                      <a:pt x="305" y="1067"/>
                    </a:lnTo>
                    <a:lnTo>
                      <a:pt x="306" y="1073"/>
                    </a:lnTo>
                    <a:lnTo>
                      <a:pt x="310" y="1079"/>
                    </a:lnTo>
                    <a:lnTo>
                      <a:pt x="315" y="1088"/>
                    </a:lnTo>
                    <a:lnTo>
                      <a:pt x="323" y="1096"/>
                    </a:lnTo>
                    <a:lnTo>
                      <a:pt x="335" y="1103"/>
                    </a:lnTo>
                    <a:lnTo>
                      <a:pt x="351" y="1108"/>
                    </a:lnTo>
                    <a:lnTo>
                      <a:pt x="372" y="1111"/>
                    </a:lnTo>
                    <a:lnTo>
                      <a:pt x="392" y="1108"/>
                    </a:lnTo>
                    <a:lnTo>
                      <a:pt x="408" y="1103"/>
                    </a:lnTo>
                    <a:lnTo>
                      <a:pt x="420" y="1096"/>
                    </a:lnTo>
                    <a:lnTo>
                      <a:pt x="429" y="1089"/>
                    </a:lnTo>
                    <a:lnTo>
                      <a:pt x="434" y="1080"/>
                    </a:lnTo>
                    <a:lnTo>
                      <a:pt x="437" y="1073"/>
                    </a:lnTo>
                    <a:lnTo>
                      <a:pt x="438" y="1068"/>
                    </a:lnTo>
                    <a:lnTo>
                      <a:pt x="438" y="1067"/>
                    </a:lnTo>
                    <a:lnTo>
                      <a:pt x="440" y="166"/>
                    </a:lnTo>
                    <a:lnTo>
                      <a:pt x="466" y="166"/>
                    </a:lnTo>
                    <a:lnTo>
                      <a:pt x="466" y="500"/>
                    </a:lnTo>
                    <a:lnTo>
                      <a:pt x="468" y="503"/>
                    </a:lnTo>
                    <a:lnTo>
                      <a:pt x="469" y="509"/>
                    </a:lnTo>
                    <a:lnTo>
                      <a:pt x="472" y="517"/>
                    </a:lnTo>
                    <a:lnTo>
                      <a:pt x="477" y="527"/>
                    </a:lnTo>
                    <a:lnTo>
                      <a:pt x="483" y="537"/>
                    </a:lnTo>
                    <a:lnTo>
                      <a:pt x="493" y="545"/>
                    </a:lnTo>
                    <a:lnTo>
                      <a:pt x="505" y="551"/>
                    </a:lnTo>
                    <a:lnTo>
                      <a:pt x="520" y="554"/>
                    </a:lnTo>
                    <a:lnTo>
                      <a:pt x="536" y="551"/>
                    </a:lnTo>
                    <a:lnTo>
                      <a:pt x="548" y="545"/>
                    </a:lnTo>
                    <a:lnTo>
                      <a:pt x="557" y="537"/>
                    </a:lnTo>
                    <a:lnTo>
                      <a:pt x="563" y="527"/>
                    </a:lnTo>
                    <a:lnTo>
                      <a:pt x="570" y="517"/>
                    </a:lnTo>
                    <a:lnTo>
                      <a:pt x="573" y="510"/>
                    </a:lnTo>
                    <a:lnTo>
                      <a:pt x="573" y="508"/>
                    </a:lnTo>
                    <a:lnTo>
                      <a:pt x="573" y="79"/>
                    </a:lnTo>
                    <a:lnTo>
                      <a:pt x="572" y="68"/>
                    </a:lnTo>
                    <a:lnTo>
                      <a:pt x="561" y="47"/>
                    </a:lnTo>
                    <a:lnTo>
                      <a:pt x="546" y="28"/>
                    </a:lnTo>
                    <a:lnTo>
                      <a:pt x="528" y="14"/>
                    </a:lnTo>
                    <a:lnTo>
                      <a:pt x="506" y="4"/>
                    </a:lnTo>
                    <a:lnTo>
                      <a:pt x="485" y="0"/>
                    </a:lnTo>
                    <a:lnTo>
                      <a:pt x="94" y="0"/>
                    </a:lnTo>
                    <a:lnTo>
                      <a:pt x="94" y="0"/>
                    </a:lnTo>
                    <a:close/>
                  </a:path>
                </a:pathLst>
              </a:custGeom>
              <a:solidFill>
                <a:srgbClr val="7099E2"/>
              </a:solidFill>
              <a:ln>
                <a:noFill/>
              </a:ln>
              <a:effectLst>
                <a:outerShdw dist="91581" dir="3378596" algn="ctr" rotWithShape="0">
                  <a:srgbClr val="C0C0C0">
                    <a:alpha val="50000"/>
                  </a:srgbClr>
                </a:outerShdw>
              </a:effectLst>
              <a:extLst>
                <a:ext uri="{91240B29-F687-4F45-9708-019B960494DF}">
                  <a14:hiddenLine xmlns:a14="http://schemas.microsoft.com/office/drawing/2010/main" w="0">
                    <a:solidFill>
                      <a:srgbClr val="F7F161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</p:grpSp>
      </p:grpSp>
      <p:grpSp>
        <p:nvGrpSpPr>
          <p:cNvPr id="28" name="Group 2"/>
          <p:cNvGrpSpPr>
            <a:grpSpLocks/>
          </p:cNvGrpSpPr>
          <p:nvPr/>
        </p:nvGrpSpPr>
        <p:grpSpPr bwMode="auto">
          <a:xfrm>
            <a:off x="3539745" y="3784918"/>
            <a:ext cx="1947874" cy="1249992"/>
            <a:chOff x="672" y="1344"/>
            <a:chExt cx="2130" cy="1486"/>
          </a:xfrm>
        </p:grpSpPr>
        <p:sp>
          <p:nvSpPr>
            <p:cNvPr id="29" name="AutoShape 3"/>
            <p:cNvSpPr>
              <a:spLocks noChangeArrowheads="1"/>
            </p:cNvSpPr>
            <p:nvPr/>
          </p:nvSpPr>
          <p:spPr bwMode="gray">
            <a:xfrm>
              <a:off x="672" y="1872"/>
              <a:ext cx="2112" cy="958"/>
            </a:xfrm>
            <a:prstGeom prst="roundRect">
              <a:avLst>
                <a:gd name="adj" fmla="val 10347"/>
              </a:avLst>
            </a:prstGeom>
            <a:gradFill>
              <a:gsLst>
                <a:gs pos="0">
                  <a:srgbClr val="D8F4BE">
                    <a:gamma/>
                    <a:tint val="0"/>
                    <a:invGamma/>
                  </a:srgbClr>
                </a:gs>
                <a:gs pos="100000">
                  <a:srgbClr val="D8F4BE"/>
                </a:gs>
              </a:gsLst>
              <a:lin ang="2700000" scaled="1"/>
            </a:gradFill>
            <a:ln w="50800">
              <a:solidFill>
                <a:schemeClr val="accent3">
                  <a:lumMod val="60000"/>
                  <a:lumOff val="40000"/>
                </a:schemeClr>
              </a:solidFill>
              <a:round/>
              <a:headEnd/>
              <a:tailEnd/>
            </a:ln>
            <a:effectLst>
              <a:outerShdw dist="107763" dir="2700000" algn="ctr" rotWithShape="0">
                <a:srgbClr val="C0C0C0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endParaRPr lang="ko-KR" altLang="en-US"/>
            </a:p>
          </p:txBody>
        </p:sp>
        <p:grpSp>
          <p:nvGrpSpPr>
            <p:cNvPr id="30" name="Group 4"/>
            <p:cNvGrpSpPr>
              <a:grpSpLocks/>
            </p:cNvGrpSpPr>
            <p:nvPr/>
          </p:nvGrpSpPr>
          <p:grpSpPr bwMode="auto">
            <a:xfrm>
              <a:off x="2304" y="1344"/>
              <a:ext cx="498" cy="1245"/>
              <a:chOff x="2304" y="1344"/>
              <a:chExt cx="498" cy="1245"/>
            </a:xfrm>
          </p:grpSpPr>
          <p:sp>
            <p:nvSpPr>
              <p:cNvPr id="31" name="Freeform 5"/>
              <p:cNvSpPr>
                <a:spLocks/>
              </p:cNvSpPr>
              <p:nvPr/>
            </p:nvSpPr>
            <p:spPr bwMode="gray">
              <a:xfrm>
                <a:off x="2425" y="1344"/>
                <a:ext cx="233" cy="254"/>
              </a:xfrm>
              <a:custGeom>
                <a:avLst/>
                <a:gdLst>
                  <a:gd name="T0" fmla="*/ 133 w 267"/>
                  <a:gd name="T1" fmla="*/ 0 h 292"/>
                  <a:gd name="T2" fmla="*/ 161 w 267"/>
                  <a:gd name="T3" fmla="*/ 3 h 292"/>
                  <a:gd name="T4" fmla="*/ 186 w 267"/>
                  <a:gd name="T5" fmla="*/ 12 h 292"/>
                  <a:gd name="T6" fmla="*/ 209 w 267"/>
                  <a:gd name="T7" fmla="*/ 25 h 292"/>
                  <a:gd name="T8" fmla="*/ 228 w 267"/>
                  <a:gd name="T9" fmla="*/ 42 h 292"/>
                  <a:gd name="T10" fmla="*/ 245 w 267"/>
                  <a:gd name="T11" fmla="*/ 64 h 292"/>
                  <a:gd name="T12" fmla="*/ 257 w 267"/>
                  <a:gd name="T13" fmla="*/ 88 h 292"/>
                  <a:gd name="T14" fmla="*/ 265 w 267"/>
                  <a:gd name="T15" fmla="*/ 116 h 292"/>
                  <a:gd name="T16" fmla="*/ 267 w 267"/>
                  <a:gd name="T17" fmla="*/ 146 h 292"/>
                  <a:gd name="T18" fmla="*/ 265 w 267"/>
                  <a:gd name="T19" fmla="*/ 175 h 292"/>
                  <a:gd name="T20" fmla="*/ 257 w 267"/>
                  <a:gd name="T21" fmla="*/ 203 h 292"/>
                  <a:gd name="T22" fmla="*/ 245 w 267"/>
                  <a:gd name="T23" fmla="*/ 227 h 292"/>
                  <a:gd name="T24" fmla="*/ 228 w 267"/>
                  <a:gd name="T25" fmla="*/ 249 h 292"/>
                  <a:gd name="T26" fmla="*/ 209 w 267"/>
                  <a:gd name="T27" fmla="*/ 267 h 292"/>
                  <a:gd name="T28" fmla="*/ 186 w 267"/>
                  <a:gd name="T29" fmla="*/ 281 h 292"/>
                  <a:gd name="T30" fmla="*/ 161 w 267"/>
                  <a:gd name="T31" fmla="*/ 289 h 292"/>
                  <a:gd name="T32" fmla="*/ 133 w 267"/>
                  <a:gd name="T33" fmla="*/ 292 h 292"/>
                  <a:gd name="T34" fmla="*/ 103 w 267"/>
                  <a:gd name="T35" fmla="*/ 288 h 292"/>
                  <a:gd name="T36" fmla="*/ 75 w 267"/>
                  <a:gd name="T37" fmla="*/ 277 h 292"/>
                  <a:gd name="T38" fmla="*/ 51 w 267"/>
                  <a:gd name="T39" fmla="*/ 260 h 292"/>
                  <a:gd name="T40" fmla="*/ 29 w 267"/>
                  <a:gd name="T41" fmla="*/ 237 h 292"/>
                  <a:gd name="T42" fmla="*/ 13 w 267"/>
                  <a:gd name="T43" fmla="*/ 210 h 292"/>
                  <a:gd name="T44" fmla="*/ 4 w 267"/>
                  <a:gd name="T45" fmla="*/ 178 h 292"/>
                  <a:gd name="T46" fmla="*/ 0 w 267"/>
                  <a:gd name="T47" fmla="*/ 146 h 292"/>
                  <a:gd name="T48" fmla="*/ 4 w 267"/>
                  <a:gd name="T49" fmla="*/ 113 h 292"/>
                  <a:gd name="T50" fmla="*/ 13 w 267"/>
                  <a:gd name="T51" fmla="*/ 81 h 292"/>
                  <a:gd name="T52" fmla="*/ 29 w 267"/>
                  <a:gd name="T53" fmla="*/ 54 h 292"/>
                  <a:gd name="T54" fmla="*/ 51 w 267"/>
                  <a:gd name="T55" fmla="*/ 32 h 292"/>
                  <a:gd name="T56" fmla="*/ 75 w 267"/>
                  <a:gd name="T57" fmla="*/ 14 h 292"/>
                  <a:gd name="T58" fmla="*/ 103 w 267"/>
                  <a:gd name="T59" fmla="*/ 3 h 292"/>
                  <a:gd name="T60" fmla="*/ 133 w 267"/>
                  <a:gd name="T61" fmla="*/ 0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67" h="292">
                    <a:moveTo>
                      <a:pt x="133" y="0"/>
                    </a:moveTo>
                    <a:lnTo>
                      <a:pt x="161" y="3"/>
                    </a:lnTo>
                    <a:lnTo>
                      <a:pt x="186" y="12"/>
                    </a:lnTo>
                    <a:lnTo>
                      <a:pt x="209" y="25"/>
                    </a:lnTo>
                    <a:lnTo>
                      <a:pt x="228" y="42"/>
                    </a:lnTo>
                    <a:lnTo>
                      <a:pt x="245" y="64"/>
                    </a:lnTo>
                    <a:lnTo>
                      <a:pt x="257" y="88"/>
                    </a:lnTo>
                    <a:lnTo>
                      <a:pt x="265" y="116"/>
                    </a:lnTo>
                    <a:lnTo>
                      <a:pt x="267" y="146"/>
                    </a:lnTo>
                    <a:lnTo>
                      <a:pt x="265" y="175"/>
                    </a:lnTo>
                    <a:lnTo>
                      <a:pt x="257" y="203"/>
                    </a:lnTo>
                    <a:lnTo>
                      <a:pt x="245" y="227"/>
                    </a:lnTo>
                    <a:lnTo>
                      <a:pt x="228" y="249"/>
                    </a:lnTo>
                    <a:lnTo>
                      <a:pt x="209" y="267"/>
                    </a:lnTo>
                    <a:lnTo>
                      <a:pt x="186" y="281"/>
                    </a:lnTo>
                    <a:lnTo>
                      <a:pt x="161" y="289"/>
                    </a:lnTo>
                    <a:lnTo>
                      <a:pt x="133" y="292"/>
                    </a:lnTo>
                    <a:lnTo>
                      <a:pt x="103" y="288"/>
                    </a:lnTo>
                    <a:lnTo>
                      <a:pt x="75" y="277"/>
                    </a:lnTo>
                    <a:lnTo>
                      <a:pt x="51" y="260"/>
                    </a:lnTo>
                    <a:lnTo>
                      <a:pt x="29" y="237"/>
                    </a:lnTo>
                    <a:lnTo>
                      <a:pt x="13" y="210"/>
                    </a:lnTo>
                    <a:lnTo>
                      <a:pt x="4" y="178"/>
                    </a:lnTo>
                    <a:lnTo>
                      <a:pt x="0" y="146"/>
                    </a:lnTo>
                    <a:lnTo>
                      <a:pt x="4" y="113"/>
                    </a:lnTo>
                    <a:lnTo>
                      <a:pt x="13" y="81"/>
                    </a:lnTo>
                    <a:lnTo>
                      <a:pt x="29" y="54"/>
                    </a:lnTo>
                    <a:lnTo>
                      <a:pt x="51" y="32"/>
                    </a:lnTo>
                    <a:lnTo>
                      <a:pt x="75" y="14"/>
                    </a:lnTo>
                    <a:lnTo>
                      <a:pt x="103" y="3"/>
                    </a:lnTo>
                    <a:lnTo>
                      <a:pt x="133" y="0"/>
                    </a:lnTo>
                    <a:close/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 w="0">
                <a:solidFill>
                  <a:schemeClr val="accent3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  <a:effectLst>
                <a:outerShdw dist="91581" dir="3378596" algn="ctr" rotWithShape="0">
                  <a:srgbClr val="C0C0C0">
                    <a:alpha val="50000"/>
                  </a:srgbClr>
                </a:outerShdw>
              </a:effec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32" name="Freeform 6"/>
              <p:cNvSpPr>
                <a:spLocks/>
              </p:cNvSpPr>
              <p:nvPr/>
            </p:nvSpPr>
            <p:spPr bwMode="gray">
              <a:xfrm>
                <a:off x="2304" y="1625"/>
                <a:ext cx="498" cy="964"/>
              </a:xfrm>
              <a:custGeom>
                <a:avLst/>
                <a:gdLst>
                  <a:gd name="T0" fmla="*/ 72 w 573"/>
                  <a:gd name="T1" fmla="*/ 5 h 1111"/>
                  <a:gd name="T2" fmla="*/ 30 w 573"/>
                  <a:gd name="T3" fmla="*/ 32 h 1111"/>
                  <a:gd name="T4" fmla="*/ 4 w 573"/>
                  <a:gd name="T5" fmla="*/ 75 h 1111"/>
                  <a:gd name="T6" fmla="*/ 0 w 573"/>
                  <a:gd name="T7" fmla="*/ 509 h 1111"/>
                  <a:gd name="T8" fmla="*/ 1 w 573"/>
                  <a:gd name="T9" fmla="*/ 516 h 1111"/>
                  <a:gd name="T10" fmla="*/ 9 w 573"/>
                  <a:gd name="T11" fmla="*/ 533 h 1111"/>
                  <a:gd name="T12" fmla="*/ 26 w 573"/>
                  <a:gd name="T13" fmla="*/ 550 h 1111"/>
                  <a:gd name="T14" fmla="*/ 56 w 573"/>
                  <a:gd name="T15" fmla="*/ 557 h 1111"/>
                  <a:gd name="T16" fmla="*/ 84 w 573"/>
                  <a:gd name="T17" fmla="*/ 551 h 1111"/>
                  <a:gd name="T18" fmla="*/ 100 w 573"/>
                  <a:gd name="T19" fmla="*/ 534 h 1111"/>
                  <a:gd name="T20" fmla="*/ 106 w 573"/>
                  <a:gd name="T21" fmla="*/ 516 h 1111"/>
                  <a:gd name="T22" fmla="*/ 108 w 573"/>
                  <a:gd name="T23" fmla="*/ 503 h 1111"/>
                  <a:gd name="T24" fmla="*/ 108 w 573"/>
                  <a:gd name="T25" fmla="*/ 166 h 1111"/>
                  <a:gd name="T26" fmla="*/ 135 w 573"/>
                  <a:gd name="T27" fmla="*/ 1066 h 1111"/>
                  <a:gd name="T28" fmla="*/ 138 w 573"/>
                  <a:gd name="T29" fmla="*/ 1073 h 1111"/>
                  <a:gd name="T30" fmla="*/ 151 w 573"/>
                  <a:gd name="T31" fmla="*/ 1089 h 1111"/>
                  <a:gd name="T32" fmla="*/ 174 w 573"/>
                  <a:gd name="T33" fmla="*/ 1105 h 1111"/>
                  <a:gd name="T34" fmla="*/ 199 w 573"/>
                  <a:gd name="T35" fmla="*/ 1111 h 1111"/>
                  <a:gd name="T36" fmla="*/ 227 w 573"/>
                  <a:gd name="T37" fmla="*/ 1110 h 1111"/>
                  <a:gd name="T38" fmla="*/ 255 w 573"/>
                  <a:gd name="T39" fmla="*/ 1097 h 1111"/>
                  <a:gd name="T40" fmla="*/ 272 w 573"/>
                  <a:gd name="T41" fmla="*/ 1080 h 1111"/>
                  <a:gd name="T42" fmla="*/ 278 w 573"/>
                  <a:gd name="T43" fmla="*/ 1068 h 1111"/>
                  <a:gd name="T44" fmla="*/ 279 w 573"/>
                  <a:gd name="T45" fmla="*/ 499 h 1111"/>
                  <a:gd name="T46" fmla="*/ 302 w 573"/>
                  <a:gd name="T47" fmla="*/ 503 h 1111"/>
                  <a:gd name="T48" fmla="*/ 302 w 573"/>
                  <a:gd name="T49" fmla="*/ 534 h 1111"/>
                  <a:gd name="T50" fmla="*/ 304 w 573"/>
                  <a:gd name="T51" fmla="*/ 590 h 1111"/>
                  <a:gd name="T52" fmla="*/ 304 w 573"/>
                  <a:gd name="T53" fmla="*/ 664 h 1111"/>
                  <a:gd name="T54" fmla="*/ 304 w 573"/>
                  <a:gd name="T55" fmla="*/ 750 h 1111"/>
                  <a:gd name="T56" fmla="*/ 304 w 573"/>
                  <a:gd name="T57" fmla="*/ 838 h 1111"/>
                  <a:gd name="T58" fmla="*/ 305 w 573"/>
                  <a:gd name="T59" fmla="*/ 926 h 1111"/>
                  <a:gd name="T60" fmla="*/ 305 w 573"/>
                  <a:gd name="T61" fmla="*/ 1004 h 1111"/>
                  <a:gd name="T62" fmla="*/ 305 w 573"/>
                  <a:gd name="T63" fmla="*/ 1066 h 1111"/>
                  <a:gd name="T64" fmla="*/ 306 w 573"/>
                  <a:gd name="T65" fmla="*/ 1073 h 1111"/>
                  <a:gd name="T66" fmla="*/ 315 w 573"/>
                  <a:gd name="T67" fmla="*/ 1088 h 1111"/>
                  <a:gd name="T68" fmla="*/ 335 w 573"/>
                  <a:gd name="T69" fmla="*/ 1103 h 1111"/>
                  <a:gd name="T70" fmla="*/ 372 w 573"/>
                  <a:gd name="T71" fmla="*/ 1111 h 1111"/>
                  <a:gd name="T72" fmla="*/ 408 w 573"/>
                  <a:gd name="T73" fmla="*/ 1103 h 1111"/>
                  <a:gd name="T74" fmla="*/ 429 w 573"/>
                  <a:gd name="T75" fmla="*/ 1089 h 1111"/>
                  <a:gd name="T76" fmla="*/ 437 w 573"/>
                  <a:gd name="T77" fmla="*/ 1073 h 1111"/>
                  <a:gd name="T78" fmla="*/ 438 w 573"/>
                  <a:gd name="T79" fmla="*/ 1067 h 1111"/>
                  <a:gd name="T80" fmla="*/ 466 w 573"/>
                  <a:gd name="T81" fmla="*/ 166 h 1111"/>
                  <a:gd name="T82" fmla="*/ 468 w 573"/>
                  <a:gd name="T83" fmla="*/ 503 h 1111"/>
                  <a:gd name="T84" fmla="*/ 472 w 573"/>
                  <a:gd name="T85" fmla="*/ 517 h 1111"/>
                  <a:gd name="T86" fmla="*/ 483 w 573"/>
                  <a:gd name="T87" fmla="*/ 537 h 1111"/>
                  <a:gd name="T88" fmla="*/ 505 w 573"/>
                  <a:gd name="T89" fmla="*/ 551 h 1111"/>
                  <a:gd name="T90" fmla="*/ 536 w 573"/>
                  <a:gd name="T91" fmla="*/ 551 h 1111"/>
                  <a:gd name="T92" fmla="*/ 557 w 573"/>
                  <a:gd name="T93" fmla="*/ 537 h 1111"/>
                  <a:gd name="T94" fmla="*/ 570 w 573"/>
                  <a:gd name="T95" fmla="*/ 517 h 1111"/>
                  <a:gd name="T96" fmla="*/ 573 w 573"/>
                  <a:gd name="T97" fmla="*/ 508 h 1111"/>
                  <a:gd name="T98" fmla="*/ 572 w 573"/>
                  <a:gd name="T99" fmla="*/ 68 h 1111"/>
                  <a:gd name="T100" fmla="*/ 546 w 573"/>
                  <a:gd name="T101" fmla="*/ 28 h 1111"/>
                  <a:gd name="T102" fmla="*/ 506 w 573"/>
                  <a:gd name="T103" fmla="*/ 4 h 1111"/>
                  <a:gd name="T104" fmla="*/ 94 w 573"/>
                  <a:gd name="T105" fmla="*/ 0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573" h="1111">
                    <a:moveTo>
                      <a:pt x="94" y="0"/>
                    </a:moveTo>
                    <a:lnTo>
                      <a:pt x="72" y="5"/>
                    </a:lnTo>
                    <a:lnTo>
                      <a:pt x="50" y="16"/>
                    </a:lnTo>
                    <a:lnTo>
                      <a:pt x="30" y="32"/>
                    </a:lnTo>
                    <a:lnTo>
                      <a:pt x="15" y="53"/>
                    </a:lnTo>
                    <a:lnTo>
                      <a:pt x="4" y="75"/>
                    </a:lnTo>
                    <a:lnTo>
                      <a:pt x="0" y="99"/>
                    </a:lnTo>
                    <a:lnTo>
                      <a:pt x="0" y="509"/>
                    </a:lnTo>
                    <a:lnTo>
                      <a:pt x="0" y="511"/>
                    </a:lnTo>
                    <a:lnTo>
                      <a:pt x="1" y="516"/>
                    </a:lnTo>
                    <a:lnTo>
                      <a:pt x="4" y="525"/>
                    </a:lnTo>
                    <a:lnTo>
                      <a:pt x="9" y="533"/>
                    </a:lnTo>
                    <a:lnTo>
                      <a:pt x="16" y="543"/>
                    </a:lnTo>
                    <a:lnTo>
                      <a:pt x="26" y="550"/>
                    </a:lnTo>
                    <a:lnTo>
                      <a:pt x="39" y="556"/>
                    </a:lnTo>
                    <a:lnTo>
                      <a:pt x="56" y="557"/>
                    </a:lnTo>
                    <a:lnTo>
                      <a:pt x="72" y="556"/>
                    </a:lnTo>
                    <a:lnTo>
                      <a:pt x="84" y="551"/>
                    </a:lnTo>
                    <a:lnTo>
                      <a:pt x="92" y="543"/>
                    </a:lnTo>
                    <a:lnTo>
                      <a:pt x="100" y="534"/>
                    </a:lnTo>
                    <a:lnTo>
                      <a:pt x="103" y="525"/>
                    </a:lnTo>
                    <a:lnTo>
                      <a:pt x="106" y="516"/>
                    </a:lnTo>
                    <a:lnTo>
                      <a:pt x="107" y="508"/>
                    </a:lnTo>
                    <a:lnTo>
                      <a:pt x="108" y="503"/>
                    </a:lnTo>
                    <a:lnTo>
                      <a:pt x="108" y="500"/>
                    </a:lnTo>
                    <a:lnTo>
                      <a:pt x="108" y="166"/>
                    </a:lnTo>
                    <a:lnTo>
                      <a:pt x="134" y="167"/>
                    </a:lnTo>
                    <a:lnTo>
                      <a:pt x="135" y="1066"/>
                    </a:lnTo>
                    <a:lnTo>
                      <a:pt x="136" y="1068"/>
                    </a:lnTo>
                    <a:lnTo>
                      <a:pt x="138" y="1073"/>
                    </a:lnTo>
                    <a:lnTo>
                      <a:pt x="143" y="1080"/>
                    </a:lnTo>
                    <a:lnTo>
                      <a:pt x="151" y="1089"/>
                    </a:lnTo>
                    <a:lnTo>
                      <a:pt x="162" y="1097"/>
                    </a:lnTo>
                    <a:lnTo>
                      <a:pt x="174" y="1105"/>
                    </a:lnTo>
                    <a:lnTo>
                      <a:pt x="189" y="1110"/>
                    </a:lnTo>
                    <a:lnTo>
                      <a:pt x="199" y="1111"/>
                    </a:lnTo>
                    <a:lnTo>
                      <a:pt x="217" y="1111"/>
                    </a:lnTo>
                    <a:lnTo>
                      <a:pt x="227" y="1110"/>
                    </a:lnTo>
                    <a:lnTo>
                      <a:pt x="243" y="1105"/>
                    </a:lnTo>
                    <a:lnTo>
                      <a:pt x="255" y="1097"/>
                    </a:lnTo>
                    <a:lnTo>
                      <a:pt x="265" y="1089"/>
                    </a:lnTo>
                    <a:lnTo>
                      <a:pt x="272" y="1080"/>
                    </a:lnTo>
                    <a:lnTo>
                      <a:pt x="276" y="1073"/>
                    </a:lnTo>
                    <a:lnTo>
                      <a:pt x="278" y="1068"/>
                    </a:lnTo>
                    <a:lnTo>
                      <a:pt x="279" y="1066"/>
                    </a:lnTo>
                    <a:lnTo>
                      <a:pt x="279" y="499"/>
                    </a:lnTo>
                    <a:lnTo>
                      <a:pt x="302" y="499"/>
                    </a:lnTo>
                    <a:lnTo>
                      <a:pt x="302" y="503"/>
                    </a:lnTo>
                    <a:lnTo>
                      <a:pt x="302" y="515"/>
                    </a:lnTo>
                    <a:lnTo>
                      <a:pt x="302" y="534"/>
                    </a:lnTo>
                    <a:lnTo>
                      <a:pt x="302" y="560"/>
                    </a:lnTo>
                    <a:lnTo>
                      <a:pt x="304" y="590"/>
                    </a:lnTo>
                    <a:lnTo>
                      <a:pt x="304" y="626"/>
                    </a:lnTo>
                    <a:lnTo>
                      <a:pt x="304" y="664"/>
                    </a:lnTo>
                    <a:lnTo>
                      <a:pt x="304" y="706"/>
                    </a:lnTo>
                    <a:lnTo>
                      <a:pt x="304" y="750"/>
                    </a:lnTo>
                    <a:lnTo>
                      <a:pt x="304" y="793"/>
                    </a:lnTo>
                    <a:lnTo>
                      <a:pt x="304" y="838"/>
                    </a:lnTo>
                    <a:lnTo>
                      <a:pt x="305" y="882"/>
                    </a:lnTo>
                    <a:lnTo>
                      <a:pt x="305" y="926"/>
                    </a:lnTo>
                    <a:lnTo>
                      <a:pt x="305" y="966"/>
                    </a:lnTo>
                    <a:lnTo>
                      <a:pt x="305" y="1004"/>
                    </a:lnTo>
                    <a:lnTo>
                      <a:pt x="305" y="1037"/>
                    </a:lnTo>
                    <a:lnTo>
                      <a:pt x="305" y="1066"/>
                    </a:lnTo>
                    <a:lnTo>
                      <a:pt x="305" y="1067"/>
                    </a:lnTo>
                    <a:lnTo>
                      <a:pt x="306" y="1073"/>
                    </a:lnTo>
                    <a:lnTo>
                      <a:pt x="310" y="1079"/>
                    </a:lnTo>
                    <a:lnTo>
                      <a:pt x="315" y="1088"/>
                    </a:lnTo>
                    <a:lnTo>
                      <a:pt x="323" y="1096"/>
                    </a:lnTo>
                    <a:lnTo>
                      <a:pt x="335" y="1103"/>
                    </a:lnTo>
                    <a:lnTo>
                      <a:pt x="351" y="1108"/>
                    </a:lnTo>
                    <a:lnTo>
                      <a:pt x="372" y="1111"/>
                    </a:lnTo>
                    <a:lnTo>
                      <a:pt x="392" y="1108"/>
                    </a:lnTo>
                    <a:lnTo>
                      <a:pt x="408" y="1103"/>
                    </a:lnTo>
                    <a:lnTo>
                      <a:pt x="420" y="1096"/>
                    </a:lnTo>
                    <a:lnTo>
                      <a:pt x="429" y="1089"/>
                    </a:lnTo>
                    <a:lnTo>
                      <a:pt x="434" y="1080"/>
                    </a:lnTo>
                    <a:lnTo>
                      <a:pt x="437" y="1073"/>
                    </a:lnTo>
                    <a:lnTo>
                      <a:pt x="438" y="1068"/>
                    </a:lnTo>
                    <a:lnTo>
                      <a:pt x="438" y="1067"/>
                    </a:lnTo>
                    <a:lnTo>
                      <a:pt x="440" y="166"/>
                    </a:lnTo>
                    <a:lnTo>
                      <a:pt x="466" y="166"/>
                    </a:lnTo>
                    <a:lnTo>
                      <a:pt x="466" y="500"/>
                    </a:lnTo>
                    <a:lnTo>
                      <a:pt x="468" y="503"/>
                    </a:lnTo>
                    <a:lnTo>
                      <a:pt x="469" y="509"/>
                    </a:lnTo>
                    <a:lnTo>
                      <a:pt x="472" y="517"/>
                    </a:lnTo>
                    <a:lnTo>
                      <a:pt x="477" y="527"/>
                    </a:lnTo>
                    <a:lnTo>
                      <a:pt x="483" y="537"/>
                    </a:lnTo>
                    <a:lnTo>
                      <a:pt x="493" y="545"/>
                    </a:lnTo>
                    <a:lnTo>
                      <a:pt x="505" y="551"/>
                    </a:lnTo>
                    <a:lnTo>
                      <a:pt x="520" y="554"/>
                    </a:lnTo>
                    <a:lnTo>
                      <a:pt x="536" y="551"/>
                    </a:lnTo>
                    <a:lnTo>
                      <a:pt x="548" y="545"/>
                    </a:lnTo>
                    <a:lnTo>
                      <a:pt x="557" y="537"/>
                    </a:lnTo>
                    <a:lnTo>
                      <a:pt x="563" y="527"/>
                    </a:lnTo>
                    <a:lnTo>
                      <a:pt x="570" y="517"/>
                    </a:lnTo>
                    <a:lnTo>
                      <a:pt x="573" y="510"/>
                    </a:lnTo>
                    <a:lnTo>
                      <a:pt x="573" y="508"/>
                    </a:lnTo>
                    <a:lnTo>
                      <a:pt x="573" y="79"/>
                    </a:lnTo>
                    <a:lnTo>
                      <a:pt x="572" y="68"/>
                    </a:lnTo>
                    <a:lnTo>
                      <a:pt x="561" y="47"/>
                    </a:lnTo>
                    <a:lnTo>
                      <a:pt x="546" y="28"/>
                    </a:lnTo>
                    <a:lnTo>
                      <a:pt x="528" y="14"/>
                    </a:lnTo>
                    <a:lnTo>
                      <a:pt x="506" y="4"/>
                    </a:lnTo>
                    <a:lnTo>
                      <a:pt x="485" y="0"/>
                    </a:lnTo>
                    <a:lnTo>
                      <a:pt x="94" y="0"/>
                    </a:lnTo>
                    <a:lnTo>
                      <a:pt x="94" y="0"/>
                    </a:lnTo>
                    <a:close/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 w="0">
                <a:solidFill>
                  <a:schemeClr val="accent3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  <a:effectLst>
                <a:outerShdw dist="91581" dir="3378596" algn="ctr" rotWithShape="0">
                  <a:srgbClr val="C0C0C0">
                    <a:alpha val="50000"/>
                  </a:srgbClr>
                </a:outerShdw>
              </a:effectLst>
            </p:spPr>
            <p:txBody>
              <a:bodyPr/>
              <a:lstStyle/>
              <a:p>
                <a:endParaRPr lang="ko-KR" altLang="en-US"/>
              </a:p>
            </p:txBody>
          </p:sp>
        </p:grpSp>
      </p:grpSp>
      <p:grpSp>
        <p:nvGrpSpPr>
          <p:cNvPr id="33" name="Group 2"/>
          <p:cNvGrpSpPr>
            <a:grpSpLocks/>
          </p:cNvGrpSpPr>
          <p:nvPr/>
        </p:nvGrpSpPr>
        <p:grpSpPr bwMode="auto">
          <a:xfrm>
            <a:off x="5916009" y="3778841"/>
            <a:ext cx="1947874" cy="1255880"/>
            <a:chOff x="672" y="1344"/>
            <a:chExt cx="2130" cy="1493"/>
          </a:xfrm>
          <a:gradFill>
            <a:gsLst>
              <a:gs pos="0">
                <a:srgbClr val="D8F4BE">
                  <a:gamma/>
                  <a:tint val="0"/>
                  <a:invGamma/>
                </a:srgb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1"/>
          </a:gradFill>
        </p:grpSpPr>
        <p:sp>
          <p:nvSpPr>
            <p:cNvPr id="34" name="AutoShape 3"/>
            <p:cNvSpPr>
              <a:spLocks noChangeArrowheads="1"/>
            </p:cNvSpPr>
            <p:nvPr/>
          </p:nvSpPr>
          <p:spPr bwMode="gray">
            <a:xfrm>
              <a:off x="672" y="1872"/>
              <a:ext cx="2112" cy="965"/>
            </a:xfrm>
            <a:prstGeom prst="roundRect">
              <a:avLst>
                <a:gd name="adj" fmla="val 10347"/>
              </a:avLst>
            </a:prstGeom>
            <a:grpFill/>
            <a:ln w="50800">
              <a:solidFill>
                <a:schemeClr val="accent2">
                  <a:lumMod val="40000"/>
                  <a:lumOff val="60000"/>
                </a:schemeClr>
              </a:solidFill>
              <a:round/>
              <a:headEnd/>
              <a:tailEnd/>
            </a:ln>
            <a:effectLst>
              <a:outerShdw dist="107763" dir="2700000" algn="ctr" rotWithShape="0">
                <a:srgbClr val="C0C0C0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endParaRPr lang="ko-KR" altLang="en-US"/>
            </a:p>
          </p:txBody>
        </p:sp>
        <p:grpSp>
          <p:nvGrpSpPr>
            <p:cNvPr id="35" name="Group 4"/>
            <p:cNvGrpSpPr>
              <a:grpSpLocks/>
            </p:cNvGrpSpPr>
            <p:nvPr/>
          </p:nvGrpSpPr>
          <p:grpSpPr bwMode="auto">
            <a:xfrm>
              <a:off x="2304" y="1344"/>
              <a:ext cx="498" cy="1245"/>
              <a:chOff x="2304" y="1344"/>
              <a:chExt cx="498" cy="1245"/>
            </a:xfrm>
            <a:grpFill/>
          </p:grpSpPr>
          <p:sp>
            <p:nvSpPr>
              <p:cNvPr id="36" name="Freeform 5"/>
              <p:cNvSpPr>
                <a:spLocks/>
              </p:cNvSpPr>
              <p:nvPr/>
            </p:nvSpPr>
            <p:spPr bwMode="gray">
              <a:xfrm>
                <a:off x="2425" y="1344"/>
                <a:ext cx="233" cy="254"/>
              </a:xfrm>
              <a:custGeom>
                <a:avLst/>
                <a:gdLst>
                  <a:gd name="T0" fmla="*/ 133 w 267"/>
                  <a:gd name="T1" fmla="*/ 0 h 292"/>
                  <a:gd name="T2" fmla="*/ 161 w 267"/>
                  <a:gd name="T3" fmla="*/ 3 h 292"/>
                  <a:gd name="T4" fmla="*/ 186 w 267"/>
                  <a:gd name="T5" fmla="*/ 12 h 292"/>
                  <a:gd name="T6" fmla="*/ 209 w 267"/>
                  <a:gd name="T7" fmla="*/ 25 h 292"/>
                  <a:gd name="T8" fmla="*/ 228 w 267"/>
                  <a:gd name="T9" fmla="*/ 42 h 292"/>
                  <a:gd name="T10" fmla="*/ 245 w 267"/>
                  <a:gd name="T11" fmla="*/ 64 h 292"/>
                  <a:gd name="T12" fmla="*/ 257 w 267"/>
                  <a:gd name="T13" fmla="*/ 88 h 292"/>
                  <a:gd name="T14" fmla="*/ 265 w 267"/>
                  <a:gd name="T15" fmla="*/ 116 h 292"/>
                  <a:gd name="T16" fmla="*/ 267 w 267"/>
                  <a:gd name="T17" fmla="*/ 146 h 292"/>
                  <a:gd name="T18" fmla="*/ 265 w 267"/>
                  <a:gd name="T19" fmla="*/ 175 h 292"/>
                  <a:gd name="T20" fmla="*/ 257 w 267"/>
                  <a:gd name="T21" fmla="*/ 203 h 292"/>
                  <a:gd name="T22" fmla="*/ 245 w 267"/>
                  <a:gd name="T23" fmla="*/ 227 h 292"/>
                  <a:gd name="T24" fmla="*/ 228 w 267"/>
                  <a:gd name="T25" fmla="*/ 249 h 292"/>
                  <a:gd name="T26" fmla="*/ 209 w 267"/>
                  <a:gd name="T27" fmla="*/ 267 h 292"/>
                  <a:gd name="T28" fmla="*/ 186 w 267"/>
                  <a:gd name="T29" fmla="*/ 281 h 292"/>
                  <a:gd name="T30" fmla="*/ 161 w 267"/>
                  <a:gd name="T31" fmla="*/ 289 h 292"/>
                  <a:gd name="T32" fmla="*/ 133 w 267"/>
                  <a:gd name="T33" fmla="*/ 292 h 292"/>
                  <a:gd name="T34" fmla="*/ 103 w 267"/>
                  <a:gd name="T35" fmla="*/ 288 h 292"/>
                  <a:gd name="T36" fmla="*/ 75 w 267"/>
                  <a:gd name="T37" fmla="*/ 277 h 292"/>
                  <a:gd name="T38" fmla="*/ 51 w 267"/>
                  <a:gd name="T39" fmla="*/ 260 h 292"/>
                  <a:gd name="T40" fmla="*/ 29 w 267"/>
                  <a:gd name="T41" fmla="*/ 237 h 292"/>
                  <a:gd name="T42" fmla="*/ 13 w 267"/>
                  <a:gd name="T43" fmla="*/ 210 h 292"/>
                  <a:gd name="T44" fmla="*/ 4 w 267"/>
                  <a:gd name="T45" fmla="*/ 178 h 292"/>
                  <a:gd name="T46" fmla="*/ 0 w 267"/>
                  <a:gd name="T47" fmla="*/ 146 h 292"/>
                  <a:gd name="T48" fmla="*/ 4 w 267"/>
                  <a:gd name="T49" fmla="*/ 113 h 292"/>
                  <a:gd name="T50" fmla="*/ 13 w 267"/>
                  <a:gd name="T51" fmla="*/ 81 h 292"/>
                  <a:gd name="T52" fmla="*/ 29 w 267"/>
                  <a:gd name="T53" fmla="*/ 54 h 292"/>
                  <a:gd name="T54" fmla="*/ 51 w 267"/>
                  <a:gd name="T55" fmla="*/ 32 h 292"/>
                  <a:gd name="T56" fmla="*/ 75 w 267"/>
                  <a:gd name="T57" fmla="*/ 14 h 292"/>
                  <a:gd name="T58" fmla="*/ 103 w 267"/>
                  <a:gd name="T59" fmla="*/ 3 h 292"/>
                  <a:gd name="T60" fmla="*/ 133 w 267"/>
                  <a:gd name="T61" fmla="*/ 0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67" h="292">
                    <a:moveTo>
                      <a:pt x="133" y="0"/>
                    </a:moveTo>
                    <a:lnTo>
                      <a:pt x="161" y="3"/>
                    </a:lnTo>
                    <a:lnTo>
                      <a:pt x="186" y="12"/>
                    </a:lnTo>
                    <a:lnTo>
                      <a:pt x="209" y="25"/>
                    </a:lnTo>
                    <a:lnTo>
                      <a:pt x="228" y="42"/>
                    </a:lnTo>
                    <a:lnTo>
                      <a:pt x="245" y="64"/>
                    </a:lnTo>
                    <a:lnTo>
                      <a:pt x="257" y="88"/>
                    </a:lnTo>
                    <a:lnTo>
                      <a:pt x="265" y="116"/>
                    </a:lnTo>
                    <a:lnTo>
                      <a:pt x="267" y="146"/>
                    </a:lnTo>
                    <a:lnTo>
                      <a:pt x="265" y="175"/>
                    </a:lnTo>
                    <a:lnTo>
                      <a:pt x="257" y="203"/>
                    </a:lnTo>
                    <a:lnTo>
                      <a:pt x="245" y="227"/>
                    </a:lnTo>
                    <a:lnTo>
                      <a:pt x="228" y="249"/>
                    </a:lnTo>
                    <a:lnTo>
                      <a:pt x="209" y="267"/>
                    </a:lnTo>
                    <a:lnTo>
                      <a:pt x="186" y="281"/>
                    </a:lnTo>
                    <a:lnTo>
                      <a:pt x="161" y="289"/>
                    </a:lnTo>
                    <a:lnTo>
                      <a:pt x="133" y="292"/>
                    </a:lnTo>
                    <a:lnTo>
                      <a:pt x="103" y="288"/>
                    </a:lnTo>
                    <a:lnTo>
                      <a:pt x="75" y="277"/>
                    </a:lnTo>
                    <a:lnTo>
                      <a:pt x="51" y="260"/>
                    </a:lnTo>
                    <a:lnTo>
                      <a:pt x="29" y="237"/>
                    </a:lnTo>
                    <a:lnTo>
                      <a:pt x="13" y="210"/>
                    </a:lnTo>
                    <a:lnTo>
                      <a:pt x="4" y="178"/>
                    </a:lnTo>
                    <a:lnTo>
                      <a:pt x="0" y="146"/>
                    </a:lnTo>
                    <a:lnTo>
                      <a:pt x="4" y="113"/>
                    </a:lnTo>
                    <a:lnTo>
                      <a:pt x="13" y="81"/>
                    </a:lnTo>
                    <a:lnTo>
                      <a:pt x="29" y="54"/>
                    </a:lnTo>
                    <a:lnTo>
                      <a:pt x="51" y="32"/>
                    </a:lnTo>
                    <a:lnTo>
                      <a:pt x="75" y="14"/>
                    </a:lnTo>
                    <a:lnTo>
                      <a:pt x="103" y="3"/>
                    </a:lnTo>
                    <a:lnTo>
                      <a:pt x="133" y="0"/>
                    </a:ln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  <a:effectLst>
                <a:outerShdw dist="91581" dir="3378596" algn="ctr" rotWithShape="0">
                  <a:srgbClr val="C0C0C0">
                    <a:alpha val="50000"/>
                  </a:srgbClr>
                </a:outerShdw>
              </a:effectLst>
              <a:extLst>
                <a:ext uri="{91240B29-F687-4F45-9708-019B960494DF}">
                  <a14:hiddenLine xmlns:a14="http://schemas.microsoft.com/office/drawing/2010/main" w="0">
                    <a:solidFill>
                      <a:srgbClr val="F7F161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37" name="Freeform 6"/>
              <p:cNvSpPr>
                <a:spLocks/>
              </p:cNvSpPr>
              <p:nvPr/>
            </p:nvSpPr>
            <p:spPr bwMode="gray">
              <a:xfrm>
                <a:off x="2304" y="1625"/>
                <a:ext cx="498" cy="964"/>
              </a:xfrm>
              <a:custGeom>
                <a:avLst/>
                <a:gdLst>
                  <a:gd name="T0" fmla="*/ 72 w 573"/>
                  <a:gd name="T1" fmla="*/ 5 h 1111"/>
                  <a:gd name="T2" fmla="*/ 30 w 573"/>
                  <a:gd name="T3" fmla="*/ 32 h 1111"/>
                  <a:gd name="T4" fmla="*/ 4 w 573"/>
                  <a:gd name="T5" fmla="*/ 75 h 1111"/>
                  <a:gd name="T6" fmla="*/ 0 w 573"/>
                  <a:gd name="T7" fmla="*/ 509 h 1111"/>
                  <a:gd name="T8" fmla="*/ 1 w 573"/>
                  <a:gd name="T9" fmla="*/ 516 h 1111"/>
                  <a:gd name="T10" fmla="*/ 9 w 573"/>
                  <a:gd name="T11" fmla="*/ 533 h 1111"/>
                  <a:gd name="T12" fmla="*/ 26 w 573"/>
                  <a:gd name="T13" fmla="*/ 550 h 1111"/>
                  <a:gd name="T14" fmla="*/ 56 w 573"/>
                  <a:gd name="T15" fmla="*/ 557 h 1111"/>
                  <a:gd name="T16" fmla="*/ 84 w 573"/>
                  <a:gd name="T17" fmla="*/ 551 h 1111"/>
                  <a:gd name="T18" fmla="*/ 100 w 573"/>
                  <a:gd name="T19" fmla="*/ 534 h 1111"/>
                  <a:gd name="T20" fmla="*/ 106 w 573"/>
                  <a:gd name="T21" fmla="*/ 516 h 1111"/>
                  <a:gd name="T22" fmla="*/ 108 w 573"/>
                  <a:gd name="T23" fmla="*/ 503 h 1111"/>
                  <a:gd name="T24" fmla="*/ 108 w 573"/>
                  <a:gd name="T25" fmla="*/ 166 h 1111"/>
                  <a:gd name="T26" fmla="*/ 135 w 573"/>
                  <a:gd name="T27" fmla="*/ 1066 h 1111"/>
                  <a:gd name="T28" fmla="*/ 138 w 573"/>
                  <a:gd name="T29" fmla="*/ 1073 h 1111"/>
                  <a:gd name="T30" fmla="*/ 151 w 573"/>
                  <a:gd name="T31" fmla="*/ 1089 h 1111"/>
                  <a:gd name="T32" fmla="*/ 174 w 573"/>
                  <a:gd name="T33" fmla="*/ 1105 h 1111"/>
                  <a:gd name="T34" fmla="*/ 199 w 573"/>
                  <a:gd name="T35" fmla="*/ 1111 h 1111"/>
                  <a:gd name="T36" fmla="*/ 227 w 573"/>
                  <a:gd name="T37" fmla="*/ 1110 h 1111"/>
                  <a:gd name="T38" fmla="*/ 255 w 573"/>
                  <a:gd name="T39" fmla="*/ 1097 h 1111"/>
                  <a:gd name="T40" fmla="*/ 272 w 573"/>
                  <a:gd name="T41" fmla="*/ 1080 h 1111"/>
                  <a:gd name="T42" fmla="*/ 278 w 573"/>
                  <a:gd name="T43" fmla="*/ 1068 h 1111"/>
                  <a:gd name="T44" fmla="*/ 279 w 573"/>
                  <a:gd name="T45" fmla="*/ 499 h 1111"/>
                  <a:gd name="T46" fmla="*/ 302 w 573"/>
                  <a:gd name="T47" fmla="*/ 503 h 1111"/>
                  <a:gd name="T48" fmla="*/ 302 w 573"/>
                  <a:gd name="T49" fmla="*/ 534 h 1111"/>
                  <a:gd name="T50" fmla="*/ 304 w 573"/>
                  <a:gd name="T51" fmla="*/ 590 h 1111"/>
                  <a:gd name="T52" fmla="*/ 304 w 573"/>
                  <a:gd name="T53" fmla="*/ 664 h 1111"/>
                  <a:gd name="T54" fmla="*/ 304 w 573"/>
                  <a:gd name="T55" fmla="*/ 750 h 1111"/>
                  <a:gd name="T56" fmla="*/ 304 w 573"/>
                  <a:gd name="T57" fmla="*/ 838 h 1111"/>
                  <a:gd name="T58" fmla="*/ 305 w 573"/>
                  <a:gd name="T59" fmla="*/ 926 h 1111"/>
                  <a:gd name="T60" fmla="*/ 305 w 573"/>
                  <a:gd name="T61" fmla="*/ 1004 h 1111"/>
                  <a:gd name="T62" fmla="*/ 305 w 573"/>
                  <a:gd name="T63" fmla="*/ 1066 h 1111"/>
                  <a:gd name="T64" fmla="*/ 306 w 573"/>
                  <a:gd name="T65" fmla="*/ 1073 h 1111"/>
                  <a:gd name="T66" fmla="*/ 315 w 573"/>
                  <a:gd name="T67" fmla="*/ 1088 h 1111"/>
                  <a:gd name="T68" fmla="*/ 335 w 573"/>
                  <a:gd name="T69" fmla="*/ 1103 h 1111"/>
                  <a:gd name="T70" fmla="*/ 372 w 573"/>
                  <a:gd name="T71" fmla="*/ 1111 h 1111"/>
                  <a:gd name="T72" fmla="*/ 408 w 573"/>
                  <a:gd name="T73" fmla="*/ 1103 h 1111"/>
                  <a:gd name="T74" fmla="*/ 429 w 573"/>
                  <a:gd name="T75" fmla="*/ 1089 h 1111"/>
                  <a:gd name="T76" fmla="*/ 437 w 573"/>
                  <a:gd name="T77" fmla="*/ 1073 h 1111"/>
                  <a:gd name="T78" fmla="*/ 438 w 573"/>
                  <a:gd name="T79" fmla="*/ 1067 h 1111"/>
                  <a:gd name="T80" fmla="*/ 466 w 573"/>
                  <a:gd name="T81" fmla="*/ 166 h 1111"/>
                  <a:gd name="T82" fmla="*/ 468 w 573"/>
                  <a:gd name="T83" fmla="*/ 503 h 1111"/>
                  <a:gd name="T84" fmla="*/ 472 w 573"/>
                  <a:gd name="T85" fmla="*/ 517 h 1111"/>
                  <a:gd name="T86" fmla="*/ 483 w 573"/>
                  <a:gd name="T87" fmla="*/ 537 h 1111"/>
                  <a:gd name="T88" fmla="*/ 505 w 573"/>
                  <a:gd name="T89" fmla="*/ 551 h 1111"/>
                  <a:gd name="T90" fmla="*/ 536 w 573"/>
                  <a:gd name="T91" fmla="*/ 551 h 1111"/>
                  <a:gd name="T92" fmla="*/ 557 w 573"/>
                  <a:gd name="T93" fmla="*/ 537 h 1111"/>
                  <a:gd name="T94" fmla="*/ 570 w 573"/>
                  <a:gd name="T95" fmla="*/ 517 h 1111"/>
                  <a:gd name="T96" fmla="*/ 573 w 573"/>
                  <a:gd name="T97" fmla="*/ 508 h 1111"/>
                  <a:gd name="T98" fmla="*/ 572 w 573"/>
                  <a:gd name="T99" fmla="*/ 68 h 1111"/>
                  <a:gd name="T100" fmla="*/ 546 w 573"/>
                  <a:gd name="T101" fmla="*/ 28 h 1111"/>
                  <a:gd name="T102" fmla="*/ 506 w 573"/>
                  <a:gd name="T103" fmla="*/ 4 h 1111"/>
                  <a:gd name="T104" fmla="*/ 94 w 573"/>
                  <a:gd name="T105" fmla="*/ 0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573" h="1111">
                    <a:moveTo>
                      <a:pt x="94" y="0"/>
                    </a:moveTo>
                    <a:lnTo>
                      <a:pt x="72" y="5"/>
                    </a:lnTo>
                    <a:lnTo>
                      <a:pt x="50" y="16"/>
                    </a:lnTo>
                    <a:lnTo>
                      <a:pt x="30" y="32"/>
                    </a:lnTo>
                    <a:lnTo>
                      <a:pt x="15" y="53"/>
                    </a:lnTo>
                    <a:lnTo>
                      <a:pt x="4" y="75"/>
                    </a:lnTo>
                    <a:lnTo>
                      <a:pt x="0" y="99"/>
                    </a:lnTo>
                    <a:lnTo>
                      <a:pt x="0" y="509"/>
                    </a:lnTo>
                    <a:lnTo>
                      <a:pt x="0" y="511"/>
                    </a:lnTo>
                    <a:lnTo>
                      <a:pt x="1" y="516"/>
                    </a:lnTo>
                    <a:lnTo>
                      <a:pt x="4" y="525"/>
                    </a:lnTo>
                    <a:lnTo>
                      <a:pt x="9" y="533"/>
                    </a:lnTo>
                    <a:lnTo>
                      <a:pt x="16" y="543"/>
                    </a:lnTo>
                    <a:lnTo>
                      <a:pt x="26" y="550"/>
                    </a:lnTo>
                    <a:lnTo>
                      <a:pt x="39" y="556"/>
                    </a:lnTo>
                    <a:lnTo>
                      <a:pt x="56" y="557"/>
                    </a:lnTo>
                    <a:lnTo>
                      <a:pt x="72" y="556"/>
                    </a:lnTo>
                    <a:lnTo>
                      <a:pt x="84" y="551"/>
                    </a:lnTo>
                    <a:lnTo>
                      <a:pt x="92" y="543"/>
                    </a:lnTo>
                    <a:lnTo>
                      <a:pt x="100" y="534"/>
                    </a:lnTo>
                    <a:lnTo>
                      <a:pt x="103" y="525"/>
                    </a:lnTo>
                    <a:lnTo>
                      <a:pt x="106" y="516"/>
                    </a:lnTo>
                    <a:lnTo>
                      <a:pt x="107" y="508"/>
                    </a:lnTo>
                    <a:lnTo>
                      <a:pt x="108" y="503"/>
                    </a:lnTo>
                    <a:lnTo>
                      <a:pt x="108" y="500"/>
                    </a:lnTo>
                    <a:lnTo>
                      <a:pt x="108" y="166"/>
                    </a:lnTo>
                    <a:lnTo>
                      <a:pt x="134" y="167"/>
                    </a:lnTo>
                    <a:lnTo>
                      <a:pt x="135" y="1066"/>
                    </a:lnTo>
                    <a:lnTo>
                      <a:pt x="136" y="1068"/>
                    </a:lnTo>
                    <a:lnTo>
                      <a:pt x="138" y="1073"/>
                    </a:lnTo>
                    <a:lnTo>
                      <a:pt x="143" y="1080"/>
                    </a:lnTo>
                    <a:lnTo>
                      <a:pt x="151" y="1089"/>
                    </a:lnTo>
                    <a:lnTo>
                      <a:pt x="162" y="1097"/>
                    </a:lnTo>
                    <a:lnTo>
                      <a:pt x="174" y="1105"/>
                    </a:lnTo>
                    <a:lnTo>
                      <a:pt x="189" y="1110"/>
                    </a:lnTo>
                    <a:lnTo>
                      <a:pt x="199" y="1111"/>
                    </a:lnTo>
                    <a:lnTo>
                      <a:pt x="217" y="1111"/>
                    </a:lnTo>
                    <a:lnTo>
                      <a:pt x="227" y="1110"/>
                    </a:lnTo>
                    <a:lnTo>
                      <a:pt x="243" y="1105"/>
                    </a:lnTo>
                    <a:lnTo>
                      <a:pt x="255" y="1097"/>
                    </a:lnTo>
                    <a:lnTo>
                      <a:pt x="265" y="1089"/>
                    </a:lnTo>
                    <a:lnTo>
                      <a:pt x="272" y="1080"/>
                    </a:lnTo>
                    <a:lnTo>
                      <a:pt x="276" y="1073"/>
                    </a:lnTo>
                    <a:lnTo>
                      <a:pt x="278" y="1068"/>
                    </a:lnTo>
                    <a:lnTo>
                      <a:pt x="279" y="1066"/>
                    </a:lnTo>
                    <a:lnTo>
                      <a:pt x="279" y="499"/>
                    </a:lnTo>
                    <a:lnTo>
                      <a:pt x="302" y="499"/>
                    </a:lnTo>
                    <a:lnTo>
                      <a:pt x="302" y="503"/>
                    </a:lnTo>
                    <a:lnTo>
                      <a:pt x="302" y="515"/>
                    </a:lnTo>
                    <a:lnTo>
                      <a:pt x="302" y="534"/>
                    </a:lnTo>
                    <a:lnTo>
                      <a:pt x="302" y="560"/>
                    </a:lnTo>
                    <a:lnTo>
                      <a:pt x="304" y="590"/>
                    </a:lnTo>
                    <a:lnTo>
                      <a:pt x="304" y="626"/>
                    </a:lnTo>
                    <a:lnTo>
                      <a:pt x="304" y="664"/>
                    </a:lnTo>
                    <a:lnTo>
                      <a:pt x="304" y="706"/>
                    </a:lnTo>
                    <a:lnTo>
                      <a:pt x="304" y="750"/>
                    </a:lnTo>
                    <a:lnTo>
                      <a:pt x="304" y="793"/>
                    </a:lnTo>
                    <a:lnTo>
                      <a:pt x="304" y="838"/>
                    </a:lnTo>
                    <a:lnTo>
                      <a:pt x="305" y="882"/>
                    </a:lnTo>
                    <a:lnTo>
                      <a:pt x="305" y="926"/>
                    </a:lnTo>
                    <a:lnTo>
                      <a:pt x="305" y="966"/>
                    </a:lnTo>
                    <a:lnTo>
                      <a:pt x="305" y="1004"/>
                    </a:lnTo>
                    <a:lnTo>
                      <a:pt x="305" y="1037"/>
                    </a:lnTo>
                    <a:lnTo>
                      <a:pt x="305" y="1066"/>
                    </a:lnTo>
                    <a:lnTo>
                      <a:pt x="305" y="1067"/>
                    </a:lnTo>
                    <a:lnTo>
                      <a:pt x="306" y="1073"/>
                    </a:lnTo>
                    <a:lnTo>
                      <a:pt x="310" y="1079"/>
                    </a:lnTo>
                    <a:lnTo>
                      <a:pt x="315" y="1088"/>
                    </a:lnTo>
                    <a:lnTo>
                      <a:pt x="323" y="1096"/>
                    </a:lnTo>
                    <a:lnTo>
                      <a:pt x="335" y="1103"/>
                    </a:lnTo>
                    <a:lnTo>
                      <a:pt x="351" y="1108"/>
                    </a:lnTo>
                    <a:lnTo>
                      <a:pt x="372" y="1111"/>
                    </a:lnTo>
                    <a:lnTo>
                      <a:pt x="392" y="1108"/>
                    </a:lnTo>
                    <a:lnTo>
                      <a:pt x="408" y="1103"/>
                    </a:lnTo>
                    <a:lnTo>
                      <a:pt x="420" y="1096"/>
                    </a:lnTo>
                    <a:lnTo>
                      <a:pt x="429" y="1089"/>
                    </a:lnTo>
                    <a:lnTo>
                      <a:pt x="434" y="1080"/>
                    </a:lnTo>
                    <a:lnTo>
                      <a:pt x="437" y="1073"/>
                    </a:lnTo>
                    <a:lnTo>
                      <a:pt x="438" y="1068"/>
                    </a:lnTo>
                    <a:lnTo>
                      <a:pt x="438" y="1067"/>
                    </a:lnTo>
                    <a:lnTo>
                      <a:pt x="440" y="166"/>
                    </a:lnTo>
                    <a:lnTo>
                      <a:pt x="466" y="166"/>
                    </a:lnTo>
                    <a:lnTo>
                      <a:pt x="466" y="500"/>
                    </a:lnTo>
                    <a:lnTo>
                      <a:pt x="468" y="503"/>
                    </a:lnTo>
                    <a:lnTo>
                      <a:pt x="469" y="509"/>
                    </a:lnTo>
                    <a:lnTo>
                      <a:pt x="472" y="517"/>
                    </a:lnTo>
                    <a:lnTo>
                      <a:pt x="477" y="527"/>
                    </a:lnTo>
                    <a:lnTo>
                      <a:pt x="483" y="537"/>
                    </a:lnTo>
                    <a:lnTo>
                      <a:pt x="493" y="545"/>
                    </a:lnTo>
                    <a:lnTo>
                      <a:pt x="505" y="551"/>
                    </a:lnTo>
                    <a:lnTo>
                      <a:pt x="520" y="554"/>
                    </a:lnTo>
                    <a:lnTo>
                      <a:pt x="536" y="551"/>
                    </a:lnTo>
                    <a:lnTo>
                      <a:pt x="548" y="545"/>
                    </a:lnTo>
                    <a:lnTo>
                      <a:pt x="557" y="537"/>
                    </a:lnTo>
                    <a:lnTo>
                      <a:pt x="563" y="527"/>
                    </a:lnTo>
                    <a:lnTo>
                      <a:pt x="570" y="517"/>
                    </a:lnTo>
                    <a:lnTo>
                      <a:pt x="573" y="510"/>
                    </a:lnTo>
                    <a:lnTo>
                      <a:pt x="573" y="508"/>
                    </a:lnTo>
                    <a:lnTo>
                      <a:pt x="573" y="79"/>
                    </a:lnTo>
                    <a:lnTo>
                      <a:pt x="572" y="68"/>
                    </a:lnTo>
                    <a:lnTo>
                      <a:pt x="561" y="47"/>
                    </a:lnTo>
                    <a:lnTo>
                      <a:pt x="546" y="28"/>
                    </a:lnTo>
                    <a:lnTo>
                      <a:pt x="528" y="14"/>
                    </a:lnTo>
                    <a:lnTo>
                      <a:pt x="506" y="4"/>
                    </a:lnTo>
                    <a:lnTo>
                      <a:pt x="485" y="0"/>
                    </a:lnTo>
                    <a:lnTo>
                      <a:pt x="94" y="0"/>
                    </a:lnTo>
                    <a:lnTo>
                      <a:pt x="94" y="0"/>
                    </a:ln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  <a:effectLst>
                <a:outerShdw dist="91581" dir="3378596" algn="ctr" rotWithShape="0">
                  <a:srgbClr val="C0C0C0">
                    <a:alpha val="50000"/>
                  </a:srgbClr>
                </a:outerShdw>
              </a:effectLst>
              <a:extLst>
                <a:ext uri="{91240B29-F687-4F45-9708-019B960494DF}">
                  <a14:hiddenLine xmlns:a14="http://schemas.microsoft.com/office/drawing/2010/main" w="0">
                    <a:solidFill>
                      <a:srgbClr val="F7F161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</p:grpSp>
      </p:grpSp>
      <p:sp>
        <p:nvSpPr>
          <p:cNvPr id="2" name="TextBox 1"/>
          <p:cNvSpPr txBox="1"/>
          <p:nvPr/>
        </p:nvSpPr>
        <p:spPr>
          <a:xfrm>
            <a:off x="981811" y="3054118"/>
            <a:ext cx="44861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일반인 </a:t>
            </a:r>
            <a:r>
              <a:rPr lang="ko-KR" altLang="en-US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수검률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28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72.5%</a:t>
            </a:r>
            <a:r>
              <a:rPr lang="en-US" altLang="ko-KR" sz="2800" dirty="0" smtClean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(2013</a:t>
            </a: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년 기준</a:t>
            </a:r>
            <a:r>
              <a:rPr lang="en-US" altLang="ko-KR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endParaRPr lang="ko-KR" altLang="en-US" sz="28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260129" y="4308819"/>
            <a:ext cx="142532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장애인</a:t>
            </a:r>
            <a:endParaRPr lang="en-US" altLang="ko-KR" sz="16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/>
            <a:r>
              <a:rPr lang="en-US" altLang="ko-KR" sz="20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65.9%</a:t>
            </a:r>
            <a:endParaRPr lang="ko-KR" altLang="en-US" sz="200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3585696" y="4302742"/>
            <a:ext cx="142532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북한이탈주</a:t>
            </a:r>
            <a:r>
              <a:rPr lang="ko-KR" altLang="en-US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민</a:t>
            </a:r>
            <a:endParaRPr lang="en-US" altLang="ko-KR" sz="16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/>
            <a:r>
              <a:rPr lang="en-US" altLang="ko-KR" sz="20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50.7%</a:t>
            </a:r>
            <a:endParaRPr lang="ko-KR" altLang="en-US" sz="200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5983138" y="4302742"/>
            <a:ext cx="142532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65</a:t>
            </a:r>
            <a:r>
              <a:rPr lang="ko-KR" altLang="en-US" sz="1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세 이상</a:t>
            </a:r>
            <a:endParaRPr lang="en-US" altLang="ko-KR" sz="16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/>
            <a:r>
              <a:rPr lang="en-US" altLang="ko-KR" sz="20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*16.6%</a:t>
            </a:r>
            <a:endParaRPr lang="ko-KR" altLang="en-US" sz="200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5949009" y="3969067"/>
            <a:ext cx="142532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0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* </a:t>
            </a:r>
            <a:r>
              <a:rPr lang="ko-KR" altLang="en-US" sz="10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구강검진 </a:t>
            </a:r>
            <a:r>
              <a:rPr lang="ko-KR" altLang="en-US" sz="105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수검률</a:t>
            </a:r>
            <a:endParaRPr lang="ko-KR" altLang="en-US" sz="105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3561821" y="3959700"/>
            <a:ext cx="142532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0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* </a:t>
            </a:r>
            <a:r>
              <a:rPr lang="ko-KR" altLang="en-US" sz="105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의료급여수급권자</a:t>
            </a:r>
            <a:endParaRPr lang="ko-KR" altLang="en-US" sz="105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467544" y="5852744"/>
            <a:ext cx="863394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사회적 약자</a:t>
            </a:r>
            <a:r>
              <a:rPr lang="en-US" altLang="ko-KR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특수계층 </a:t>
            </a:r>
            <a:r>
              <a:rPr lang="ko-KR" altLang="en-US" sz="22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건강권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강화」 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위한 홍보</a:t>
            </a:r>
            <a:r>
              <a:rPr lang="en-US" altLang="ko-KR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대책 시급 필요</a:t>
            </a:r>
            <a:endParaRPr lang="ko-KR" altLang="en-US" sz="22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67544" y="1375495"/>
            <a:ext cx="832630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장애인 건강검진 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수검률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65.9%)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비장애인 </a:t>
            </a:r>
            <a:r>
              <a:rPr lang="ko-KR" altLang="en-US" sz="1600" b="1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수검률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72.5%)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보다 낮아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＇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3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 기준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/>
            </a:r>
            <a:b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</a:b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북한이탈주민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수검률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  일반검진이 적용된 ＇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2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43.7%,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＇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3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50.7%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에 불과</a:t>
            </a:r>
            <a:endParaRPr lang="en-US" altLang="ko-KR" sz="1600" b="1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65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세 이상 노인의 구강검진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수검률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매우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저조한 전국 평균 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0%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대에 불과</a:t>
            </a:r>
            <a:endParaRPr lang="ko-KR" altLang="en-US" sz="1600" b="1" dirty="0">
              <a:solidFill>
                <a:srgbClr val="C00000"/>
              </a:solidFill>
              <a:latin typeface="Adobe 명조 Std M" pitchFamily="18" charset="-127"/>
              <a:ea typeface="Adobe 명조 Std M" pitchFamily="18" charset="-127"/>
            </a:endParaRPr>
          </a:p>
        </p:txBody>
      </p:sp>
      <p:sp>
        <p:nvSpPr>
          <p:cNvPr id="39" name="오른쪽 화살표 38"/>
          <p:cNvSpPr/>
          <p:nvPr/>
        </p:nvSpPr>
        <p:spPr>
          <a:xfrm>
            <a:off x="3851920" y="154637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7" name="오른쪽 화살표 46"/>
          <p:cNvSpPr/>
          <p:nvPr/>
        </p:nvSpPr>
        <p:spPr>
          <a:xfrm>
            <a:off x="2946297" y="191054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8" name="오른쪽 화살표 47"/>
          <p:cNvSpPr/>
          <p:nvPr/>
        </p:nvSpPr>
        <p:spPr>
          <a:xfrm>
            <a:off x="4267543" y="227687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9" name="오른쪽 화살표 48"/>
          <p:cNvSpPr/>
          <p:nvPr/>
        </p:nvSpPr>
        <p:spPr>
          <a:xfrm>
            <a:off x="242009" y="6020594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10296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5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12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12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7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그림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953583" y="394860"/>
            <a:ext cx="7585412" cy="3754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 </a:t>
            </a:r>
            <a:r>
              <a:rPr lang="ko-KR" altLang="en-US" sz="23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범부처신약개발사업</a:t>
            </a:r>
            <a:r>
              <a:rPr lang="en-US" altLang="ko-KR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단</a:t>
            </a:r>
            <a:r>
              <a:rPr lang="en-US" altLang="ko-KR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 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운영</a:t>
            </a:r>
            <a:r>
              <a:rPr lang="en-US" altLang="ko-KR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관리」 </a:t>
            </a:r>
            <a:r>
              <a:rPr lang="ko-KR" altLang="en-US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 ①</a:t>
            </a:r>
            <a:endParaRPr lang="en-US" sz="23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747100" y="6009225"/>
            <a:ext cx="830190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글로벌 신약개발」</a:t>
            </a:r>
            <a:r>
              <a:rPr lang="en-US" altLang="ko-KR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- </a:t>
            </a:r>
            <a:r>
              <a:rPr lang="ko-KR" altLang="en-US" sz="22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범부처의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관심과 내부시스템 혁</a:t>
            </a:r>
            <a:r>
              <a:rPr lang="ko-KR" altLang="en-US" sz="2200" dirty="0">
                <a:latin typeface="HY견고딕" panose="02030600000101010101" pitchFamily="18" charset="-127"/>
                <a:ea typeface="HY견고딕" panose="02030600000101010101" pitchFamily="18" charset="-127"/>
              </a:rPr>
              <a:t>신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필요</a:t>
            </a:r>
            <a:endParaRPr lang="ko-KR" altLang="en-US" sz="22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6230" y="1027156"/>
            <a:ext cx="834424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4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＇</a:t>
            </a:r>
            <a:r>
              <a:rPr lang="en-US" altLang="ko-KR" sz="14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11</a:t>
            </a:r>
            <a:r>
              <a:rPr lang="ko-KR" altLang="en-US" sz="14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년</a:t>
            </a:r>
            <a:r>
              <a:rPr lang="en-US" altLang="ko-KR" sz="14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~</a:t>
            </a:r>
            <a:r>
              <a:rPr lang="ko-KR" altLang="en-US" sz="14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＇</a:t>
            </a:r>
            <a:r>
              <a:rPr lang="en-US" altLang="ko-KR" sz="14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20</a:t>
            </a:r>
            <a:r>
              <a:rPr lang="ko-KR" altLang="en-US" sz="14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년까지 복지부</a:t>
            </a:r>
            <a:r>
              <a:rPr lang="en-US" altLang="ko-KR" sz="14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4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미래부</a:t>
            </a:r>
            <a:r>
              <a:rPr lang="en-US" altLang="ko-KR" sz="14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4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산업부</a:t>
            </a:r>
            <a:r>
              <a:rPr lang="ko-KR" altLang="en-US" sz="14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공동 사업</a:t>
            </a:r>
            <a:r>
              <a:rPr lang="en-US" altLang="ko-KR" sz="11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1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총사업비</a:t>
            </a:r>
            <a:r>
              <a:rPr lang="ko-KR" altLang="en-US" sz="11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1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1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조</a:t>
            </a:r>
            <a:r>
              <a:rPr lang="en-US" altLang="ko-KR" sz="11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6</a:t>
            </a:r>
            <a:r>
              <a:rPr lang="ko-KR" altLang="en-US" sz="11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백억 원</a:t>
            </a:r>
            <a:r>
              <a:rPr lang="en-US" altLang="ko-KR" sz="11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en-US" altLang="ko-KR" sz="14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400" b="1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新블루오션</a:t>
            </a:r>
            <a:r>
              <a:rPr lang="ko-KR" altLang="en-US" sz="14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시장 개척</a:t>
            </a:r>
            <a:endParaRPr lang="en-US" altLang="ko-KR" sz="1400" b="1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4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정부차원</a:t>
            </a:r>
            <a:r>
              <a:rPr lang="en-US" altLang="ko-KR" sz="14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4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국제경쟁력 취약한 글로벌 </a:t>
            </a:r>
            <a:r>
              <a:rPr lang="ko-KR" altLang="en-US" sz="14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신약개발 지원 </a:t>
            </a:r>
            <a:r>
              <a:rPr lang="ko-KR" altLang="en-US" sz="14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범정부</a:t>
            </a:r>
            <a:r>
              <a:rPr lang="ko-KR" altLang="en-US" sz="14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프로젝트     </a:t>
            </a:r>
            <a:r>
              <a:rPr lang="ko-KR" altLang="en-US" sz="14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글로벌 신약 </a:t>
            </a:r>
            <a:r>
              <a:rPr lang="en-US" altLang="ko-KR" sz="14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0</a:t>
            </a:r>
            <a:r>
              <a:rPr lang="ko-KR" altLang="en-US" sz="14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개 이상 목표</a:t>
            </a:r>
            <a:endParaRPr lang="en-US" altLang="ko-KR" sz="1400" b="1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4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그간 부처별 투자 및 정부 주도의 </a:t>
            </a:r>
            <a:r>
              <a:rPr lang="en-US" altLang="ko-KR" sz="14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R&amp;D </a:t>
            </a:r>
            <a:r>
              <a:rPr lang="ko-KR" altLang="en-US" sz="14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사업방식 배제 통해</a:t>
            </a:r>
            <a:r>
              <a:rPr lang="en-US" altLang="ko-KR" sz="14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4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효율성 등 극대화 추진     </a:t>
            </a:r>
            <a:r>
              <a:rPr lang="en-US" altLang="ko-KR" sz="14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00% </a:t>
            </a:r>
            <a:r>
              <a:rPr lang="ko-KR" altLang="en-US" sz="14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민간 위임</a:t>
            </a:r>
            <a:endParaRPr lang="en-US" altLang="ko-KR" sz="1400" b="1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4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문제는 당초의 취지와 목표가 제대로 이행</a:t>
            </a:r>
            <a:r>
              <a:rPr lang="en-US" altLang="ko-KR" sz="14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4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점검 관리가 되지 못하고 있음      </a:t>
            </a:r>
            <a:r>
              <a:rPr lang="ko-KR" altLang="en-US" sz="14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의지 약화와 예산 축소</a:t>
            </a:r>
            <a:endParaRPr lang="ko-KR" altLang="en-US" sz="1400" b="1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6145" name="_x188718408" descr="EMB000032746da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641" y="3199737"/>
            <a:ext cx="3486150" cy="2300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직사각형 15"/>
          <p:cNvSpPr/>
          <p:nvPr/>
        </p:nvSpPr>
        <p:spPr>
          <a:xfrm>
            <a:off x="1505940" y="2679138"/>
            <a:ext cx="207460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 latinLnBrk="0"/>
            <a:r>
              <a:rPr lang="ko-KR" altLang="en-US" sz="1100" dirty="0">
                <a:latin typeface="HY견고딕" panose="02030600000101010101" pitchFamily="18" charset="-127"/>
                <a:ea typeface="HY견고딕" panose="02030600000101010101" pitchFamily="18" charset="-127"/>
              </a:rPr>
              <a:t>출범</a:t>
            </a:r>
            <a:r>
              <a:rPr lang="en-US" altLang="ko-KR" sz="1100" dirty="0">
                <a:latin typeface="HY견고딕" panose="02030600000101010101" pitchFamily="18" charset="-127"/>
                <a:ea typeface="HY견고딕" panose="02030600000101010101" pitchFamily="18" charset="-127"/>
              </a:rPr>
              <a:t>(2011</a:t>
            </a:r>
            <a:r>
              <a:rPr lang="ko-KR" altLang="en-US" sz="1100" dirty="0">
                <a:latin typeface="HY견고딕" panose="02030600000101010101" pitchFamily="18" charset="-127"/>
                <a:ea typeface="HY견고딕" panose="02030600000101010101" pitchFamily="18" charset="-127"/>
              </a:rPr>
              <a:t>년</a:t>
            </a:r>
            <a:r>
              <a:rPr lang="en-US" altLang="ko-KR" sz="1100" dirty="0">
                <a:latin typeface="HY견고딕" panose="02030600000101010101" pitchFamily="18" charset="-127"/>
                <a:ea typeface="HY견고딕" panose="02030600000101010101" pitchFamily="18" charset="-127"/>
              </a:rPr>
              <a:t>) </a:t>
            </a:r>
            <a:r>
              <a:rPr lang="ko-KR" altLang="en-US" sz="1100" dirty="0">
                <a:latin typeface="HY견고딕" panose="02030600000101010101" pitchFamily="18" charset="-127"/>
                <a:ea typeface="HY견고딕" panose="02030600000101010101" pitchFamily="18" charset="-127"/>
              </a:rPr>
              <a:t>초기 투자 계획</a:t>
            </a:r>
          </a:p>
        </p:txBody>
      </p:sp>
      <p:cxnSp>
        <p:nvCxnSpPr>
          <p:cNvPr id="21" name="직선 연결선 20"/>
          <p:cNvCxnSpPr/>
          <p:nvPr/>
        </p:nvCxnSpPr>
        <p:spPr>
          <a:xfrm>
            <a:off x="1245502" y="5457547"/>
            <a:ext cx="0" cy="219546"/>
          </a:xfrm>
          <a:prstGeom prst="line">
            <a:avLst/>
          </a:prstGeom>
          <a:ln w="317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직선 연결선 46"/>
          <p:cNvCxnSpPr/>
          <p:nvPr/>
        </p:nvCxnSpPr>
        <p:spPr>
          <a:xfrm>
            <a:off x="2430087" y="5457547"/>
            <a:ext cx="0" cy="219546"/>
          </a:xfrm>
          <a:prstGeom prst="line">
            <a:avLst/>
          </a:prstGeom>
          <a:ln w="317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직선 연결선 47"/>
          <p:cNvCxnSpPr/>
          <p:nvPr/>
        </p:nvCxnSpPr>
        <p:spPr>
          <a:xfrm>
            <a:off x="3333737" y="5457547"/>
            <a:ext cx="0" cy="219546"/>
          </a:xfrm>
          <a:prstGeom prst="line">
            <a:avLst/>
          </a:prstGeom>
          <a:ln w="317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1407651" y="5457547"/>
            <a:ext cx="85428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←도입기→</a:t>
            </a:r>
            <a:endParaRPr lang="ko-KR" altLang="en-US" sz="105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2450854" y="5457547"/>
            <a:ext cx="85428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←</a:t>
            </a:r>
            <a:r>
              <a:rPr lang="ko-KR" altLang="en-US" sz="105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확장기</a:t>
            </a:r>
            <a:r>
              <a:rPr lang="ko-KR" altLang="en-US" sz="10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→</a:t>
            </a:r>
            <a:endParaRPr lang="ko-KR" altLang="en-US" sz="105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3204122" y="5457547"/>
            <a:ext cx="85428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도약기</a:t>
            </a:r>
            <a:endParaRPr lang="ko-KR" altLang="en-US" sz="105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3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6147" name="_x188715848" descr="EMB000032746da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2162" y="3127729"/>
            <a:ext cx="3433763" cy="2372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직사각형 23"/>
          <p:cNvSpPr/>
          <p:nvPr/>
        </p:nvSpPr>
        <p:spPr>
          <a:xfrm>
            <a:off x="4705690" y="2675564"/>
            <a:ext cx="352380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 latinLnBrk="0"/>
            <a:r>
              <a:rPr lang="ko-KR" altLang="en-US" sz="1100" dirty="0">
                <a:latin typeface="HY견고딕" panose="02030600000101010101" pitchFamily="18" charset="-127"/>
                <a:ea typeface="HY견고딕" panose="02030600000101010101" pitchFamily="18" charset="-127"/>
              </a:rPr>
              <a:t>출범 </a:t>
            </a:r>
            <a:r>
              <a:rPr lang="en-US" altLang="ko-KR" sz="1100" dirty="0">
                <a:latin typeface="HY견고딕" panose="02030600000101010101" pitchFamily="18" charset="-127"/>
                <a:ea typeface="HY견고딕" panose="02030600000101010101" pitchFamily="18" charset="-127"/>
              </a:rPr>
              <a:t>4</a:t>
            </a:r>
            <a:r>
              <a:rPr lang="ko-KR" altLang="en-US" sz="1100" dirty="0" err="1">
                <a:latin typeface="HY견고딕" panose="02030600000101010101" pitchFamily="18" charset="-127"/>
                <a:ea typeface="HY견고딕" panose="02030600000101010101" pitchFamily="18" charset="-127"/>
              </a:rPr>
              <a:t>년차</a:t>
            </a:r>
            <a:r>
              <a:rPr lang="en-US" altLang="ko-KR" sz="1100" dirty="0">
                <a:latin typeface="HY견고딕" panose="02030600000101010101" pitchFamily="18" charset="-127"/>
                <a:ea typeface="HY견고딕" panose="02030600000101010101" pitchFamily="18" charset="-127"/>
              </a:rPr>
              <a:t>(14</a:t>
            </a:r>
            <a:r>
              <a:rPr lang="ko-KR" altLang="en-US" sz="1100" dirty="0">
                <a:latin typeface="HY견고딕" panose="02030600000101010101" pitchFamily="18" charset="-127"/>
                <a:ea typeface="HY견고딕" panose="02030600000101010101" pitchFamily="18" charset="-127"/>
              </a:rPr>
              <a:t>년</a:t>
            </a:r>
            <a:r>
              <a:rPr lang="en-US" altLang="ko-KR" sz="1100" dirty="0">
                <a:latin typeface="HY견고딕" panose="02030600000101010101" pitchFamily="18" charset="-127"/>
                <a:ea typeface="HY견고딕" panose="02030600000101010101" pitchFamily="18" charset="-127"/>
              </a:rPr>
              <a:t>) </a:t>
            </a:r>
            <a:r>
              <a:rPr lang="ko-KR" altLang="en-US" sz="1100" dirty="0">
                <a:latin typeface="HY견고딕" panose="02030600000101010101" pitchFamily="18" charset="-127"/>
                <a:ea typeface="HY견고딕" panose="02030600000101010101" pitchFamily="18" charset="-127"/>
              </a:rPr>
              <a:t>상황 </a:t>
            </a:r>
            <a:r>
              <a:rPr lang="en-US" altLang="ko-KR" sz="900" dirty="0"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en-US" altLang="ko-KR" sz="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‘</a:t>
            </a:r>
            <a:r>
              <a:rPr lang="en-US" altLang="ko-KR" sz="900" dirty="0">
                <a:latin typeface="HY견고딕" panose="02030600000101010101" pitchFamily="18" charset="-127"/>
                <a:ea typeface="HY견고딕" panose="02030600000101010101" pitchFamily="18" charset="-127"/>
              </a:rPr>
              <a:t>15</a:t>
            </a:r>
            <a:r>
              <a:rPr lang="ko-KR" altLang="en-US" sz="900" dirty="0">
                <a:latin typeface="HY견고딕" panose="02030600000101010101" pitchFamily="18" charset="-127"/>
                <a:ea typeface="HY견고딕" panose="02030600000101010101" pitchFamily="18" charset="-127"/>
              </a:rPr>
              <a:t>년 예산 </a:t>
            </a:r>
            <a:r>
              <a:rPr lang="en-US" altLang="ko-KR" sz="900" dirty="0">
                <a:latin typeface="HY견고딕" panose="02030600000101010101" pitchFamily="18" charset="-127"/>
                <a:ea typeface="HY견고딕" panose="02030600000101010101" pitchFamily="18" charset="-127"/>
              </a:rPr>
              <a:t>261</a:t>
            </a:r>
            <a:r>
              <a:rPr lang="ko-KR" altLang="en-US" sz="900" dirty="0" err="1">
                <a:latin typeface="HY견고딕" panose="02030600000101010101" pitchFamily="18" charset="-127"/>
                <a:ea typeface="HY견고딕" panose="02030600000101010101" pitchFamily="18" charset="-127"/>
              </a:rPr>
              <a:t>억원</a:t>
            </a:r>
            <a:r>
              <a:rPr lang="ko-KR" altLang="en-US" sz="900" dirty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기준</a:t>
            </a:r>
            <a:r>
              <a:rPr lang="en-US" altLang="ko-KR" sz="900" dirty="0"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endParaRPr lang="ko-KR" altLang="en-US" sz="9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cxnSp>
        <p:nvCxnSpPr>
          <p:cNvPr id="51" name="직선 연결선 50"/>
          <p:cNvCxnSpPr/>
          <p:nvPr/>
        </p:nvCxnSpPr>
        <p:spPr>
          <a:xfrm>
            <a:off x="5149806" y="5465804"/>
            <a:ext cx="0" cy="219546"/>
          </a:xfrm>
          <a:prstGeom prst="line">
            <a:avLst/>
          </a:prstGeom>
          <a:ln w="317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직선 연결선 51"/>
          <p:cNvCxnSpPr/>
          <p:nvPr/>
        </p:nvCxnSpPr>
        <p:spPr>
          <a:xfrm>
            <a:off x="6334391" y="5465804"/>
            <a:ext cx="0" cy="219546"/>
          </a:xfrm>
          <a:prstGeom prst="line">
            <a:avLst/>
          </a:prstGeom>
          <a:ln w="317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직선 연결선 52"/>
          <p:cNvCxnSpPr/>
          <p:nvPr/>
        </p:nvCxnSpPr>
        <p:spPr>
          <a:xfrm>
            <a:off x="7238041" y="5465804"/>
            <a:ext cx="0" cy="219546"/>
          </a:xfrm>
          <a:prstGeom prst="line">
            <a:avLst/>
          </a:prstGeom>
          <a:ln w="317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5311955" y="5465804"/>
            <a:ext cx="85428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←도입기→</a:t>
            </a:r>
            <a:endParaRPr lang="ko-KR" altLang="en-US" sz="105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6355158" y="5465804"/>
            <a:ext cx="85428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←</a:t>
            </a:r>
            <a:r>
              <a:rPr lang="ko-KR" altLang="en-US" sz="105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확장기</a:t>
            </a:r>
            <a:r>
              <a:rPr lang="ko-KR" altLang="en-US" sz="10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→</a:t>
            </a:r>
            <a:endParaRPr lang="ko-KR" altLang="en-US" sz="105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7108426" y="5465804"/>
            <a:ext cx="85428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도약기</a:t>
            </a:r>
            <a:endParaRPr lang="ko-KR" altLang="en-US" sz="105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0" name="오른쪽 화살표 29"/>
          <p:cNvSpPr/>
          <p:nvPr/>
        </p:nvSpPr>
        <p:spPr>
          <a:xfrm>
            <a:off x="6322981" y="119386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1" name="오른쪽 화살표 30"/>
          <p:cNvSpPr/>
          <p:nvPr/>
        </p:nvSpPr>
        <p:spPr>
          <a:xfrm>
            <a:off x="6247146" y="149168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2" name="오른쪽 화살표 31"/>
          <p:cNvSpPr/>
          <p:nvPr/>
        </p:nvSpPr>
        <p:spPr>
          <a:xfrm>
            <a:off x="6906529" y="180831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3" name="오른쪽 화살표 32"/>
          <p:cNvSpPr/>
          <p:nvPr/>
        </p:nvSpPr>
        <p:spPr>
          <a:xfrm>
            <a:off x="6286032" y="213285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4" name="오른쪽 화살표 33"/>
          <p:cNvSpPr/>
          <p:nvPr/>
        </p:nvSpPr>
        <p:spPr>
          <a:xfrm>
            <a:off x="479743" y="6181965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19724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5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12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12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7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그림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606810" y="587901"/>
            <a:ext cx="8195728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 </a:t>
            </a:r>
            <a:r>
              <a:rPr lang="ko-KR" altLang="en-US" sz="23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범부처신약개발사업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– 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선정 프로젝트의 허실」 </a:t>
            </a:r>
            <a:r>
              <a:rPr lang="ko-KR" altLang="en-US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 ②</a:t>
            </a:r>
            <a:endParaRPr lang="en-US" sz="23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472190" y="6143732"/>
            <a:ext cx="8492297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제</a:t>
            </a:r>
            <a:r>
              <a:rPr lang="en-US" altLang="ko-KR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2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기 글로벌 신약개발사업단」</a:t>
            </a:r>
            <a:r>
              <a:rPr lang="en-US" altLang="ko-KR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과제목표 재검토 등 보완 시급</a:t>
            </a:r>
            <a:endParaRPr lang="ko-KR" altLang="en-US" sz="22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243852" y="1350561"/>
            <a:ext cx="872063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당초 취지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100%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민간주도의 글로벌 신약개발 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全과정에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대한 단계별 지원 목적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- 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① 글로벌 </a:t>
            </a:r>
            <a:r>
              <a:rPr lang="ko-KR" altLang="en-US" sz="1400" spc="-15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라이센싱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아웃 목표에 미흡한 과제선정     </a:t>
            </a:r>
            <a:r>
              <a:rPr lang="ko-KR" altLang="en-US" sz="14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골다공증</a:t>
            </a:r>
            <a:r>
              <a:rPr lang="en-US" altLang="ko-KR" sz="14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 err="1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류마티스관절염</a:t>
            </a:r>
            <a:r>
              <a:rPr lang="en-US" altLang="ko-KR" sz="14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 err="1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위장관질환</a:t>
            </a:r>
            <a:r>
              <a:rPr lang="en-US" altLang="ko-KR" sz="14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성장호르몬 등</a:t>
            </a:r>
            <a:endParaRPr lang="en-US" altLang="ko-KR" sz="1400" spc="-150" dirty="0" smtClean="0">
              <a:solidFill>
                <a:srgbClr val="C00000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- 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② 이사진</a:t>
            </a: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평가위원</a:t>
            </a: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투자심의위원 소속 회사의 프로젝트 선정 다수    </a:t>
            </a:r>
            <a:r>
              <a:rPr lang="en-US" altLang="ko-KR" sz="14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SK, </a:t>
            </a:r>
            <a:r>
              <a:rPr lang="ko-KR" altLang="en-US" sz="1400" spc="-150" dirty="0" err="1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한독</a:t>
            </a:r>
            <a:r>
              <a:rPr lang="en-US" altLang="ko-KR" sz="14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 err="1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오스코텍</a:t>
            </a:r>
            <a:r>
              <a:rPr lang="en-US" altLang="ko-KR" sz="14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 err="1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레고켐</a:t>
            </a:r>
            <a:r>
              <a:rPr lang="en-US" altLang="ko-KR" sz="14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녹십자 등</a:t>
            </a:r>
            <a:endParaRPr lang="en-US" altLang="ko-KR" sz="1400" spc="-150" dirty="0" smtClean="0">
              <a:solidFill>
                <a:srgbClr val="C00000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- 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③ </a:t>
            </a:r>
            <a:r>
              <a:rPr lang="ko-KR" altLang="en-US" sz="1400" spc="-15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미래부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등 </a:t>
            </a:r>
            <a:r>
              <a:rPr lang="ko-KR" altLang="en-US" sz="1400" spc="-15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他부처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지원사업 종료된 과제의 연이은 연계 중복지원     </a:t>
            </a:r>
            <a:r>
              <a:rPr lang="en-US" altLang="ko-KR" sz="14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SK, </a:t>
            </a:r>
            <a:r>
              <a:rPr lang="ko-KR" altLang="en-US" sz="1400" spc="-150" dirty="0" err="1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제넥신</a:t>
            </a:r>
            <a:r>
              <a:rPr lang="en-US" altLang="ko-KR" sz="14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 err="1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레고켐</a:t>
            </a:r>
            <a:r>
              <a:rPr lang="en-US" altLang="ko-KR" sz="14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녹십자 등</a:t>
            </a:r>
            <a:endParaRPr lang="en-US" altLang="ko-KR" sz="1400" spc="-150" dirty="0" smtClean="0">
              <a:solidFill>
                <a:srgbClr val="C00000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- 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④ 제</a:t>
            </a: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1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기 사업단 임기 종료</a:t>
            </a: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글로벌 수준의 실적 포장    </a:t>
            </a:r>
            <a:r>
              <a:rPr lang="ko-KR" altLang="en-US" sz="14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제</a:t>
            </a:r>
            <a:r>
              <a:rPr lang="en-US" altLang="ko-KR" sz="14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1</a:t>
            </a:r>
            <a:r>
              <a:rPr lang="ko-KR" altLang="en-US" sz="14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기 전횡 의혹 특정인의 후임 단장 내정설 파다</a:t>
            </a:r>
            <a:endParaRPr lang="ko-KR" altLang="en-US" sz="1400" spc="-150" dirty="0">
              <a:solidFill>
                <a:srgbClr val="C00000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3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30" name="오른쪽 화살표 29"/>
          <p:cNvSpPr/>
          <p:nvPr/>
        </p:nvSpPr>
        <p:spPr>
          <a:xfrm>
            <a:off x="5910225" y="2204858"/>
            <a:ext cx="108012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4" name="오른쪽 화살표 33"/>
          <p:cNvSpPr/>
          <p:nvPr/>
        </p:nvSpPr>
        <p:spPr>
          <a:xfrm>
            <a:off x="4517994" y="1869154"/>
            <a:ext cx="108012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5" name="오른쪽 화살표 34"/>
          <p:cNvSpPr/>
          <p:nvPr/>
        </p:nvSpPr>
        <p:spPr>
          <a:xfrm>
            <a:off x="5841894" y="2498222"/>
            <a:ext cx="108012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6" name="오른쪽 화살표 35"/>
          <p:cNvSpPr/>
          <p:nvPr/>
        </p:nvSpPr>
        <p:spPr>
          <a:xfrm>
            <a:off x="4730900" y="2838843"/>
            <a:ext cx="108012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461" y="3212976"/>
            <a:ext cx="4922452" cy="288032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직사각형 9"/>
          <p:cNvSpPr/>
          <p:nvPr/>
        </p:nvSpPr>
        <p:spPr>
          <a:xfrm>
            <a:off x="5744574" y="4655288"/>
            <a:ext cx="2238349" cy="25691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모서리가 둥근 직사각형 11"/>
          <p:cNvSpPr/>
          <p:nvPr/>
        </p:nvSpPr>
        <p:spPr>
          <a:xfrm>
            <a:off x="5508104" y="3645024"/>
            <a:ext cx="3294434" cy="504056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라이센싱</a:t>
            </a:r>
            <a:r>
              <a:rPr lang="ko-KR" altLang="en-US" sz="1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 인</a:t>
            </a:r>
            <a:r>
              <a:rPr lang="en-US" altLang="ko-KR" sz="1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아웃 시장에서</a:t>
            </a:r>
            <a:endParaRPr lang="en-US" altLang="ko-KR" sz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/>
            <a:r>
              <a:rPr lang="ko-KR" altLang="en-US" sz="1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관심이 높은 분야</a:t>
            </a:r>
            <a:endParaRPr lang="ko-KR" alt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715161" y="4519511"/>
            <a:ext cx="288032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altLang="ko-KR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1. Oncology(24%) </a:t>
            </a:r>
            <a:r>
              <a:rPr lang="ko-KR" altLang="en-US" sz="12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종양학</a:t>
            </a:r>
            <a:endParaRPr lang="en-US" altLang="ko-KR" sz="12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2. CNS(15%) </a:t>
            </a: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중추신경계통</a:t>
            </a:r>
            <a:endParaRPr lang="en-US" altLang="ko-KR" sz="12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3. </a:t>
            </a:r>
            <a:r>
              <a:rPr lang="en-US" altLang="ko-KR" sz="12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Lmmunology</a:t>
            </a:r>
            <a:r>
              <a:rPr lang="en-US" altLang="ko-KR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(12%) </a:t>
            </a: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면역학</a:t>
            </a:r>
            <a:endParaRPr lang="ko-KR" altLang="en-US" sz="12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2" name="오른쪽 화살표 21"/>
          <p:cNvSpPr/>
          <p:nvPr/>
        </p:nvSpPr>
        <p:spPr>
          <a:xfrm>
            <a:off x="267677" y="6300636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553129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5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12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12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7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그림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953583" y="507290"/>
            <a:ext cx="7585412" cy="3976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임종  말기환자  지원체계  별도  구축」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76230" y="1171939"/>
            <a:ext cx="832630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매년 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26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만여 명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대부분 「임종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spc="-15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臨終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맞이」 부족 상황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  그 중 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7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만 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5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천 여명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29%)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암 死亡</a:t>
            </a:r>
            <a:endParaRPr lang="en-US" altLang="ko-KR" sz="1600" b="1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임종 말기 환자와 가족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의료진 등 모두 고통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  정부의 인식과 체계적 관리정책 부족</a:t>
            </a:r>
            <a:endParaRPr lang="en-US" altLang="ko-KR" sz="1600" b="1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임종 말기 판단의 「자율적 선택 및 무의미한 연명치료」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 사회적 합의도 부족</a:t>
            </a:r>
            <a:endParaRPr lang="en-US" altLang="ko-KR" sz="1600" b="1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대부분의 선진국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임종 말기환자 및 가족의 고통 완화 위한 진료 시스템 갖춰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  고통 분담</a:t>
            </a:r>
            <a:endParaRPr lang="ko-KR" altLang="en-US" sz="1600" b="1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52276" y="6031703"/>
            <a:ext cx="841221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임종 말기환자 위한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완화의료시설  확충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호스피스제도」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활성화 필요</a:t>
            </a:r>
            <a:endParaRPr lang="ko-KR" altLang="en-US" sz="2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223" y="3645024"/>
            <a:ext cx="2159842" cy="1507390"/>
          </a:xfrm>
          <a:prstGeom prst="rect">
            <a:avLst/>
          </a:prstGeom>
        </p:spPr>
      </p:pic>
      <p:graphicFrame>
        <p:nvGraphicFramePr>
          <p:cNvPr id="15" name="차트 14"/>
          <p:cNvGraphicFramePr/>
          <p:nvPr>
            <p:extLst>
              <p:ext uri="{D42A27DB-BD31-4B8C-83A1-F6EECF244321}">
                <p14:modId xmlns:p14="http://schemas.microsoft.com/office/powerpoint/2010/main" val="1499458489"/>
              </p:ext>
            </p:extLst>
          </p:nvPr>
        </p:nvGraphicFramePr>
        <p:xfrm>
          <a:off x="3131840" y="2968673"/>
          <a:ext cx="5598690" cy="28600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6" name="직사각형 15"/>
          <p:cNvSpPr/>
          <p:nvPr/>
        </p:nvSpPr>
        <p:spPr>
          <a:xfrm>
            <a:off x="3779912" y="5370782"/>
            <a:ext cx="5022626" cy="2880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오른쪽 화살표 16"/>
          <p:cNvSpPr/>
          <p:nvPr/>
        </p:nvSpPr>
        <p:spPr>
          <a:xfrm>
            <a:off x="5436096" y="137549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오른쪽 화살표 17"/>
          <p:cNvSpPr/>
          <p:nvPr/>
        </p:nvSpPr>
        <p:spPr>
          <a:xfrm>
            <a:off x="4746289" y="171460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오른쪽 화살표 18"/>
          <p:cNvSpPr/>
          <p:nvPr/>
        </p:nvSpPr>
        <p:spPr>
          <a:xfrm>
            <a:off x="5689240" y="210561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" name="오른쪽 화살표 19"/>
          <p:cNvSpPr/>
          <p:nvPr/>
        </p:nvSpPr>
        <p:spPr>
          <a:xfrm>
            <a:off x="7452320" y="244469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오른쪽 화살표 20"/>
          <p:cNvSpPr/>
          <p:nvPr/>
        </p:nvSpPr>
        <p:spPr>
          <a:xfrm>
            <a:off x="213143" y="6181909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607485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repeatCount="4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5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12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12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7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그림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953583" y="507290"/>
            <a:ext cx="7585412" cy="3976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정신질환  관리  및  사회적  인식  해소」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76230" y="1064098"/>
            <a:ext cx="832630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국내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8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세 성인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6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명 중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명은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회 이상 정신질환 경험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‘11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정신질환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보편화 추세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2010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기준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정신질환으로 인한 사회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․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경제적 비용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3.5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조원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대</a:t>
            </a:r>
            <a:r>
              <a:rPr lang="en-US" altLang="ko-KR" sz="12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2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삼성경제硏</a:t>
            </a:r>
            <a:r>
              <a:rPr lang="ko-KR" altLang="en-US" sz="1200" dirty="0">
                <a:latin typeface="휴먼명조" panose="02010504000101010101" pitchFamily="2" charset="-127"/>
                <a:ea typeface="휴먼명조" panose="02010504000101010101" pitchFamily="2" charset="-127"/>
              </a:rPr>
              <a:t> 보고</a:t>
            </a:r>
            <a:r>
              <a:rPr lang="en-US" altLang="ko-KR" sz="120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endParaRPr lang="ko-KR" altLang="en-US" sz="12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문제는 정신질환에 대한 사회적 인식과 은폐풍조가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여전  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비자발적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치료가 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75%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국민정서 감안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非약물치료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경우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Z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코드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: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치료기록 제외」제도를 시행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중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·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「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非약물치료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」는 정신질환 치료 효과를 기대할 수 없어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사실상 유명무실한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제도임</a:t>
            </a:r>
            <a:endParaRPr lang="ko-KR" altLang="en-US" sz="14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11560" y="6046429"/>
            <a:ext cx="843229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입원</a:t>
            </a:r>
            <a:r>
              <a:rPr lang="en-US" altLang="ko-KR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치료중심」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에서 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조기 치료중심」 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정책으로 전환 필요</a:t>
            </a:r>
            <a:endParaRPr lang="en-US" altLang="ko-KR" sz="22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pSp>
        <p:nvGrpSpPr>
          <p:cNvPr id="15" name="그룹 14"/>
          <p:cNvGrpSpPr/>
          <p:nvPr/>
        </p:nvGrpSpPr>
        <p:grpSpPr>
          <a:xfrm>
            <a:off x="4145312" y="3080217"/>
            <a:ext cx="4210879" cy="2755089"/>
            <a:chOff x="4094934" y="3207752"/>
            <a:chExt cx="4210879" cy="2755089"/>
          </a:xfrm>
        </p:grpSpPr>
        <p:sp>
          <p:nvSpPr>
            <p:cNvPr id="17" name="Rectangle 5"/>
            <p:cNvSpPr/>
            <p:nvPr/>
          </p:nvSpPr>
          <p:spPr>
            <a:xfrm>
              <a:off x="4492750" y="3350857"/>
              <a:ext cx="3813063" cy="50806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200">
                <a:solidFill>
                  <a:schemeClr val="tx1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18" name="Rectangle 9"/>
            <p:cNvSpPr/>
            <p:nvPr/>
          </p:nvSpPr>
          <p:spPr>
            <a:xfrm>
              <a:off x="4492750" y="3611373"/>
              <a:ext cx="3800571" cy="247553"/>
            </a:xfrm>
            <a:prstGeom prst="rect">
              <a:avLst/>
            </a:prstGeom>
            <a:solidFill>
              <a:srgbClr val="CE202A"/>
            </a:solidFill>
            <a:ln w="19050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20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20" name="Snip Single Corner Rectangle 6"/>
            <p:cNvSpPr/>
            <p:nvPr/>
          </p:nvSpPr>
          <p:spPr>
            <a:xfrm flipH="1">
              <a:off x="7003288" y="3209254"/>
              <a:ext cx="1302525" cy="260516"/>
            </a:xfrm>
            <a:prstGeom prst="snip1Rect">
              <a:avLst>
                <a:gd name="adj" fmla="val 50000"/>
              </a:avLst>
            </a:prstGeom>
            <a:solidFill>
              <a:srgbClr val="0D65AC"/>
            </a:solidFill>
            <a:ln w="19050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200">
                <a:solidFill>
                  <a:schemeClr val="tx1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21" name="Rectangle 10"/>
            <p:cNvSpPr/>
            <p:nvPr/>
          </p:nvSpPr>
          <p:spPr>
            <a:xfrm rot="5400000">
              <a:off x="7944719" y="3758349"/>
              <a:ext cx="649674" cy="72515"/>
            </a:xfrm>
            <a:prstGeom prst="rect">
              <a:avLst/>
            </a:prstGeom>
            <a:solidFill>
              <a:srgbClr val="CE202A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22" name="Rectangle 8"/>
            <p:cNvSpPr/>
            <p:nvPr/>
          </p:nvSpPr>
          <p:spPr>
            <a:xfrm>
              <a:off x="4492750" y="3858926"/>
              <a:ext cx="3740550" cy="210391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200">
                <a:solidFill>
                  <a:schemeClr val="tx1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23" name="Rectangle 33"/>
            <p:cNvSpPr>
              <a:spLocks/>
            </p:cNvSpPr>
            <p:nvPr/>
          </p:nvSpPr>
          <p:spPr bwMode="auto">
            <a:xfrm>
              <a:off x="5413058" y="3392864"/>
              <a:ext cx="879756" cy="6845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rnd">
                  <a:solidFill>
                    <a:schemeClr val="tx1"/>
                  </a:solidFill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lIns="38100" tIns="38100" rIns="38100" bIns="3810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375"/>
                </a:spcBef>
              </a:pPr>
              <a:endParaRPr lang="en-US" sz="4800" b="1" dirty="0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Calibri" charset="0"/>
                <a:sym typeface="Calibri" charset="0"/>
              </a:endParaRPr>
            </a:p>
          </p:txBody>
        </p:sp>
        <p:sp>
          <p:nvSpPr>
            <p:cNvPr id="24" name="Rectangle 37"/>
            <p:cNvSpPr>
              <a:spLocks/>
            </p:cNvSpPr>
            <p:nvPr/>
          </p:nvSpPr>
          <p:spPr bwMode="auto">
            <a:xfrm>
              <a:off x="7089908" y="3207752"/>
              <a:ext cx="1115853" cy="2620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rnd">
                  <a:solidFill>
                    <a:schemeClr val="tx1"/>
                  </a:solidFill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lIns="38100" tIns="38100" rIns="38100" bIns="3810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375"/>
                </a:spcBef>
              </a:pPr>
              <a:r>
                <a:rPr lang="en-US" sz="1050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Z </a:t>
              </a:r>
              <a:r>
                <a:rPr lang="ko-KR" altLang="en-US" sz="1050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코드 실패 사유</a:t>
              </a:r>
              <a:endParaRPr lang="en-US" sz="105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  <a:cs typeface="Calibri" charset="0"/>
                <a:sym typeface="Calibri" charset="0"/>
              </a:endParaRPr>
            </a:p>
          </p:txBody>
        </p:sp>
        <p:sp>
          <p:nvSpPr>
            <p:cNvPr id="27" name="Rectangle 27"/>
            <p:cNvSpPr>
              <a:spLocks/>
            </p:cNvSpPr>
            <p:nvPr/>
          </p:nvSpPr>
          <p:spPr bwMode="auto">
            <a:xfrm>
              <a:off x="4685973" y="4074908"/>
              <a:ext cx="3455207" cy="17253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rnd">
                  <a:solidFill>
                    <a:schemeClr val="tx1"/>
                  </a:solidFill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lIns="38100" tIns="38100" rIns="38100" bIns="3810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375"/>
                </a:spcBef>
              </a:pPr>
              <a:r>
                <a:rPr lang="ko-KR" altLang="en-US" sz="1200" dirty="0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① 경증 우울</a:t>
              </a:r>
              <a:r>
                <a:rPr lang="en-US" altLang="ko-KR" sz="1200" dirty="0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·</a:t>
              </a:r>
              <a:r>
                <a:rPr lang="ko-KR" altLang="en-US" sz="1200" dirty="0" err="1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불안증</a:t>
              </a:r>
              <a:r>
                <a:rPr lang="ko-KR" altLang="en-US" sz="1200" dirty="0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 등 가벼운 정신과 질병도 </a:t>
              </a:r>
              <a:endParaRPr lang="en-US" altLang="ko-KR" sz="1200" dirty="0" smtClean="0">
                <a:solidFill>
                  <a:srgbClr val="151616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Calibri" charset="0"/>
                <a:sym typeface="Calibri" charset="0"/>
              </a:endParaRPr>
            </a:p>
            <a:p>
              <a:pPr>
                <a:spcBef>
                  <a:spcPts val="375"/>
                </a:spcBef>
              </a:pPr>
              <a:r>
                <a:rPr lang="en-US" altLang="ko-KR" sz="1200" dirty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 </a:t>
              </a:r>
              <a:r>
                <a:rPr lang="en-US" altLang="ko-KR" sz="1200" dirty="0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   </a:t>
              </a:r>
              <a:r>
                <a:rPr lang="ko-KR" altLang="en-US" sz="1200" dirty="0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대부분 약물치료 필요</a:t>
              </a:r>
              <a:endParaRPr lang="en-US" altLang="ko-KR" sz="1200" dirty="0" smtClean="0">
                <a:solidFill>
                  <a:srgbClr val="151616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Calibri" charset="0"/>
                <a:sym typeface="Calibri" charset="0"/>
              </a:endParaRPr>
            </a:p>
            <a:p>
              <a:pPr>
                <a:spcBef>
                  <a:spcPts val="375"/>
                </a:spcBef>
              </a:pPr>
              <a:r>
                <a:rPr lang="ko-KR" altLang="en-US" sz="1200" dirty="0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② 불면증</a:t>
              </a:r>
              <a:r>
                <a:rPr lang="en-US" altLang="ko-KR" sz="1200" dirty="0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·</a:t>
              </a:r>
              <a:r>
                <a:rPr lang="ko-KR" altLang="en-US" sz="1200" dirty="0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스트레스</a:t>
              </a:r>
              <a:r>
                <a:rPr lang="en-US" altLang="ko-KR" sz="1200" dirty="0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(</a:t>
              </a:r>
              <a:r>
                <a:rPr lang="ko-KR" altLang="en-US" sz="1200" dirty="0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적응장애</a:t>
              </a:r>
              <a:r>
                <a:rPr lang="en-US" altLang="ko-KR" sz="1200" dirty="0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) </a:t>
              </a:r>
              <a:r>
                <a:rPr lang="ko-KR" altLang="en-US" sz="1200" dirty="0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상담도 안정제</a:t>
              </a:r>
              <a:r>
                <a:rPr lang="en-US" altLang="ko-KR" sz="1200" dirty="0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·</a:t>
              </a:r>
            </a:p>
            <a:p>
              <a:pPr>
                <a:spcBef>
                  <a:spcPts val="375"/>
                </a:spcBef>
              </a:pPr>
              <a:r>
                <a:rPr lang="en-US" sz="1200" dirty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 </a:t>
              </a:r>
              <a:r>
                <a:rPr lang="en-US" sz="1200" dirty="0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   </a:t>
              </a:r>
              <a:r>
                <a:rPr lang="ko-KR" altLang="en-US" sz="1200" dirty="0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수면제 등 약물치료 필요</a:t>
              </a:r>
              <a:endParaRPr lang="en-US" altLang="ko-KR" sz="1200" dirty="0" smtClean="0">
                <a:solidFill>
                  <a:srgbClr val="151616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Calibri" charset="0"/>
                <a:sym typeface="Calibri" charset="0"/>
              </a:endParaRPr>
            </a:p>
            <a:p>
              <a:pPr>
                <a:spcBef>
                  <a:spcPts val="375"/>
                </a:spcBef>
              </a:pPr>
              <a:r>
                <a:rPr lang="ko-KR" altLang="en-US" sz="1200" dirty="0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③ 소아</a:t>
              </a:r>
              <a:r>
                <a:rPr lang="en-US" altLang="ko-KR" sz="1200" dirty="0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·</a:t>
              </a:r>
              <a:r>
                <a:rPr lang="ko-KR" altLang="en-US" sz="1200" dirty="0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청소년 </a:t>
              </a:r>
              <a:r>
                <a:rPr lang="en-US" altLang="ko-KR" sz="1200" dirty="0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ADHD</a:t>
              </a:r>
              <a:r>
                <a:rPr lang="ko-KR" altLang="en-US" sz="1200" dirty="0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는 검사와 약물치료를 </a:t>
              </a:r>
              <a:endParaRPr lang="en-US" altLang="ko-KR" sz="1200" dirty="0" smtClean="0">
                <a:solidFill>
                  <a:srgbClr val="151616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Calibri" charset="0"/>
                <a:sym typeface="Calibri" charset="0"/>
              </a:endParaRPr>
            </a:p>
            <a:p>
              <a:pPr>
                <a:spcBef>
                  <a:spcPts val="375"/>
                </a:spcBef>
              </a:pPr>
              <a:r>
                <a:rPr lang="en-US" altLang="ko-KR" sz="1200" dirty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 </a:t>
              </a:r>
              <a:r>
                <a:rPr lang="en-US" altLang="ko-KR" sz="1200" dirty="0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   </a:t>
              </a:r>
              <a:r>
                <a:rPr lang="ko-KR" altLang="en-US" sz="1200" dirty="0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하는 경우가 대부분</a:t>
              </a:r>
              <a:endParaRPr lang="en-US" altLang="ko-KR" sz="1200" dirty="0" smtClean="0">
                <a:solidFill>
                  <a:srgbClr val="151616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Calibri" charset="0"/>
                <a:sym typeface="Calibri" charset="0"/>
              </a:endParaRPr>
            </a:p>
            <a:p>
              <a:pPr>
                <a:spcBef>
                  <a:spcPts val="375"/>
                </a:spcBef>
              </a:pPr>
              <a:r>
                <a:rPr lang="ko-KR" altLang="en-US" sz="1200" dirty="0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④ 약물치료 필요 없는 분석 치료는 이미</a:t>
              </a:r>
              <a:r>
                <a:rPr lang="en-US" altLang="ko-KR" sz="1200" dirty="0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 </a:t>
              </a:r>
              <a:r>
                <a:rPr lang="ko-KR" altLang="en-US" sz="1200" dirty="0" err="1" smtClean="0">
                  <a:solidFill>
                    <a:srgbClr val="151616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Calibri" charset="0"/>
                  <a:sym typeface="Calibri" charset="0"/>
                </a:rPr>
                <a:t>비급여</a:t>
              </a:r>
              <a:endParaRPr lang="en-US" sz="1200" dirty="0">
                <a:solidFill>
                  <a:srgbClr val="151616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Calibri" charset="0"/>
                <a:sym typeface="Calibri" charset="0"/>
              </a:endParaRPr>
            </a:p>
          </p:txBody>
        </p:sp>
        <p:sp>
          <p:nvSpPr>
            <p:cNvPr id="29" name="Rectangle 7"/>
            <p:cNvSpPr/>
            <p:nvPr/>
          </p:nvSpPr>
          <p:spPr>
            <a:xfrm>
              <a:off x="4890565" y="3596648"/>
              <a:ext cx="3342733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375"/>
                </a:spcBef>
              </a:pPr>
              <a:r>
                <a:rPr lang="en-US" sz="1200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HY견고딕" panose="02030600000101010101" pitchFamily="18" charset="-127"/>
                  <a:ea typeface="HY견고딕" panose="02030600000101010101" pitchFamily="18" charset="-127"/>
                  <a:cs typeface="Calibri Bold" charset="0"/>
                  <a:sym typeface="Calibri Bold" charset="0"/>
                </a:rPr>
                <a:t>Z </a:t>
              </a:r>
              <a:r>
                <a:rPr lang="ko-KR" altLang="en-US" sz="1200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HY견고딕" panose="02030600000101010101" pitchFamily="18" charset="-127"/>
                  <a:ea typeface="HY견고딕" panose="02030600000101010101" pitchFamily="18" charset="-127"/>
                  <a:cs typeface="Calibri Bold" charset="0"/>
                  <a:sym typeface="Calibri Bold" charset="0"/>
                </a:rPr>
                <a:t>코드 적용 못 받는 사례가 많음</a:t>
              </a:r>
              <a:endParaRPr lang="en-US" sz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  <a:cs typeface="Calibri" charset="0"/>
                <a:sym typeface="Calibri" charset="0"/>
              </a:endParaRPr>
            </a:p>
          </p:txBody>
        </p:sp>
        <p:sp>
          <p:nvSpPr>
            <p:cNvPr id="19" name="Oval 4"/>
            <p:cNvSpPr/>
            <p:nvPr/>
          </p:nvSpPr>
          <p:spPr>
            <a:xfrm>
              <a:off x="4094934" y="3350857"/>
              <a:ext cx="795631" cy="768585"/>
            </a:xfrm>
            <a:prstGeom prst="ellipse">
              <a:avLst/>
            </a:prstGeom>
            <a:solidFill>
              <a:srgbClr val="CE202A"/>
            </a:solidFill>
            <a:ln w="19050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200">
                <a:solidFill>
                  <a:schemeClr val="tx1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</p:grpSp>
      <p:sp>
        <p:nvSpPr>
          <p:cNvPr id="32" name="Freeform 13"/>
          <p:cNvSpPr>
            <a:spLocks noEditPoints="1"/>
          </p:cNvSpPr>
          <p:nvPr/>
        </p:nvSpPr>
        <p:spPr bwMode="auto">
          <a:xfrm rot="10585247" flipV="1">
            <a:off x="4324158" y="3343828"/>
            <a:ext cx="437938" cy="527565"/>
          </a:xfrm>
          <a:custGeom>
            <a:avLst/>
            <a:gdLst>
              <a:gd name="T0" fmla="*/ 2022 w 2403"/>
              <a:gd name="T1" fmla="*/ 144 h 2897"/>
              <a:gd name="T2" fmla="*/ 1852 w 2403"/>
              <a:gd name="T3" fmla="*/ 57 h 2897"/>
              <a:gd name="T4" fmla="*/ 1632 w 2403"/>
              <a:gd name="T5" fmla="*/ 1 h 2897"/>
              <a:gd name="T6" fmla="*/ 1548 w 2403"/>
              <a:gd name="T7" fmla="*/ 2 h 2897"/>
              <a:gd name="T8" fmla="*/ 1491 w 2403"/>
              <a:gd name="T9" fmla="*/ 23 h 2897"/>
              <a:gd name="T10" fmla="*/ 785 w 2403"/>
              <a:gd name="T11" fmla="*/ 948 h 2897"/>
              <a:gd name="T12" fmla="*/ 48 w 2403"/>
              <a:gd name="T13" fmla="*/ 1933 h 2897"/>
              <a:gd name="T14" fmla="*/ 30 w 2403"/>
              <a:gd name="T15" fmla="*/ 1995 h 2897"/>
              <a:gd name="T16" fmla="*/ 3 w 2403"/>
              <a:gd name="T17" fmla="*/ 2340 h 2897"/>
              <a:gd name="T18" fmla="*/ 7 w 2403"/>
              <a:gd name="T19" fmla="*/ 2732 h 2897"/>
              <a:gd name="T20" fmla="*/ 27 w 2403"/>
              <a:gd name="T21" fmla="*/ 2871 h 2897"/>
              <a:gd name="T22" fmla="*/ 42 w 2403"/>
              <a:gd name="T23" fmla="*/ 2891 h 2897"/>
              <a:gd name="T24" fmla="*/ 118 w 2403"/>
              <a:gd name="T25" fmla="*/ 2896 h 2897"/>
              <a:gd name="T26" fmla="*/ 340 w 2403"/>
              <a:gd name="T27" fmla="*/ 2850 h 2897"/>
              <a:gd name="T28" fmla="*/ 724 w 2403"/>
              <a:gd name="T29" fmla="*/ 2722 h 2897"/>
              <a:gd name="T30" fmla="*/ 926 w 2403"/>
              <a:gd name="T31" fmla="*/ 2628 h 2897"/>
              <a:gd name="T32" fmla="*/ 987 w 2403"/>
              <a:gd name="T33" fmla="*/ 2578 h 2897"/>
              <a:gd name="T34" fmla="*/ 1454 w 2403"/>
              <a:gd name="T35" fmla="*/ 1961 h 2897"/>
              <a:gd name="T36" fmla="*/ 2390 w 2403"/>
              <a:gd name="T37" fmla="*/ 675 h 2897"/>
              <a:gd name="T38" fmla="*/ 2403 w 2403"/>
              <a:gd name="T39" fmla="*/ 631 h 2897"/>
              <a:gd name="T40" fmla="*/ 2392 w 2403"/>
              <a:gd name="T41" fmla="*/ 562 h 2897"/>
              <a:gd name="T42" fmla="*/ 2334 w 2403"/>
              <a:gd name="T43" fmla="*/ 447 h 2897"/>
              <a:gd name="T44" fmla="*/ 2193 w 2403"/>
              <a:gd name="T45" fmla="*/ 279 h 2897"/>
              <a:gd name="T46" fmla="*/ 1398 w 2403"/>
              <a:gd name="T47" fmla="*/ 308 h 2897"/>
              <a:gd name="T48" fmla="*/ 1421 w 2403"/>
              <a:gd name="T49" fmla="*/ 290 h 2897"/>
              <a:gd name="T50" fmla="*/ 1468 w 2403"/>
              <a:gd name="T51" fmla="*/ 287 h 2897"/>
              <a:gd name="T52" fmla="*/ 1528 w 2403"/>
              <a:gd name="T53" fmla="*/ 313 h 2897"/>
              <a:gd name="T54" fmla="*/ 1580 w 2403"/>
              <a:gd name="T55" fmla="*/ 368 h 2897"/>
              <a:gd name="T56" fmla="*/ 1587 w 2403"/>
              <a:gd name="T57" fmla="*/ 409 h 2897"/>
              <a:gd name="T58" fmla="*/ 337 w 2403"/>
              <a:gd name="T59" fmla="*/ 1902 h 2897"/>
              <a:gd name="T60" fmla="*/ 473 w 2403"/>
              <a:gd name="T61" fmla="*/ 2660 h 2897"/>
              <a:gd name="T62" fmla="*/ 364 w 2403"/>
              <a:gd name="T63" fmla="*/ 2709 h 2897"/>
              <a:gd name="T64" fmla="*/ 169 w 2403"/>
              <a:gd name="T65" fmla="*/ 2764 h 2897"/>
              <a:gd name="T66" fmla="*/ 134 w 2403"/>
              <a:gd name="T67" fmla="*/ 2763 h 2897"/>
              <a:gd name="T68" fmla="*/ 125 w 2403"/>
              <a:gd name="T69" fmla="*/ 2643 h 2897"/>
              <a:gd name="T70" fmla="*/ 137 w 2403"/>
              <a:gd name="T71" fmla="*/ 2423 h 2897"/>
              <a:gd name="T72" fmla="*/ 151 w 2403"/>
              <a:gd name="T73" fmla="*/ 2404 h 2897"/>
              <a:gd name="T74" fmla="*/ 206 w 2403"/>
              <a:gd name="T75" fmla="*/ 2409 h 2897"/>
              <a:gd name="T76" fmla="*/ 355 w 2403"/>
              <a:gd name="T77" fmla="*/ 2486 h 2897"/>
              <a:gd name="T78" fmla="*/ 454 w 2403"/>
              <a:gd name="T79" fmla="*/ 2577 h 2897"/>
              <a:gd name="T80" fmla="*/ 480 w 2403"/>
              <a:gd name="T81" fmla="*/ 2630 h 2897"/>
              <a:gd name="T82" fmla="*/ 490 w 2403"/>
              <a:gd name="T83" fmla="*/ 2117 h 2897"/>
              <a:gd name="T84" fmla="*/ 1708 w 2403"/>
              <a:gd name="T85" fmla="*/ 446 h 2897"/>
              <a:gd name="T86" fmla="*/ 1748 w 2403"/>
              <a:gd name="T87" fmla="*/ 445 h 2897"/>
              <a:gd name="T88" fmla="*/ 1821 w 2403"/>
              <a:gd name="T89" fmla="*/ 478 h 2897"/>
              <a:gd name="T90" fmla="*/ 1867 w 2403"/>
              <a:gd name="T91" fmla="*/ 520 h 2897"/>
              <a:gd name="T92" fmla="*/ 1888 w 2403"/>
              <a:gd name="T93" fmla="*/ 565 h 2897"/>
              <a:gd name="T94" fmla="*/ 624 w 2403"/>
              <a:gd name="T95" fmla="*/ 2291 h 2897"/>
              <a:gd name="T96" fmla="*/ 902 w 2403"/>
              <a:gd name="T97" fmla="*/ 2386 h 2897"/>
              <a:gd name="T98" fmla="*/ 1979 w 2403"/>
              <a:gd name="T99" fmla="*/ 672 h 2897"/>
              <a:gd name="T100" fmla="*/ 2014 w 2403"/>
              <a:gd name="T101" fmla="*/ 670 h 2897"/>
              <a:gd name="T102" fmla="*/ 2067 w 2403"/>
              <a:gd name="T103" fmla="*/ 704 h 2897"/>
              <a:gd name="T104" fmla="*/ 2108 w 2403"/>
              <a:gd name="T105" fmla="*/ 754 h 2897"/>
              <a:gd name="T106" fmla="*/ 2123 w 2403"/>
              <a:gd name="T107" fmla="*/ 801 h 2897"/>
              <a:gd name="T108" fmla="*/ 2117 w 2403"/>
              <a:gd name="T109" fmla="*/ 835 h 28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403" h="2897">
                <a:moveTo>
                  <a:pt x="2095" y="193"/>
                </a:moveTo>
                <a:lnTo>
                  <a:pt x="2095" y="193"/>
                </a:lnTo>
                <a:lnTo>
                  <a:pt x="2071" y="176"/>
                </a:lnTo>
                <a:lnTo>
                  <a:pt x="2046" y="159"/>
                </a:lnTo>
                <a:lnTo>
                  <a:pt x="2022" y="144"/>
                </a:lnTo>
                <a:lnTo>
                  <a:pt x="1998" y="129"/>
                </a:lnTo>
                <a:lnTo>
                  <a:pt x="1974" y="115"/>
                </a:lnTo>
                <a:lnTo>
                  <a:pt x="1948" y="101"/>
                </a:lnTo>
                <a:lnTo>
                  <a:pt x="1900" y="78"/>
                </a:lnTo>
                <a:lnTo>
                  <a:pt x="1852" y="57"/>
                </a:lnTo>
                <a:lnTo>
                  <a:pt x="1803" y="40"/>
                </a:lnTo>
                <a:lnTo>
                  <a:pt x="1757" y="25"/>
                </a:lnTo>
                <a:lnTo>
                  <a:pt x="1714" y="14"/>
                </a:lnTo>
                <a:lnTo>
                  <a:pt x="1671" y="6"/>
                </a:lnTo>
                <a:lnTo>
                  <a:pt x="1632" y="1"/>
                </a:lnTo>
                <a:lnTo>
                  <a:pt x="1613" y="0"/>
                </a:lnTo>
                <a:lnTo>
                  <a:pt x="1595" y="0"/>
                </a:lnTo>
                <a:lnTo>
                  <a:pt x="1580" y="0"/>
                </a:lnTo>
                <a:lnTo>
                  <a:pt x="1564" y="1"/>
                </a:lnTo>
                <a:lnTo>
                  <a:pt x="1548" y="2"/>
                </a:lnTo>
                <a:lnTo>
                  <a:pt x="1535" y="5"/>
                </a:lnTo>
                <a:lnTo>
                  <a:pt x="1521" y="8"/>
                </a:lnTo>
                <a:lnTo>
                  <a:pt x="1511" y="12"/>
                </a:lnTo>
                <a:lnTo>
                  <a:pt x="1500" y="17"/>
                </a:lnTo>
                <a:lnTo>
                  <a:pt x="1491" y="23"/>
                </a:lnTo>
                <a:lnTo>
                  <a:pt x="1484" y="29"/>
                </a:lnTo>
                <a:lnTo>
                  <a:pt x="1477" y="36"/>
                </a:lnTo>
                <a:lnTo>
                  <a:pt x="1477" y="36"/>
                </a:lnTo>
                <a:lnTo>
                  <a:pt x="1253" y="331"/>
                </a:lnTo>
                <a:lnTo>
                  <a:pt x="785" y="948"/>
                </a:lnTo>
                <a:lnTo>
                  <a:pt x="532" y="1283"/>
                </a:lnTo>
                <a:lnTo>
                  <a:pt x="304" y="1584"/>
                </a:lnTo>
                <a:lnTo>
                  <a:pt x="134" y="1813"/>
                </a:lnTo>
                <a:lnTo>
                  <a:pt x="78" y="1890"/>
                </a:lnTo>
                <a:lnTo>
                  <a:pt x="48" y="1933"/>
                </a:lnTo>
                <a:lnTo>
                  <a:pt x="48" y="1933"/>
                </a:lnTo>
                <a:lnTo>
                  <a:pt x="43" y="1943"/>
                </a:lnTo>
                <a:lnTo>
                  <a:pt x="38" y="1956"/>
                </a:lnTo>
                <a:lnTo>
                  <a:pt x="33" y="1974"/>
                </a:lnTo>
                <a:lnTo>
                  <a:pt x="30" y="1995"/>
                </a:lnTo>
                <a:lnTo>
                  <a:pt x="23" y="2047"/>
                </a:lnTo>
                <a:lnTo>
                  <a:pt x="15" y="2110"/>
                </a:lnTo>
                <a:lnTo>
                  <a:pt x="10" y="2181"/>
                </a:lnTo>
                <a:lnTo>
                  <a:pt x="6" y="2259"/>
                </a:lnTo>
                <a:lnTo>
                  <a:pt x="3" y="2340"/>
                </a:lnTo>
                <a:lnTo>
                  <a:pt x="1" y="2423"/>
                </a:lnTo>
                <a:lnTo>
                  <a:pt x="0" y="2507"/>
                </a:lnTo>
                <a:lnTo>
                  <a:pt x="1" y="2588"/>
                </a:lnTo>
                <a:lnTo>
                  <a:pt x="3" y="2663"/>
                </a:lnTo>
                <a:lnTo>
                  <a:pt x="7" y="2732"/>
                </a:lnTo>
                <a:lnTo>
                  <a:pt x="12" y="2790"/>
                </a:lnTo>
                <a:lnTo>
                  <a:pt x="15" y="2815"/>
                </a:lnTo>
                <a:lnTo>
                  <a:pt x="19" y="2837"/>
                </a:lnTo>
                <a:lnTo>
                  <a:pt x="23" y="2856"/>
                </a:lnTo>
                <a:lnTo>
                  <a:pt x="27" y="2871"/>
                </a:lnTo>
                <a:lnTo>
                  <a:pt x="32" y="2882"/>
                </a:lnTo>
                <a:lnTo>
                  <a:pt x="35" y="2885"/>
                </a:lnTo>
                <a:lnTo>
                  <a:pt x="37" y="2888"/>
                </a:lnTo>
                <a:lnTo>
                  <a:pt x="37" y="2888"/>
                </a:lnTo>
                <a:lnTo>
                  <a:pt x="42" y="2891"/>
                </a:lnTo>
                <a:lnTo>
                  <a:pt x="47" y="2893"/>
                </a:lnTo>
                <a:lnTo>
                  <a:pt x="60" y="2896"/>
                </a:lnTo>
                <a:lnTo>
                  <a:pt x="76" y="2897"/>
                </a:lnTo>
                <a:lnTo>
                  <a:pt x="95" y="2897"/>
                </a:lnTo>
                <a:lnTo>
                  <a:pt x="118" y="2896"/>
                </a:lnTo>
                <a:lnTo>
                  <a:pt x="144" y="2893"/>
                </a:lnTo>
                <a:lnTo>
                  <a:pt x="171" y="2888"/>
                </a:lnTo>
                <a:lnTo>
                  <a:pt x="202" y="2883"/>
                </a:lnTo>
                <a:lnTo>
                  <a:pt x="267" y="2868"/>
                </a:lnTo>
                <a:lnTo>
                  <a:pt x="340" y="2850"/>
                </a:lnTo>
                <a:lnTo>
                  <a:pt x="416" y="2829"/>
                </a:lnTo>
                <a:lnTo>
                  <a:pt x="494" y="2804"/>
                </a:lnTo>
                <a:lnTo>
                  <a:pt x="573" y="2778"/>
                </a:lnTo>
                <a:lnTo>
                  <a:pt x="650" y="2751"/>
                </a:lnTo>
                <a:lnTo>
                  <a:pt x="724" y="2722"/>
                </a:lnTo>
                <a:lnTo>
                  <a:pt x="793" y="2694"/>
                </a:lnTo>
                <a:lnTo>
                  <a:pt x="854" y="2666"/>
                </a:lnTo>
                <a:lnTo>
                  <a:pt x="880" y="2653"/>
                </a:lnTo>
                <a:lnTo>
                  <a:pt x="904" y="2641"/>
                </a:lnTo>
                <a:lnTo>
                  <a:pt x="926" y="2628"/>
                </a:lnTo>
                <a:lnTo>
                  <a:pt x="946" y="2617"/>
                </a:lnTo>
                <a:lnTo>
                  <a:pt x="960" y="2605"/>
                </a:lnTo>
                <a:lnTo>
                  <a:pt x="972" y="2595"/>
                </a:lnTo>
                <a:lnTo>
                  <a:pt x="972" y="2595"/>
                </a:lnTo>
                <a:lnTo>
                  <a:pt x="987" y="2578"/>
                </a:lnTo>
                <a:lnTo>
                  <a:pt x="1007" y="2554"/>
                </a:lnTo>
                <a:lnTo>
                  <a:pt x="1064" y="2480"/>
                </a:lnTo>
                <a:lnTo>
                  <a:pt x="1142" y="2380"/>
                </a:lnTo>
                <a:lnTo>
                  <a:pt x="1234" y="2257"/>
                </a:lnTo>
                <a:lnTo>
                  <a:pt x="1454" y="1961"/>
                </a:lnTo>
                <a:lnTo>
                  <a:pt x="1697" y="1630"/>
                </a:lnTo>
                <a:lnTo>
                  <a:pt x="1939" y="1298"/>
                </a:lnTo>
                <a:lnTo>
                  <a:pt x="2153" y="1004"/>
                </a:lnTo>
                <a:lnTo>
                  <a:pt x="2311" y="784"/>
                </a:lnTo>
                <a:lnTo>
                  <a:pt x="2390" y="675"/>
                </a:lnTo>
                <a:lnTo>
                  <a:pt x="2390" y="675"/>
                </a:lnTo>
                <a:lnTo>
                  <a:pt x="2395" y="665"/>
                </a:lnTo>
                <a:lnTo>
                  <a:pt x="2400" y="654"/>
                </a:lnTo>
                <a:lnTo>
                  <a:pt x="2402" y="643"/>
                </a:lnTo>
                <a:lnTo>
                  <a:pt x="2403" y="631"/>
                </a:lnTo>
                <a:lnTo>
                  <a:pt x="2403" y="618"/>
                </a:lnTo>
                <a:lnTo>
                  <a:pt x="2403" y="605"/>
                </a:lnTo>
                <a:lnTo>
                  <a:pt x="2401" y="591"/>
                </a:lnTo>
                <a:lnTo>
                  <a:pt x="2397" y="577"/>
                </a:lnTo>
                <a:lnTo>
                  <a:pt x="2392" y="562"/>
                </a:lnTo>
                <a:lnTo>
                  <a:pt x="2386" y="547"/>
                </a:lnTo>
                <a:lnTo>
                  <a:pt x="2380" y="531"/>
                </a:lnTo>
                <a:lnTo>
                  <a:pt x="2373" y="514"/>
                </a:lnTo>
                <a:lnTo>
                  <a:pt x="2355" y="481"/>
                </a:lnTo>
                <a:lnTo>
                  <a:pt x="2334" y="447"/>
                </a:lnTo>
                <a:lnTo>
                  <a:pt x="2310" y="412"/>
                </a:lnTo>
                <a:lnTo>
                  <a:pt x="2284" y="378"/>
                </a:lnTo>
                <a:lnTo>
                  <a:pt x="2255" y="345"/>
                </a:lnTo>
                <a:lnTo>
                  <a:pt x="2226" y="311"/>
                </a:lnTo>
                <a:lnTo>
                  <a:pt x="2193" y="279"/>
                </a:lnTo>
                <a:lnTo>
                  <a:pt x="2161" y="248"/>
                </a:lnTo>
                <a:lnTo>
                  <a:pt x="2128" y="220"/>
                </a:lnTo>
                <a:lnTo>
                  <a:pt x="2095" y="193"/>
                </a:lnTo>
                <a:lnTo>
                  <a:pt x="2095" y="193"/>
                </a:lnTo>
                <a:close/>
                <a:moveTo>
                  <a:pt x="1398" y="308"/>
                </a:moveTo>
                <a:lnTo>
                  <a:pt x="1398" y="308"/>
                </a:lnTo>
                <a:lnTo>
                  <a:pt x="1400" y="306"/>
                </a:lnTo>
                <a:lnTo>
                  <a:pt x="1405" y="300"/>
                </a:lnTo>
                <a:lnTo>
                  <a:pt x="1415" y="294"/>
                </a:lnTo>
                <a:lnTo>
                  <a:pt x="1421" y="290"/>
                </a:lnTo>
                <a:lnTo>
                  <a:pt x="1428" y="288"/>
                </a:lnTo>
                <a:lnTo>
                  <a:pt x="1437" y="285"/>
                </a:lnTo>
                <a:lnTo>
                  <a:pt x="1445" y="284"/>
                </a:lnTo>
                <a:lnTo>
                  <a:pt x="1456" y="284"/>
                </a:lnTo>
                <a:lnTo>
                  <a:pt x="1468" y="287"/>
                </a:lnTo>
                <a:lnTo>
                  <a:pt x="1482" y="290"/>
                </a:lnTo>
                <a:lnTo>
                  <a:pt x="1495" y="295"/>
                </a:lnTo>
                <a:lnTo>
                  <a:pt x="1511" y="303"/>
                </a:lnTo>
                <a:lnTo>
                  <a:pt x="1528" y="313"/>
                </a:lnTo>
                <a:lnTo>
                  <a:pt x="1528" y="313"/>
                </a:lnTo>
                <a:lnTo>
                  <a:pt x="1542" y="325"/>
                </a:lnTo>
                <a:lnTo>
                  <a:pt x="1555" y="336"/>
                </a:lnTo>
                <a:lnTo>
                  <a:pt x="1565" y="347"/>
                </a:lnTo>
                <a:lnTo>
                  <a:pt x="1573" y="357"/>
                </a:lnTo>
                <a:lnTo>
                  <a:pt x="1580" y="368"/>
                </a:lnTo>
                <a:lnTo>
                  <a:pt x="1583" y="376"/>
                </a:lnTo>
                <a:lnTo>
                  <a:pt x="1586" y="386"/>
                </a:lnTo>
                <a:lnTo>
                  <a:pt x="1587" y="394"/>
                </a:lnTo>
                <a:lnTo>
                  <a:pt x="1588" y="401"/>
                </a:lnTo>
                <a:lnTo>
                  <a:pt x="1587" y="409"/>
                </a:lnTo>
                <a:lnTo>
                  <a:pt x="1584" y="420"/>
                </a:lnTo>
                <a:lnTo>
                  <a:pt x="1582" y="427"/>
                </a:lnTo>
                <a:lnTo>
                  <a:pt x="1581" y="429"/>
                </a:lnTo>
                <a:lnTo>
                  <a:pt x="337" y="2076"/>
                </a:lnTo>
                <a:lnTo>
                  <a:pt x="337" y="1902"/>
                </a:lnTo>
                <a:lnTo>
                  <a:pt x="239" y="1865"/>
                </a:lnTo>
                <a:lnTo>
                  <a:pt x="1398" y="308"/>
                </a:lnTo>
                <a:close/>
                <a:moveTo>
                  <a:pt x="475" y="2657"/>
                </a:moveTo>
                <a:lnTo>
                  <a:pt x="475" y="2657"/>
                </a:lnTo>
                <a:lnTo>
                  <a:pt x="473" y="2660"/>
                </a:lnTo>
                <a:lnTo>
                  <a:pt x="469" y="2664"/>
                </a:lnTo>
                <a:lnTo>
                  <a:pt x="456" y="2671"/>
                </a:lnTo>
                <a:lnTo>
                  <a:pt x="439" y="2680"/>
                </a:lnTo>
                <a:lnTo>
                  <a:pt x="417" y="2689"/>
                </a:lnTo>
                <a:lnTo>
                  <a:pt x="364" y="2709"/>
                </a:lnTo>
                <a:lnTo>
                  <a:pt x="304" y="2729"/>
                </a:lnTo>
                <a:lnTo>
                  <a:pt x="244" y="2746"/>
                </a:lnTo>
                <a:lnTo>
                  <a:pt x="216" y="2754"/>
                </a:lnTo>
                <a:lnTo>
                  <a:pt x="191" y="2760"/>
                </a:lnTo>
                <a:lnTo>
                  <a:pt x="169" y="2764"/>
                </a:lnTo>
                <a:lnTo>
                  <a:pt x="152" y="2767"/>
                </a:lnTo>
                <a:lnTo>
                  <a:pt x="140" y="2767"/>
                </a:lnTo>
                <a:lnTo>
                  <a:pt x="135" y="2766"/>
                </a:lnTo>
                <a:lnTo>
                  <a:pt x="134" y="2763"/>
                </a:lnTo>
                <a:lnTo>
                  <a:pt x="134" y="2763"/>
                </a:lnTo>
                <a:lnTo>
                  <a:pt x="130" y="2756"/>
                </a:lnTo>
                <a:lnTo>
                  <a:pt x="129" y="2743"/>
                </a:lnTo>
                <a:lnTo>
                  <a:pt x="127" y="2723"/>
                </a:lnTo>
                <a:lnTo>
                  <a:pt x="127" y="2700"/>
                </a:lnTo>
                <a:lnTo>
                  <a:pt x="125" y="2643"/>
                </a:lnTo>
                <a:lnTo>
                  <a:pt x="127" y="2581"/>
                </a:lnTo>
                <a:lnTo>
                  <a:pt x="129" y="2518"/>
                </a:lnTo>
                <a:lnTo>
                  <a:pt x="133" y="2462"/>
                </a:lnTo>
                <a:lnTo>
                  <a:pt x="135" y="2440"/>
                </a:lnTo>
                <a:lnTo>
                  <a:pt x="137" y="2423"/>
                </a:lnTo>
                <a:lnTo>
                  <a:pt x="140" y="2411"/>
                </a:lnTo>
                <a:lnTo>
                  <a:pt x="141" y="2407"/>
                </a:lnTo>
                <a:lnTo>
                  <a:pt x="142" y="2406"/>
                </a:lnTo>
                <a:lnTo>
                  <a:pt x="142" y="2406"/>
                </a:lnTo>
                <a:lnTo>
                  <a:pt x="151" y="2404"/>
                </a:lnTo>
                <a:lnTo>
                  <a:pt x="159" y="2403"/>
                </a:lnTo>
                <a:lnTo>
                  <a:pt x="170" y="2403"/>
                </a:lnTo>
                <a:lnTo>
                  <a:pt x="181" y="2404"/>
                </a:lnTo>
                <a:lnTo>
                  <a:pt x="193" y="2406"/>
                </a:lnTo>
                <a:lnTo>
                  <a:pt x="206" y="2409"/>
                </a:lnTo>
                <a:lnTo>
                  <a:pt x="234" y="2418"/>
                </a:lnTo>
                <a:lnTo>
                  <a:pt x="263" y="2432"/>
                </a:lnTo>
                <a:lnTo>
                  <a:pt x="295" y="2447"/>
                </a:lnTo>
                <a:lnTo>
                  <a:pt x="325" y="2466"/>
                </a:lnTo>
                <a:lnTo>
                  <a:pt x="355" y="2486"/>
                </a:lnTo>
                <a:lnTo>
                  <a:pt x="384" y="2508"/>
                </a:lnTo>
                <a:lnTo>
                  <a:pt x="411" y="2531"/>
                </a:lnTo>
                <a:lnTo>
                  <a:pt x="435" y="2554"/>
                </a:lnTo>
                <a:lnTo>
                  <a:pt x="445" y="2565"/>
                </a:lnTo>
                <a:lnTo>
                  <a:pt x="454" y="2577"/>
                </a:lnTo>
                <a:lnTo>
                  <a:pt x="462" y="2588"/>
                </a:lnTo>
                <a:lnTo>
                  <a:pt x="469" y="2599"/>
                </a:lnTo>
                <a:lnTo>
                  <a:pt x="474" y="2610"/>
                </a:lnTo>
                <a:lnTo>
                  <a:pt x="477" y="2620"/>
                </a:lnTo>
                <a:lnTo>
                  <a:pt x="480" y="2630"/>
                </a:lnTo>
                <a:lnTo>
                  <a:pt x="480" y="2640"/>
                </a:lnTo>
                <a:lnTo>
                  <a:pt x="479" y="2649"/>
                </a:lnTo>
                <a:lnTo>
                  <a:pt x="475" y="2657"/>
                </a:lnTo>
                <a:lnTo>
                  <a:pt x="475" y="2657"/>
                </a:lnTo>
                <a:close/>
                <a:moveTo>
                  <a:pt x="490" y="2117"/>
                </a:moveTo>
                <a:lnTo>
                  <a:pt x="1692" y="455"/>
                </a:lnTo>
                <a:lnTo>
                  <a:pt x="1692" y="455"/>
                </a:lnTo>
                <a:lnTo>
                  <a:pt x="1694" y="453"/>
                </a:lnTo>
                <a:lnTo>
                  <a:pt x="1699" y="450"/>
                </a:lnTo>
                <a:lnTo>
                  <a:pt x="1708" y="446"/>
                </a:lnTo>
                <a:lnTo>
                  <a:pt x="1713" y="444"/>
                </a:lnTo>
                <a:lnTo>
                  <a:pt x="1720" y="443"/>
                </a:lnTo>
                <a:lnTo>
                  <a:pt x="1728" y="443"/>
                </a:lnTo>
                <a:lnTo>
                  <a:pt x="1737" y="444"/>
                </a:lnTo>
                <a:lnTo>
                  <a:pt x="1748" y="445"/>
                </a:lnTo>
                <a:lnTo>
                  <a:pt x="1760" y="449"/>
                </a:lnTo>
                <a:lnTo>
                  <a:pt x="1773" y="452"/>
                </a:lnTo>
                <a:lnTo>
                  <a:pt x="1788" y="460"/>
                </a:lnTo>
                <a:lnTo>
                  <a:pt x="1803" y="468"/>
                </a:lnTo>
                <a:lnTo>
                  <a:pt x="1821" y="478"/>
                </a:lnTo>
                <a:lnTo>
                  <a:pt x="1821" y="478"/>
                </a:lnTo>
                <a:lnTo>
                  <a:pt x="1836" y="489"/>
                </a:lnTo>
                <a:lnTo>
                  <a:pt x="1849" y="499"/>
                </a:lnTo>
                <a:lnTo>
                  <a:pt x="1859" y="509"/>
                </a:lnTo>
                <a:lnTo>
                  <a:pt x="1867" y="520"/>
                </a:lnTo>
                <a:lnTo>
                  <a:pt x="1875" y="530"/>
                </a:lnTo>
                <a:lnTo>
                  <a:pt x="1880" y="539"/>
                </a:lnTo>
                <a:lnTo>
                  <a:pt x="1883" y="549"/>
                </a:lnTo>
                <a:lnTo>
                  <a:pt x="1887" y="558"/>
                </a:lnTo>
                <a:lnTo>
                  <a:pt x="1888" y="565"/>
                </a:lnTo>
                <a:lnTo>
                  <a:pt x="1888" y="572"/>
                </a:lnTo>
                <a:lnTo>
                  <a:pt x="1888" y="584"/>
                </a:lnTo>
                <a:lnTo>
                  <a:pt x="1887" y="591"/>
                </a:lnTo>
                <a:lnTo>
                  <a:pt x="1886" y="594"/>
                </a:lnTo>
                <a:lnTo>
                  <a:pt x="624" y="2291"/>
                </a:lnTo>
                <a:lnTo>
                  <a:pt x="624" y="2094"/>
                </a:lnTo>
                <a:lnTo>
                  <a:pt x="490" y="2117"/>
                </a:lnTo>
                <a:close/>
                <a:moveTo>
                  <a:pt x="2117" y="835"/>
                </a:moveTo>
                <a:lnTo>
                  <a:pt x="937" y="2462"/>
                </a:lnTo>
                <a:lnTo>
                  <a:pt x="902" y="2386"/>
                </a:lnTo>
                <a:lnTo>
                  <a:pt x="750" y="2359"/>
                </a:lnTo>
                <a:lnTo>
                  <a:pt x="1973" y="677"/>
                </a:lnTo>
                <a:lnTo>
                  <a:pt x="1973" y="677"/>
                </a:lnTo>
                <a:lnTo>
                  <a:pt x="1975" y="676"/>
                </a:lnTo>
                <a:lnTo>
                  <a:pt x="1979" y="672"/>
                </a:lnTo>
                <a:lnTo>
                  <a:pt x="1987" y="669"/>
                </a:lnTo>
                <a:lnTo>
                  <a:pt x="1992" y="669"/>
                </a:lnTo>
                <a:lnTo>
                  <a:pt x="1998" y="668"/>
                </a:lnTo>
                <a:lnTo>
                  <a:pt x="2005" y="669"/>
                </a:lnTo>
                <a:lnTo>
                  <a:pt x="2014" y="670"/>
                </a:lnTo>
                <a:lnTo>
                  <a:pt x="2022" y="674"/>
                </a:lnTo>
                <a:lnTo>
                  <a:pt x="2032" y="679"/>
                </a:lnTo>
                <a:lnTo>
                  <a:pt x="2043" y="685"/>
                </a:lnTo>
                <a:lnTo>
                  <a:pt x="2055" y="693"/>
                </a:lnTo>
                <a:lnTo>
                  <a:pt x="2067" y="704"/>
                </a:lnTo>
                <a:lnTo>
                  <a:pt x="2080" y="718"/>
                </a:lnTo>
                <a:lnTo>
                  <a:pt x="2080" y="718"/>
                </a:lnTo>
                <a:lnTo>
                  <a:pt x="2091" y="731"/>
                </a:lnTo>
                <a:lnTo>
                  <a:pt x="2101" y="741"/>
                </a:lnTo>
                <a:lnTo>
                  <a:pt x="2108" y="754"/>
                </a:lnTo>
                <a:lnTo>
                  <a:pt x="2113" y="764"/>
                </a:lnTo>
                <a:lnTo>
                  <a:pt x="2118" y="774"/>
                </a:lnTo>
                <a:lnTo>
                  <a:pt x="2120" y="784"/>
                </a:lnTo>
                <a:lnTo>
                  <a:pt x="2121" y="793"/>
                </a:lnTo>
                <a:lnTo>
                  <a:pt x="2123" y="801"/>
                </a:lnTo>
                <a:lnTo>
                  <a:pt x="2121" y="815"/>
                </a:lnTo>
                <a:lnTo>
                  <a:pt x="2120" y="826"/>
                </a:lnTo>
                <a:lnTo>
                  <a:pt x="2118" y="832"/>
                </a:lnTo>
                <a:lnTo>
                  <a:pt x="2117" y="835"/>
                </a:lnTo>
                <a:lnTo>
                  <a:pt x="2117" y="83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30" name="그룹 29"/>
          <p:cNvGrpSpPr/>
          <p:nvPr/>
        </p:nvGrpSpPr>
        <p:grpSpPr>
          <a:xfrm>
            <a:off x="229863" y="3449290"/>
            <a:ext cx="4262887" cy="2406998"/>
            <a:chOff x="414213" y="3449290"/>
            <a:chExt cx="3848674" cy="2406998"/>
          </a:xfrm>
        </p:grpSpPr>
        <p:pic>
          <p:nvPicPr>
            <p:cNvPr id="42" name="Picture 9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4213" y="5225944"/>
              <a:ext cx="3848674" cy="6303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43" name="Group 6"/>
            <p:cNvGrpSpPr>
              <a:grpSpLocks/>
            </p:cNvGrpSpPr>
            <p:nvPr/>
          </p:nvGrpSpPr>
          <p:grpSpPr bwMode="auto">
            <a:xfrm>
              <a:off x="937206" y="3449290"/>
              <a:ext cx="2970323" cy="2071494"/>
              <a:chOff x="0" y="0"/>
              <a:chExt cx="4288" cy="2445"/>
            </a:xfrm>
          </p:grpSpPr>
          <p:sp>
            <p:nvSpPr>
              <p:cNvPr id="60" name="Freeform 7"/>
              <p:cNvSpPr>
                <a:spLocks/>
              </p:cNvSpPr>
              <p:nvPr/>
            </p:nvSpPr>
            <p:spPr bwMode="auto">
              <a:xfrm>
                <a:off x="0" y="978"/>
                <a:ext cx="3785" cy="90"/>
              </a:xfrm>
              <a:custGeom>
                <a:avLst/>
                <a:gdLst>
                  <a:gd name="T0" fmla="*/ 0 w 3785"/>
                  <a:gd name="T1" fmla="*/ 0 h 90"/>
                  <a:gd name="T2" fmla="*/ 90 w 3785"/>
                  <a:gd name="T3" fmla="*/ 90 h 90"/>
                  <a:gd name="T4" fmla="*/ 3785 w 3785"/>
                  <a:gd name="T5" fmla="*/ 90 h 90"/>
                  <a:gd name="T6" fmla="*/ 3695 w 3785"/>
                  <a:gd name="T7" fmla="*/ 0 h 90"/>
                  <a:gd name="T8" fmla="*/ 0 w 3785"/>
                  <a:gd name="T9" fmla="*/ 0 h 90"/>
                  <a:gd name="T10" fmla="*/ 0 w 3785"/>
                  <a:gd name="T11" fmla="*/ 0 h 90"/>
                  <a:gd name="T12" fmla="*/ 3785 w 3785"/>
                  <a:gd name="T13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T10" t="T11" r="T12" b="T13"/>
                <a:pathLst>
                  <a:path w="3785" h="90">
                    <a:moveTo>
                      <a:pt x="0" y="0"/>
                    </a:moveTo>
                    <a:lnTo>
                      <a:pt x="90" y="90"/>
                    </a:lnTo>
                    <a:lnTo>
                      <a:pt x="3785" y="90"/>
                    </a:lnTo>
                    <a:lnTo>
                      <a:pt x="369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9C9C9"/>
              </a:solidFill>
              <a:ln w="4826" cmpd="sng">
                <a:solidFill>
                  <a:srgbClr val="AEAEAE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5pPr>
                <a:lvl6pPr marL="22860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6pPr>
                <a:lvl7pPr marL="27432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7pPr>
                <a:lvl8pPr marL="32004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8pPr>
                <a:lvl9pPr marL="36576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9pPr>
              </a:lstStyle>
              <a:p>
                <a:endParaRPr lang="ko-KR" altLang="en-US"/>
              </a:p>
            </p:txBody>
          </p:sp>
          <p:sp>
            <p:nvSpPr>
              <p:cNvPr id="61" name="Freeform 8"/>
              <p:cNvSpPr>
                <a:spLocks/>
              </p:cNvSpPr>
              <p:nvPr/>
            </p:nvSpPr>
            <p:spPr bwMode="auto">
              <a:xfrm>
                <a:off x="0" y="978"/>
                <a:ext cx="90" cy="477"/>
              </a:xfrm>
              <a:custGeom>
                <a:avLst/>
                <a:gdLst>
                  <a:gd name="T0" fmla="*/ 90 w 90"/>
                  <a:gd name="T1" fmla="*/ 90 h 477"/>
                  <a:gd name="T2" fmla="*/ 90 w 90"/>
                  <a:gd name="T3" fmla="*/ 477 h 477"/>
                  <a:gd name="T4" fmla="*/ 5 w 90"/>
                  <a:gd name="T5" fmla="*/ 392 h 477"/>
                  <a:gd name="T6" fmla="*/ 0 w 90"/>
                  <a:gd name="T7" fmla="*/ 0 h 477"/>
                  <a:gd name="T8" fmla="*/ 90 w 90"/>
                  <a:gd name="T9" fmla="*/ 90 h 477"/>
                  <a:gd name="T10" fmla="*/ 0 w 90"/>
                  <a:gd name="T11" fmla="*/ 0 h 477"/>
                  <a:gd name="T12" fmla="*/ 90 w 90"/>
                  <a:gd name="T13" fmla="*/ 477 h 4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T10" t="T11" r="T12" b="T13"/>
                <a:pathLst>
                  <a:path w="90" h="477">
                    <a:moveTo>
                      <a:pt x="90" y="90"/>
                    </a:moveTo>
                    <a:lnTo>
                      <a:pt x="90" y="477"/>
                    </a:lnTo>
                    <a:lnTo>
                      <a:pt x="5" y="392"/>
                    </a:lnTo>
                    <a:lnTo>
                      <a:pt x="0" y="0"/>
                    </a:lnTo>
                    <a:lnTo>
                      <a:pt x="90" y="90"/>
                    </a:lnTo>
                    <a:close/>
                  </a:path>
                </a:pathLst>
              </a:custGeom>
              <a:solidFill>
                <a:srgbClr val="969696"/>
              </a:solidFill>
              <a:ln w="4826" cmpd="sng">
                <a:solidFill>
                  <a:srgbClr val="AEAEAE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5pPr>
                <a:lvl6pPr marL="22860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6pPr>
                <a:lvl7pPr marL="27432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7pPr>
                <a:lvl8pPr marL="32004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8pPr>
                <a:lvl9pPr marL="36576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9pPr>
              </a:lstStyle>
              <a:p>
                <a:endParaRPr lang="ko-KR" altLang="en-US"/>
              </a:p>
            </p:txBody>
          </p:sp>
          <p:sp>
            <p:nvSpPr>
              <p:cNvPr id="62" name="Freeform 9"/>
              <p:cNvSpPr>
                <a:spLocks/>
              </p:cNvSpPr>
              <p:nvPr/>
            </p:nvSpPr>
            <p:spPr bwMode="auto">
              <a:xfrm>
                <a:off x="88" y="97"/>
                <a:ext cx="4200" cy="2348"/>
              </a:xfrm>
              <a:custGeom>
                <a:avLst/>
                <a:gdLst>
                  <a:gd name="T0" fmla="*/ 0 w 4200"/>
                  <a:gd name="T1" fmla="*/ 1360 h 2348"/>
                  <a:gd name="T2" fmla="*/ 3709 w 4200"/>
                  <a:gd name="T3" fmla="*/ 1360 h 2348"/>
                  <a:gd name="T4" fmla="*/ 3208 w 4200"/>
                  <a:gd name="T5" fmla="*/ 2348 h 2348"/>
                  <a:gd name="T6" fmla="*/ 3576 w 4200"/>
                  <a:gd name="T7" fmla="*/ 2348 h 2348"/>
                  <a:gd name="T8" fmla="*/ 4200 w 4200"/>
                  <a:gd name="T9" fmla="*/ 1181 h 2348"/>
                  <a:gd name="T10" fmla="*/ 3576 w 4200"/>
                  <a:gd name="T11" fmla="*/ 0 h 2348"/>
                  <a:gd name="T12" fmla="*/ 3161 w 4200"/>
                  <a:gd name="T13" fmla="*/ 0 h 2348"/>
                  <a:gd name="T14" fmla="*/ 3695 w 4200"/>
                  <a:gd name="T15" fmla="*/ 973 h 2348"/>
                  <a:gd name="T16" fmla="*/ 0 w 4200"/>
                  <a:gd name="T17" fmla="*/ 973 h 2348"/>
                  <a:gd name="T18" fmla="*/ 0 w 4200"/>
                  <a:gd name="T19" fmla="*/ 1360 h 2348"/>
                  <a:gd name="T20" fmla="*/ 0 w 4200"/>
                  <a:gd name="T21" fmla="*/ 0 h 2348"/>
                  <a:gd name="T22" fmla="*/ 4200 w 4200"/>
                  <a:gd name="T23" fmla="*/ 2348 h 2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T20" t="T21" r="T22" b="T23"/>
                <a:pathLst>
                  <a:path w="4200" h="2348">
                    <a:moveTo>
                      <a:pt x="0" y="1360"/>
                    </a:moveTo>
                    <a:lnTo>
                      <a:pt x="3709" y="1360"/>
                    </a:lnTo>
                    <a:lnTo>
                      <a:pt x="3208" y="2348"/>
                    </a:lnTo>
                    <a:lnTo>
                      <a:pt x="3576" y="2348"/>
                    </a:lnTo>
                    <a:lnTo>
                      <a:pt x="4200" y="1181"/>
                    </a:lnTo>
                    <a:lnTo>
                      <a:pt x="3576" y="0"/>
                    </a:lnTo>
                    <a:lnTo>
                      <a:pt x="3161" y="0"/>
                    </a:lnTo>
                    <a:lnTo>
                      <a:pt x="3695" y="973"/>
                    </a:lnTo>
                    <a:lnTo>
                      <a:pt x="0" y="973"/>
                    </a:lnTo>
                    <a:lnTo>
                      <a:pt x="0" y="1360"/>
                    </a:lnTo>
                    <a:close/>
                  </a:path>
                </a:pathLst>
              </a:custGeom>
              <a:solidFill>
                <a:srgbClr val="C0C0C0"/>
              </a:solidFill>
              <a:ln w="4826" cmpd="sng">
                <a:solidFill>
                  <a:srgbClr val="AEAEAE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5pPr>
                <a:lvl6pPr marL="22860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6pPr>
                <a:lvl7pPr marL="27432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7pPr>
                <a:lvl8pPr marL="32004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8pPr>
                <a:lvl9pPr marL="36576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9pPr>
              </a:lstStyle>
              <a:p>
                <a:endParaRPr lang="ko-KR" altLang="en-US"/>
              </a:p>
            </p:txBody>
          </p:sp>
          <p:sp>
            <p:nvSpPr>
              <p:cNvPr id="63" name="Freeform 10"/>
              <p:cNvSpPr>
                <a:spLocks/>
              </p:cNvSpPr>
              <p:nvPr/>
            </p:nvSpPr>
            <p:spPr bwMode="auto">
              <a:xfrm>
                <a:off x="3156" y="0"/>
                <a:ext cx="510" cy="95"/>
              </a:xfrm>
              <a:custGeom>
                <a:avLst/>
                <a:gdLst>
                  <a:gd name="T0" fmla="*/ 95 w 510"/>
                  <a:gd name="T1" fmla="*/ 95 h 95"/>
                  <a:gd name="T2" fmla="*/ 0 w 510"/>
                  <a:gd name="T3" fmla="*/ 0 h 95"/>
                  <a:gd name="T4" fmla="*/ 435 w 510"/>
                  <a:gd name="T5" fmla="*/ 0 h 95"/>
                  <a:gd name="T6" fmla="*/ 510 w 510"/>
                  <a:gd name="T7" fmla="*/ 95 h 95"/>
                  <a:gd name="T8" fmla="*/ 95 w 510"/>
                  <a:gd name="T9" fmla="*/ 95 h 95"/>
                  <a:gd name="T10" fmla="*/ 0 w 510"/>
                  <a:gd name="T11" fmla="*/ 0 h 95"/>
                  <a:gd name="T12" fmla="*/ 510 w 510"/>
                  <a:gd name="T13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T10" t="T11" r="T12" b="T13"/>
                <a:pathLst>
                  <a:path w="510" h="95">
                    <a:moveTo>
                      <a:pt x="95" y="95"/>
                    </a:moveTo>
                    <a:lnTo>
                      <a:pt x="0" y="0"/>
                    </a:lnTo>
                    <a:lnTo>
                      <a:pt x="435" y="0"/>
                    </a:lnTo>
                    <a:lnTo>
                      <a:pt x="510" y="95"/>
                    </a:lnTo>
                    <a:lnTo>
                      <a:pt x="95" y="95"/>
                    </a:lnTo>
                    <a:close/>
                  </a:path>
                </a:pathLst>
              </a:custGeom>
              <a:solidFill>
                <a:srgbClr val="C9C9C9"/>
              </a:solidFill>
              <a:ln w="4826" cmpd="sng">
                <a:solidFill>
                  <a:srgbClr val="AEAEAE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5pPr>
                <a:lvl6pPr marL="22860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6pPr>
                <a:lvl7pPr marL="27432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7pPr>
                <a:lvl8pPr marL="32004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8pPr>
                <a:lvl9pPr marL="36576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9pPr>
              </a:lstStyle>
              <a:p>
                <a:endParaRPr lang="ko-KR" altLang="en-US"/>
              </a:p>
            </p:txBody>
          </p:sp>
          <p:sp>
            <p:nvSpPr>
              <p:cNvPr id="64" name="Freeform 11"/>
              <p:cNvSpPr>
                <a:spLocks/>
              </p:cNvSpPr>
              <p:nvPr/>
            </p:nvSpPr>
            <p:spPr bwMode="auto">
              <a:xfrm>
                <a:off x="3206" y="1455"/>
                <a:ext cx="593" cy="988"/>
              </a:xfrm>
              <a:custGeom>
                <a:avLst/>
                <a:gdLst>
                  <a:gd name="T0" fmla="*/ 92 w 593"/>
                  <a:gd name="T1" fmla="*/ 988 h 988"/>
                  <a:gd name="T2" fmla="*/ 0 w 593"/>
                  <a:gd name="T3" fmla="*/ 896 h 988"/>
                  <a:gd name="T4" fmla="*/ 465 w 593"/>
                  <a:gd name="T5" fmla="*/ 0 h 988"/>
                  <a:gd name="T6" fmla="*/ 593 w 593"/>
                  <a:gd name="T7" fmla="*/ 0 h 988"/>
                  <a:gd name="T8" fmla="*/ 92 w 593"/>
                  <a:gd name="T9" fmla="*/ 988 h 988"/>
                  <a:gd name="T10" fmla="*/ 0 w 593"/>
                  <a:gd name="T11" fmla="*/ 0 h 988"/>
                  <a:gd name="T12" fmla="*/ 593 w 593"/>
                  <a:gd name="T13" fmla="*/ 988 h 9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T10" t="T11" r="T12" b="T13"/>
                <a:pathLst>
                  <a:path w="593" h="988">
                    <a:moveTo>
                      <a:pt x="92" y="988"/>
                    </a:moveTo>
                    <a:lnTo>
                      <a:pt x="0" y="896"/>
                    </a:lnTo>
                    <a:lnTo>
                      <a:pt x="465" y="0"/>
                    </a:lnTo>
                    <a:lnTo>
                      <a:pt x="593" y="0"/>
                    </a:lnTo>
                    <a:lnTo>
                      <a:pt x="92" y="988"/>
                    </a:lnTo>
                    <a:close/>
                  </a:path>
                </a:pathLst>
              </a:custGeom>
              <a:solidFill>
                <a:srgbClr val="C9C9C9"/>
              </a:solidFill>
              <a:ln w="4826" cmpd="sng">
                <a:solidFill>
                  <a:srgbClr val="AEAEAE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5pPr>
                <a:lvl6pPr marL="22860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6pPr>
                <a:lvl7pPr marL="27432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7pPr>
                <a:lvl8pPr marL="32004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8pPr>
                <a:lvl9pPr marL="36576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9pPr>
              </a:lstStyle>
              <a:p>
                <a:endParaRPr lang="ko-KR" altLang="en-US"/>
              </a:p>
            </p:txBody>
          </p:sp>
          <p:sp>
            <p:nvSpPr>
              <p:cNvPr id="65" name="Freeform 12"/>
              <p:cNvSpPr>
                <a:spLocks/>
              </p:cNvSpPr>
              <p:nvPr/>
            </p:nvSpPr>
            <p:spPr bwMode="auto">
              <a:xfrm>
                <a:off x="3156" y="0"/>
                <a:ext cx="629" cy="1068"/>
              </a:xfrm>
              <a:custGeom>
                <a:avLst/>
                <a:gdLst>
                  <a:gd name="T0" fmla="*/ 539 w 629"/>
                  <a:gd name="T1" fmla="*/ 978 h 1068"/>
                  <a:gd name="T2" fmla="*/ 0 w 629"/>
                  <a:gd name="T3" fmla="*/ 0 h 1068"/>
                  <a:gd name="T4" fmla="*/ 95 w 629"/>
                  <a:gd name="T5" fmla="*/ 95 h 1068"/>
                  <a:gd name="T6" fmla="*/ 629 w 629"/>
                  <a:gd name="T7" fmla="*/ 1068 h 1068"/>
                  <a:gd name="T8" fmla="*/ 539 w 629"/>
                  <a:gd name="T9" fmla="*/ 978 h 1068"/>
                  <a:gd name="T10" fmla="*/ 0 w 629"/>
                  <a:gd name="T11" fmla="*/ 0 h 1068"/>
                  <a:gd name="T12" fmla="*/ 629 w 629"/>
                  <a:gd name="T13" fmla="*/ 1068 h 10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T10" t="T11" r="T12" b="T13"/>
                <a:pathLst>
                  <a:path w="629" h="1068">
                    <a:moveTo>
                      <a:pt x="539" y="978"/>
                    </a:moveTo>
                    <a:lnTo>
                      <a:pt x="0" y="0"/>
                    </a:lnTo>
                    <a:lnTo>
                      <a:pt x="95" y="95"/>
                    </a:lnTo>
                    <a:lnTo>
                      <a:pt x="629" y="1068"/>
                    </a:lnTo>
                    <a:lnTo>
                      <a:pt x="539" y="978"/>
                    </a:lnTo>
                    <a:close/>
                  </a:path>
                </a:pathLst>
              </a:custGeom>
              <a:solidFill>
                <a:srgbClr val="969696"/>
              </a:solidFill>
              <a:ln w="4826" cmpd="sng">
                <a:solidFill>
                  <a:srgbClr val="AEAEAE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5pPr>
                <a:lvl6pPr marL="22860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6pPr>
                <a:lvl7pPr marL="27432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7pPr>
                <a:lvl8pPr marL="32004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8pPr>
                <a:lvl9pPr marL="36576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9pPr>
              </a:lstStyle>
              <a:p>
                <a:endParaRPr lang="ko-KR" altLang="en-US"/>
              </a:p>
            </p:txBody>
          </p:sp>
        </p:grpSp>
        <p:grpSp>
          <p:nvGrpSpPr>
            <p:cNvPr id="44" name="Group 13"/>
            <p:cNvGrpSpPr>
              <a:grpSpLocks/>
            </p:cNvGrpSpPr>
            <p:nvPr/>
          </p:nvGrpSpPr>
          <p:grpSpPr bwMode="auto">
            <a:xfrm>
              <a:off x="933742" y="4682019"/>
              <a:ext cx="2497205" cy="844695"/>
              <a:chOff x="0" y="0"/>
              <a:chExt cx="3605" cy="997"/>
            </a:xfrm>
          </p:grpSpPr>
          <p:sp>
            <p:nvSpPr>
              <p:cNvPr id="56" name="Freeform 18"/>
              <p:cNvSpPr>
                <a:spLocks/>
              </p:cNvSpPr>
              <p:nvPr/>
            </p:nvSpPr>
            <p:spPr bwMode="auto">
              <a:xfrm>
                <a:off x="0" y="10"/>
                <a:ext cx="98" cy="482"/>
              </a:xfrm>
              <a:custGeom>
                <a:avLst/>
                <a:gdLst>
                  <a:gd name="T0" fmla="*/ 10 w 92"/>
                  <a:gd name="T1" fmla="*/ 0 h 482"/>
                  <a:gd name="T2" fmla="*/ 92 w 92"/>
                  <a:gd name="T3" fmla="*/ 83 h 482"/>
                  <a:gd name="T4" fmla="*/ 90 w 92"/>
                  <a:gd name="T5" fmla="*/ 482 h 482"/>
                  <a:gd name="T6" fmla="*/ 0 w 92"/>
                  <a:gd name="T7" fmla="*/ 392 h 482"/>
                  <a:gd name="T8" fmla="*/ 10 w 92"/>
                  <a:gd name="T9" fmla="*/ 0 h 482"/>
                  <a:gd name="T10" fmla="*/ 0 w 92"/>
                  <a:gd name="T11" fmla="*/ 0 h 482"/>
                  <a:gd name="T12" fmla="*/ 92 w 92"/>
                  <a:gd name="T13" fmla="*/ 482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T10" t="T11" r="T12" b="T13"/>
                <a:pathLst>
                  <a:path w="92" h="482">
                    <a:moveTo>
                      <a:pt x="10" y="0"/>
                    </a:moveTo>
                    <a:lnTo>
                      <a:pt x="92" y="83"/>
                    </a:lnTo>
                    <a:lnTo>
                      <a:pt x="90" y="482"/>
                    </a:lnTo>
                    <a:lnTo>
                      <a:pt x="0" y="392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4C70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5pPr>
                <a:lvl6pPr marL="22860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6pPr>
                <a:lvl7pPr marL="27432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7pPr>
                <a:lvl8pPr marL="32004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8pPr>
                <a:lvl9pPr marL="36576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9pPr>
              </a:lstStyle>
              <a:p>
                <a:endParaRPr lang="ko-KR" altLang="en-US"/>
              </a:p>
            </p:txBody>
          </p:sp>
          <p:sp>
            <p:nvSpPr>
              <p:cNvPr id="57" name="Freeform 19"/>
              <p:cNvSpPr>
                <a:spLocks/>
              </p:cNvSpPr>
              <p:nvPr/>
            </p:nvSpPr>
            <p:spPr bwMode="auto">
              <a:xfrm>
                <a:off x="90" y="93"/>
                <a:ext cx="3515" cy="904"/>
              </a:xfrm>
              <a:custGeom>
                <a:avLst/>
                <a:gdLst>
                  <a:gd name="T0" fmla="*/ 2 w 3515"/>
                  <a:gd name="T1" fmla="*/ 0 h 904"/>
                  <a:gd name="T2" fmla="*/ 3515 w 3515"/>
                  <a:gd name="T3" fmla="*/ 0 h 904"/>
                  <a:gd name="T4" fmla="*/ 3043 w 3515"/>
                  <a:gd name="T5" fmla="*/ 904 h 904"/>
                  <a:gd name="T6" fmla="*/ 2655 w 3515"/>
                  <a:gd name="T7" fmla="*/ 904 h 904"/>
                  <a:gd name="T8" fmla="*/ 2901 w 3515"/>
                  <a:gd name="T9" fmla="*/ 408 h 904"/>
                  <a:gd name="T10" fmla="*/ 0 w 3515"/>
                  <a:gd name="T11" fmla="*/ 399 h 904"/>
                  <a:gd name="T12" fmla="*/ 2 w 3515"/>
                  <a:gd name="T13" fmla="*/ 0 h 904"/>
                  <a:gd name="T14" fmla="*/ 0 w 3515"/>
                  <a:gd name="T15" fmla="*/ 0 h 904"/>
                  <a:gd name="T16" fmla="*/ 3515 w 3515"/>
                  <a:gd name="T17" fmla="*/ 904 h 9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T14" t="T15" r="T16" b="T17"/>
                <a:pathLst>
                  <a:path w="3515" h="904">
                    <a:moveTo>
                      <a:pt x="2" y="0"/>
                    </a:moveTo>
                    <a:lnTo>
                      <a:pt x="3515" y="0"/>
                    </a:lnTo>
                    <a:lnTo>
                      <a:pt x="3043" y="904"/>
                    </a:lnTo>
                    <a:lnTo>
                      <a:pt x="2655" y="904"/>
                    </a:lnTo>
                    <a:lnTo>
                      <a:pt x="2901" y="408"/>
                    </a:lnTo>
                    <a:lnTo>
                      <a:pt x="0" y="399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6B9B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5pPr>
                <a:lvl6pPr marL="22860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6pPr>
                <a:lvl7pPr marL="27432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7pPr>
                <a:lvl8pPr marL="32004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8pPr>
                <a:lvl9pPr marL="36576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9pPr>
              </a:lstStyle>
              <a:p>
                <a:endParaRPr lang="ko-KR" altLang="en-US"/>
              </a:p>
            </p:txBody>
          </p:sp>
          <p:sp>
            <p:nvSpPr>
              <p:cNvPr id="58" name="Freeform 20"/>
              <p:cNvSpPr>
                <a:spLocks/>
              </p:cNvSpPr>
              <p:nvPr/>
            </p:nvSpPr>
            <p:spPr bwMode="auto">
              <a:xfrm>
                <a:off x="10" y="0"/>
                <a:ext cx="3595" cy="93"/>
              </a:xfrm>
              <a:custGeom>
                <a:avLst/>
                <a:gdLst>
                  <a:gd name="T0" fmla="*/ 0 w 3595"/>
                  <a:gd name="T1" fmla="*/ 10 h 93"/>
                  <a:gd name="T2" fmla="*/ 85 w 3595"/>
                  <a:gd name="T3" fmla="*/ 0 h 93"/>
                  <a:gd name="T4" fmla="*/ 3503 w 3595"/>
                  <a:gd name="T5" fmla="*/ 0 h 93"/>
                  <a:gd name="T6" fmla="*/ 3595 w 3595"/>
                  <a:gd name="T7" fmla="*/ 93 h 93"/>
                  <a:gd name="T8" fmla="*/ 82 w 3595"/>
                  <a:gd name="T9" fmla="*/ 93 h 93"/>
                  <a:gd name="T10" fmla="*/ 0 w 3595"/>
                  <a:gd name="T11" fmla="*/ 10 h 93"/>
                  <a:gd name="T12" fmla="*/ 0 w 3595"/>
                  <a:gd name="T13" fmla="*/ 0 h 93"/>
                  <a:gd name="T14" fmla="*/ 3595 w 3595"/>
                  <a:gd name="T15" fmla="*/ 93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T12" t="T13" r="T14" b="T15"/>
                <a:pathLst>
                  <a:path w="3595" h="93">
                    <a:moveTo>
                      <a:pt x="0" y="10"/>
                    </a:moveTo>
                    <a:lnTo>
                      <a:pt x="85" y="0"/>
                    </a:lnTo>
                    <a:lnTo>
                      <a:pt x="3503" y="0"/>
                    </a:lnTo>
                    <a:lnTo>
                      <a:pt x="3595" y="93"/>
                    </a:lnTo>
                    <a:lnTo>
                      <a:pt x="82" y="93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90BA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5pPr>
                <a:lvl6pPr marL="22860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6pPr>
                <a:lvl7pPr marL="27432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7pPr>
                <a:lvl8pPr marL="32004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8pPr>
                <a:lvl9pPr marL="36576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9pPr>
              </a:lstStyle>
              <a:p>
                <a:endParaRPr lang="ko-KR" altLang="en-US"/>
              </a:p>
            </p:txBody>
          </p:sp>
          <p:sp>
            <p:nvSpPr>
              <p:cNvPr id="59" name="Freeform 21"/>
              <p:cNvSpPr>
                <a:spLocks/>
              </p:cNvSpPr>
              <p:nvPr/>
            </p:nvSpPr>
            <p:spPr bwMode="auto">
              <a:xfrm>
                <a:off x="2641" y="501"/>
                <a:ext cx="350" cy="496"/>
              </a:xfrm>
              <a:custGeom>
                <a:avLst/>
                <a:gdLst>
                  <a:gd name="T0" fmla="*/ 104 w 350"/>
                  <a:gd name="T1" fmla="*/ 496 h 496"/>
                  <a:gd name="T2" fmla="*/ 0 w 350"/>
                  <a:gd name="T3" fmla="*/ 392 h 496"/>
                  <a:gd name="T4" fmla="*/ 213 w 350"/>
                  <a:gd name="T5" fmla="*/ 0 h 496"/>
                  <a:gd name="T6" fmla="*/ 350 w 350"/>
                  <a:gd name="T7" fmla="*/ 0 h 496"/>
                  <a:gd name="T8" fmla="*/ 104 w 350"/>
                  <a:gd name="T9" fmla="*/ 496 h 496"/>
                  <a:gd name="T10" fmla="*/ 0 w 350"/>
                  <a:gd name="T11" fmla="*/ 0 h 496"/>
                  <a:gd name="T12" fmla="*/ 350 w 350"/>
                  <a:gd name="T13" fmla="*/ 496 h 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T10" t="T11" r="T12" b="T13"/>
                <a:pathLst>
                  <a:path w="350" h="496">
                    <a:moveTo>
                      <a:pt x="104" y="496"/>
                    </a:moveTo>
                    <a:lnTo>
                      <a:pt x="0" y="392"/>
                    </a:lnTo>
                    <a:lnTo>
                      <a:pt x="213" y="0"/>
                    </a:lnTo>
                    <a:lnTo>
                      <a:pt x="350" y="0"/>
                    </a:lnTo>
                    <a:lnTo>
                      <a:pt x="104" y="496"/>
                    </a:lnTo>
                    <a:close/>
                  </a:path>
                </a:pathLst>
              </a:custGeom>
              <a:solidFill>
                <a:srgbClr val="90BA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5pPr>
                <a:lvl6pPr marL="22860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6pPr>
                <a:lvl7pPr marL="27432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7pPr>
                <a:lvl8pPr marL="32004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8pPr>
                <a:lvl9pPr marL="36576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9pPr>
              </a:lstStyle>
              <a:p>
                <a:endParaRPr lang="ko-KR" altLang="en-US"/>
              </a:p>
            </p:txBody>
          </p:sp>
        </p:grpSp>
        <p:grpSp>
          <p:nvGrpSpPr>
            <p:cNvPr id="45" name="Group 18"/>
            <p:cNvGrpSpPr>
              <a:grpSpLocks/>
            </p:cNvGrpSpPr>
            <p:nvPr/>
          </p:nvGrpSpPr>
          <p:grpSpPr bwMode="auto">
            <a:xfrm>
              <a:off x="932357" y="3449290"/>
              <a:ext cx="2502061" cy="828598"/>
              <a:chOff x="0" y="0"/>
              <a:chExt cx="3612" cy="978"/>
            </a:xfrm>
          </p:grpSpPr>
          <p:sp>
            <p:nvSpPr>
              <p:cNvPr id="51" name="Freeform 13"/>
              <p:cNvSpPr>
                <a:spLocks/>
              </p:cNvSpPr>
              <p:nvPr/>
            </p:nvSpPr>
            <p:spPr bwMode="auto">
              <a:xfrm>
                <a:off x="0" y="489"/>
                <a:ext cx="103" cy="489"/>
              </a:xfrm>
              <a:custGeom>
                <a:avLst/>
                <a:gdLst>
                  <a:gd name="T0" fmla="*/ 97 w 97"/>
                  <a:gd name="T1" fmla="*/ 489 h 489"/>
                  <a:gd name="T2" fmla="*/ 97 w 97"/>
                  <a:gd name="T3" fmla="*/ 97 h 489"/>
                  <a:gd name="T4" fmla="*/ 0 w 97"/>
                  <a:gd name="T5" fmla="*/ 0 h 489"/>
                  <a:gd name="T6" fmla="*/ 0 w 97"/>
                  <a:gd name="T7" fmla="*/ 400 h 489"/>
                  <a:gd name="T8" fmla="*/ 97 w 97"/>
                  <a:gd name="T9" fmla="*/ 489 h 489"/>
                  <a:gd name="T10" fmla="*/ 0 w 97"/>
                  <a:gd name="T11" fmla="*/ 0 h 489"/>
                  <a:gd name="T12" fmla="*/ 97 w 97"/>
                  <a:gd name="T13" fmla="*/ 489 h 4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T10" t="T11" r="T12" b="T13"/>
                <a:pathLst>
                  <a:path w="97" h="489">
                    <a:moveTo>
                      <a:pt x="97" y="489"/>
                    </a:moveTo>
                    <a:lnTo>
                      <a:pt x="97" y="97"/>
                    </a:lnTo>
                    <a:lnTo>
                      <a:pt x="0" y="0"/>
                    </a:lnTo>
                    <a:lnTo>
                      <a:pt x="0" y="400"/>
                    </a:lnTo>
                    <a:lnTo>
                      <a:pt x="97" y="489"/>
                    </a:lnTo>
                    <a:close/>
                  </a:path>
                </a:pathLst>
              </a:custGeom>
              <a:solidFill>
                <a:srgbClr val="4C70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5pPr>
                <a:lvl6pPr marL="22860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6pPr>
                <a:lvl7pPr marL="27432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7pPr>
                <a:lvl8pPr marL="32004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8pPr>
                <a:lvl9pPr marL="36576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9pPr>
              </a:lstStyle>
              <a:p>
                <a:endParaRPr lang="ko-KR" altLang="en-US"/>
              </a:p>
            </p:txBody>
          </p:sp>
          <p:sp>
            <p:nvSpPr>
              <p:cNvPr id="52" name="Freeform 14"/>
              <p:cNvSpPr>
                <a:spLocks/>
              </p:cNvSpPr>
              <p:nvPr/>
            </p:nvSpPr>
            <p:spPr bwMode="auto">
              <a:xfrm>
                <a:off x="0" y="487"/>
                <a:ext cx="3019" cy="99"/>
              </a:xfrm>
              <a:custGeom>
                <a:avLst/>
                <a:gdLst>
                  <a:gd name="T0" fmla="*/ 97 w 3007"/>
                  <a:gd name="T1" fmla="*/ 99 h 99"/>
                  <a:gd name="T2" fmla="*/ 3007 w 3007"/>
                  <a:gd name="T3" fmla="*/ 99 h 99"/>
                  <a:gd name="T4" fmla="*/ 2908 w 3007"/>
                  <a:gd name="T5" fmla="*/ 0 h 99"/>
                  <a:gd name="T6" fmla="*/ 0 w 3007"/>
                  <a:gd name="T7" fmla="*/ 2 h 99"/>
                  <a:gd name="T8" fmla="*/ 97 w 3007"/>
                  <a:gd name="T9" fmla="*/ 99 h 99"/>
                  <a:gd name="T10" fmla="*/ 0 w 3007"/>
                  <a:gd name="T11" fmla="*/ 0 h 99"/>
                  <a:gd name="T12" fmla="*/ 3007 w 3007"/>
                  <a:gd name="T13" fmla="*/ 9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T10" t="T11" r="T12" b="T13"/>
                <a:pathLst>
                  <a:path w="3007" h="99">
                    <a:moveTo>
                      <a:pt x="97" y="99"/>
                    </a:moveTo>
                    <a:lnTo>
                      <a:pt x="3007" y="99"/>
                    </a:lnTo>
                    <a:lnTo>
                      <a:pt x="2908" y="0"/>
                    </a:lnTo>
                    <a:lnTo>
                      <a:pt x="0" y="2"/>
                    </a:lnTo>
                    <a:lnTo>
                      <a:pt x="97" y="99"/>
                    </a:lnTo>
                    <a:close/>
                  </a:path>
                </a:pathLst>
              </a:custGeom>
              <a:solidFill>
                <a:srgbClr val="90BA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5pPr>
                <a:lvl6pPr marL="22860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6pPr>
                <a:lvl7pPr marL="27432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7pPr>
                <a:lvl8pPr marL="32004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8pPr>
                <a:lvl9pPr marL="36576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9pPr>
              </a:lstStyle>
              <a:p>
                <a:endParaRPr lang="ko-KR" altLang="en-US"/>
              </a:p>
            </p:txBody>
          </p:sp>
          <p:sp>
            <p:nvSpPr>
              <p:cNvPr id="53" name="Freeform 15"/>
              <p:cNvSpPr>
                <a:spLocks/>
              </p:cNvSpPr>
              <p:nvPr/>
            </p:nvSpPr>
            <p:spPr bwMode="auto">
              <a:xfrm>
                <a:off x="97" y="95"/>
                <a:ext cx="3515" cy="883"/>
              </a:xfrm>
              <a:custGeom>
                <a:avLst/>
                <a:gdLst>
                  <a:gd name="T0" fmla="*/ 0 w 3515"/>
                  <a:gd name="T1" fmla="*/ 883 h 883"/>
                  <a:gd name="T2" fmla="*/ 3515 w 3515"/>
                  <a:gd name="T3" fmla="*/ 883 h 883"/>
                  <a:gd name="T4" fmla="*/ 3028 w 3515"/>
                  <a:gd name="T5" fmla="*/ 0 h 883"/>
                  <a:gd name="T6" fmla="*/ 2617 w 3515"/>
                  <a:gd name="T7" fmla="*/ 0 h 883"/>
                  <a:gd name="T8" fmla="*/ 2910 w 3515"/>
                  <a:gd name="T9" fmla="*/ 491 h 883"/>
                  <a:gd name="T10" fmla="*/ 0 w 3515"/>
                  <a:gd name="T11" fmla="*/ 491 h 883"/>
                  <a:gd name="T12" fmla="*/ 0 w 3515"/>
                  <a:gd name="T13" fmla="*/ 883 h 883"/>
                  <a:gd name="T14" fmla="*/ 0 w 3515"/>
                  <a:gd name="T15" fmla="*/ 0 h 883"/>
                  <a:gd name="T16" fmla="*/ 3515 w 3515"/>
                  <a:gd name="T17" fmla="*/ 883 h 8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T14" t="T15" r="T16" b="T17"/>
                <a:pathLst>
                  <a:path w="3515" h="883">
                    <a:moveTo>
                      <a:pt x="0" y="883"/>
                    </a:moveTo>
                    <a:lnTo>
                      <a:pt x="3515" y="883"/>
                    </a:lnTo>
                    <a:lnTo>
                      <a:pt x="3028" y="0"/>
                    </a:lnTo>
                    <a:lnTo>
                      <a:pt x="2617" y="0"/>
                    </a:lnTo>
                    <a:lnTo>
                      <a:pt x="2910" y="491"/>
                    </a:lnTo>
                    <a:lnTo>
                      <a:pt x="0" y="491"/>
                    </a:lnTo>
                    <a:lnTo>
                      <a:pt x="0" y="883"/>
                    </a:lnTo>
                    <a:close/>
                  </a:path>
                </a:pathLst>
              </a:custGeom>
              <a:solidFill>
                <a:srgbClr val="6B9B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5pPr>
                <a:lvl6pPr marL="22860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6pPr>
                <a:lvl7pPr marL="27432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7pPr>
                <a:lvl8pPr marL="32004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8pPr>
                <a:lvl9pPr marL="36576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9pPr>
              </a:lstStyle>
              <a:p>
                <a:endParaRPr lang="ko-KR" altLang="en-US"/>
              </a:p>
            </p:txBody>
          </p:sp>
          <p:sp>
            <p:nvSpPr>
              <p:cNvPr id="54" name="Freeform 16"/>
              <p:cNvSpPr>
                <a:spLocks/>
              </p:cNvSpPr>
              <p:nvPr/>
            </p:nvSpPr>
            <p:spPr bwMode="auto">
              <a:xfrm>
                <a:off x="2625" y="0"/>
                <a:ext cx="394" cy="586"/>
              </a:xfrm>
              <a:custGeom>
                <a:avLst/>
                <a:gdLst>
                  <a:gd name="T0" fmla="*/ 283 w 382"/>
                  <a:gd name="T1" fmla="*/ 487 h 586"/>
                  <a:gd name="T2" fmla="*/ 0 w 382"/>
                  <a:gd name="T3" fmla="*/ 0 h 586"/>
                  <a:gd name="T4" fmla="*/ 89 w 382"/>
                  <a:gd name="T5" fmla="*/ 95 h 586"/>
                  <a:gd name="T6" fmla="*/ 382 w 382"/>
                  <a:gd name="T7" fmla="*/ 586 h 586"/>
                  <a:gd name="T8" fmla="*/ 283 w 382"/>
                  <a:gd name="T9" fmla="*/ 487 h 586"/>
                  <a:gd name="T10" fmla="*/ 0 w 382"/>
                  <a:gd name="T11" fmla="*/ 0 h 586"/>
                  <a:gd name="T12" fmla="*/ 382 w 382"/>
                  <a:gd name="T13" fmla="*/ 586 h 5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T10" t="T11" r="T12" b="T13"/>
                <a:pathLst>
                  <a:path w="382" h="586">
                    <a:moveTo>
                      <a:pt x="283" y="487"/>
                    </a:moveTo>
                    <a:lnTo>
                      <a:pt x="0" y="0"/>
                    </a:lnTo>
                    <a:lnTo>
                      <a:pt x="89" y="95"/>
                    </a:lnTo>
                    <a:lnTo>
                      <a:pt x="382" y="586"/>
                    </a:lnTo>
                    <a:lnTo>
                      <a:pt x="283" y="487"/>
                    </a:lnTo>
                    <a:close/>
                  </a:path>
                </a:pathLst>
              </a:custGeom>
              <a:solidFill>
                <a:srgbClr val="4C70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5pPr>
                <a:lvl6pPr marL="22860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6pPr>
                <a:lvl7pPr marL="27432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7pPr>
                <a:lvl8pPr marL="32004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8pPr>
                <a:lvl9pPr marL="36576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9pPr>
              </a:lstStyle>
              <a:p>
                <a:endParaRPr lang="ko-KR" altLang="en-US"/>
              </a:p>
            </p:txBody>
          </p:sp>
          <p:sp>
            <p:nvSpPr>
              <p:cNvPr id="55" name="Freeform 17"/>
              <p:cNvSpPr>
                <a:spLocks/>
              </p:cNvSpPr>
              <p:nvPr/>
            </p:nvSpPr>
            <p:spPr bwMode="auto">
              <a:xfrm>
                <a:off x="2625" y="0"/>
                <a:ext cx="500" cy="95"/>
              </a:xfrm>
              <a:custGeom>
                <a:avLst/>
                <a:gdLst>
                  <a:gd name="T0" fmla="*/ 0 w 500"/>
                  <a:gd name="T1" fmla="*/ 0 h 95"/>
                  <a:gd name="T2" fmla="*/ 411 w 500"/>
                  <a:gd name="T3" fmla="*/ 0 h 95"/>
                  <a:gd name="T4" fmla="*/ 500 w 500"/>
                  <a:gd name="T5" fmla="*/ 95 h 95"/>
                  <a:gd name="T6" fmla="*/ 89 w 500"/>
                  <a:gd name="T7" fmla="*/ 95 h 95"/>
                  <a:gd name="T8" fmla="*/ 0 w 500"/>
                  <a:gd name="T9" fmla="*/ 0 h 95"/>
                  <a:gd name="T10" fmla="*/ 0 w 500"/>
                  <a:gd name="T11" fmla="*/ 0 h 95"/>
                  <a:gd name="T12" fmla="*/ 500 w 500"/>
                  <a:gd name="T13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T10" t="T11" r="T12" b="T13"/>
                <a:pathLst>
                  <a:path w="500" h="95">
                    <a:moveTo>
                      <a:pt x="0" y="0"/>
                    </a:moveTo>
                    <a:lnTo>
                      <a:pt x="411" y="0"/>
                    </a:lnTo>
                    <a:lnTo>
                      <a:pt x="500" y="95"/>
                    </a:lnTo>
                    <a:lnTo>
                      <a:pt x="89" y="9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0BA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5pPr>
                <a:lvl6pPr marL="22860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6pPr>
                <a:lvl7pPr marL="27432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7pPr>
                <a:lvl8pPr marL="32004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8pPr>
                <a:lvl9pPr marL="3657600" algn="l" defTabSz="914400" rtl="0" eaLnBrk="1" latinLnBrk="1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+mn-cs"/>
                  </a:defRPr>
                </a:lvl9pPr>
              </a:lstStyle>
              <a:p>
                <a:endParaRPr lang="ko-KR" altLang="en-US"/>
              </a:p>
            </p:txBody>
          </p:sp>
        </p:grpSp>
      </p:grpSp>
      <p:sp>
        <p:nvSpPr>
          <p:cNvPr id="31" name="TextBox 30"/>
          <p:cNvSpPr txBox="1"/>
          <p:nvPr/>
        </p:nvSpPr>
        <p:spPr>
          <a:xfrm>
            <a:off x="882800" y="3931393"/>
            <a:ext cx="9742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dirty="0" smtClean="0">
                <a:solidFill>
                  <a:schemeClr val="tx2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F</a:t>
            </a:r>
            <a:r>
              <a:rPr lang="ko-KR" altLang="en-US" dirty="0" smtClean="0">
                <a:solidFill>
                  <a:schemeClr val="tx2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코드</a:t>
            </a:r>
            <a:endParaRPr lang="ko-KR" altLang="en-US" dirty="0">
              <a:solidFill>
                <a:schemeClr val="tx2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877258" y="4748907"/>
            <a:ext cx="9742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dirty="0" smtClean="0">
                <a:solidFill>
                  <a:schemeClr val="accent2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Z</a:t>
            </a:r>
            <a:r>
              <a:rPr lang="ko-KR" altLang="en-US" dirty="0" smtClean="0">
                <a:solidFill>
                  <a:schemeClr val="accent2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코드</a:t>
            </a:r>
            <a:endParaRPr lang="ko-KR" altLang="en-US" dirty="0">
              <a:solidFill>
                <a:schemeClr val="accent2">
                  <a:lumMod val="75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168" name="TextBox 7167"/>
          <p:cNvSpPr txBox="1"/>
          <p:nvPr/>
        </p:nvSpPr>
        <p:spPr>
          <a:xfrm>
            <a:off x="1722113" y="3945771"/>
            <a:ext cx="159279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정신질환 진료 및 치료</a:t>
            </a:r>
            <a:endParaRPr lang="ko-KR" altLang="en-US" sz="11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722113" y="4775100"/>
            <a:ext cx="159279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일반 보건 상담 진료</a:t>
            </a:r>
            <a:endParaRPr lang="ko-KR" altLang="en-US" sz="11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8" name="오른쪽 화살표 47"/>
          <p:cNvSpPr/>
          <p:nvPr/>
        </p:nvSpPr>
        <p:spPr>
          <a:xfrm>
            <a:off x="6120172" y="124527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9" name="오른쪽 화살표 48"/>
          <p:cNvSpPr/>
          <p:nvPr/>
        </p:nvSpPr>
        <p:spPr>
          <a:xfrm>
            <a:off x="5795302" y="158447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0" name="오른쪽 화살표 49"/>
          <p:cNvSpPr/>
          <p:nvPr/>
        </p:nvSpPr>
        <p:spPr>
          <a:xfrm>
            <a:off x="5752052" y="195598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6" name="오른쪽 화살표 65"/>
          <p:cNvSpPr/>
          <p:nvPr/>
        </p:nvSpPr>
        <p:spPr>
          <a:xfrm>
            <a:off x="340596" y="6190518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797851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2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6" dur="75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7" dur="150" fill="hold">
                                          <p:stCondLst>
                                            <p:cond delay="15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8" dur="150" fill="hold">
                                          <p:stCondLst>
                                            <p:cond delay="30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9" dur="150" fill="hold">
                                          <p:stCondLst>
                                            <p:cond delay="45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0" dur="15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56"/>
          <p:cNvGrpSpPr/>
          <p:nvPr/>
        </p:nvGrpSpPr>
        <p:grpSpPr>
          <a:xfrm>
            <a:off x="2784932" y="4815944"/>
            <a:ext cx="3885372" cy="373825"/>
            <a:chOff x="2680364" y="4806907"/>
            <a:chExt cx="3783289" cy="500871"/>
          </a:xfrm>
        </p:grpSpPr>
        <p:sp>
          <p:nvSpPr>
            <p:cNvPr id="16" name="Ellipse 98"/>
            <p:cNvSpPr/>
            <p:nvPr>
              <p:custDataLst>
                <p:tags r:id="rId1"/>
              </p:custDataLst>
            </p:nvPr>
          </p:nvSpPr>
          <p:spPr bwMode="auto">
            <a:xfrm>
              <a:off x="2680364" y="4806907"/>
              <a:ext cx="3783289" cy="500871"/>
            </a:xfrm>
            <a:prstGeom prst="ellipse">
              <a:avLst/>
            </a:prstGeom>
            <a:gradFill flip="none" rotWithShape="1">
              <a:gsLst>
                <a:gs pos="100000">
                  <a:srgbClr val="FFFFFF">
                    <a:alpha val="0"/>
                  </a:srgbClr>
                </a:gs>
                <a:gs pos="0">
                  <a:srgbClr val="E6E6E6">
                    <a:lumMod val="10000"/>
                    <a:alpha val="1900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17" name="Ellipse 98"/>
            <p:cNvSpPr/>
            <p:nvPr>
              <p:custDataLst>
                <p:tags r:id="rId2"/>
              </p:custDataLst>
            </p:nvPr>
          </p:nvSpPr>
          <p:spPr bwMode="auto">
            <a:xfrm>
              <a:off x="3718923" y="4934319"/>
              <a:ext cx="1706170" cy="261686"/>
            </a:xfrm>
            <a:prstGeom prst="ellipse">
              <a:avLst/>
            </a:prstGeom>
            <a:gradFill flip="none" rotWithShape="1">
              <a:gsLst>
                <a:gs pos="100000">
                  <a:srgbClr val="FFFFFF">
                    <a:alpha val="0"/>
                  </a:srgbClr>
                </a:gs>
                <a:gs pos="0">
                  <a:srgbClr val="E6E6E6">
                    <a:lumMod val="10000"/>
                    <a:alpha val="4700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solidFill>
                  <a:srgbClr val="FFFFFF"/>
                </a:solidFill>
                <a:latin typeface="Calibri" pitchFamily="34" charset="0"/>
              </a:endParaRPr>
            </a:p>
          </p:txBody>
        </p:sp>
      </p:grpSp>
      <p:grpSp>
        <p:nvGrpSpPr>
          <p:cNvPr id="4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5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12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12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7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그림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808074" y="584551"/>
            <a:ext cx="8082913" cy="3631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상급병원 지정 시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진료권역 분류 및 소요병상 배분」 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sz="22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76230" y="1171939"/>
            <a:ext cx="832630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소요병상수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산정방식」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3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단위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진료권역별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의료이용량과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환자 유출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입 반영 적용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1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소요병상의 일정비율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18%)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을 「전국권역 배분방식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」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 「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60.2%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서울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수도권 배정」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‘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11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수도권 집중화 억제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지방 균형발전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014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부터 </a:t>
            </a:r>
            <a:r>
              <a:rPr lang="ko-KR" altLang="en-US" sz="1600" b="1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권역별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배분방식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」</a:t>
            </a:r>
            <a:endParaRPr lang="en-US" altLang="ko-KR" sz="1600" b="1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문제는 개선 결정방침의 후퇴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기존 평가기준대로 하고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서울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수도권 진료권역만 </a:t>
            </a:r>
            <a:r>
              <a:rPr lang="ko-KR" altLang="en-US" sz="1600" b="1" spc="-15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재분류</a:t>
            </a:r>
            <a:endParaRPr lang="ko-KR" altLang="en-US" sz="1600" b="1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39950" y="6041268"/>
            <a:ext cx="8475444" cy="530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소요병상 수 미달로 인한 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잔여병상의 지방권역 우선 배정 약속」 </a:t>
            </a:r>
            <a:r>
              <a:rPr lang="ko-KR" altLang="en-US" sz="190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이행 돼야</a:t>
            </a:r>
            <a:endParaRPr lang="ko-KR" altLang="en-US" sz="19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pSp>
        <p:nvGrpSpPr>
          <p:cNvPr id="37" name="Group 136"/>
          <p:cNvGrpSpPr/>
          <p:nvPr/>
        </p:nvGrpSpPr>
        <p:grpSpPr>
          <a:xfrm>
            <a:off x="4097104" y="3757784"/>
            <a:ext cx="1258103" cy="1217287"/>
            <a:chOff x="1066800" y="919535"/>
            <a:chExt cx="909638" cy="926728"/>
          </a:xfrm>
          <a:effectLst>
            <a:outerShdw blurRad="25400" dist="12700" algn="ctr" rotWithShape="0">
              <a:prstClr val="black">
                <a:alpha val="26000"/>
              </a:prstClr>
            </a:outerShdw>
          </a:effectLst>
        </p:grpSpPr>
        <p:sp>
          <p:nvSpPr>
            <p:cNvPr id="38" name="Rectangle 6"/>
            <p:cNvSpPr>
              <a:spLocks noChangeArrowheads="1"/>
            </p:cNvSpPr>
            <p:nvPr/>
          </p:nvSpPr>
          <p:spPr bwMode="auto">
            <a:xfrm>
              <a:off x="1370013" y="995363"/>
              <a:ext cx="17463" cy="65088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Rectangle 7"/>
            <p:cNvSpPr>
              <a:spLocks noChangeArrowheads="1"/>
            </p:cNvSpPr>
            <p:nvPr/>
          </p:nvSpPr>
          <p:spPr bwMode="auto">
            <a:xfrm>
              <a:off x="1457325" y="935038"/>
              <a:ext cx="20638" cy="80963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Rectangle 8"/>
            <p:cNvSpPr>
              <a:spLocks noChangeArrowheads="1"/>
            </p:cNvSpPr>
            <p:nvPr/>
          </p:nvSpPr>
          <p:spPr bwMode="auto">
            <a:xfrm>
              <a:off x="1098550" y="1747838"/>
              <a:ext cx="846138" cy="60325"/>
            </a:xfrm>
            <a:prstGeom prst="rect">
              <a:avLst/>
            </a:prstGeom>
            <a:solidFill>
              <a:srgbClr val="1D4B6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9"/>
            <p:cNvSpPr>
              <a:spLocks noChangeArrowheads="1"/>
            </p:cNvSpPr>
            <p:nvPr/>
          </p:nvSpPr>
          <p:spPr bwMode="auto">
            <a:xfrm>
              <a:off x="1082675" y="1766888"/>
              <a:ext cx="877888" cy="60325"/>
            </a:xfrm>
            <a:prstGeom prst="rect">
              <a:avLst/>
            </a:prstGeom>
            <a:solidFill>
              <a:srgbClr val="1D4B6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Rectangle 10"/>
            <p:cNvSpPr>
              <a:spLocks noChangeArrowheads="1"/>
            </p:cNvSpPr>
            <p:nvPr/>
          </p:nvSpPr>
          <p:spPr bwMode="auto">
            <a:xfrm>
              <a:off x="1066800" y="1785938"/>
              <a:ext cx="909638" cy="60325"/>
            </a:xfrm>
            <a:prstGeom prst="rect">
              <a:avLst/>
            </a:prstGeom>
            <a:solidFill>
              <a:srgbClr val="1D4B6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1"/>
            <p:cNvSpPr>
              <a:spLocks/>
            </p:cNvSpPr>
            <p:nvPr/>
          </p:nvSpPr>
          <p:spPr bwMode="auto">
            <a:xfrm>
              <a:off x="1233488" y="920750"/>
              <a:ext cx="376238" cy="276225"/>
            </a:xfrm>
            <a:custGeom>
              <a:avLst/>
              <a:gdLst>
                <a:gd name="T0" fmla="*/ 0 w 947"/>
                <a:gd name="T1" fmla="*/ 692 h 692"/>
                <a:gd name="T2" fmla="*/ 0 w 947"/>
                <a:gd name="T3" fmla="*/ 481 h 692"/>
                <a:gd name="T4" fmla="*/ 947 w 947"/>
                <a:gd name="T5" fmla="*/ 0 h 692"/>
                <a:gd name="T6" fmla="*/ 934 w 947"/>
                <a:gd name="T7" fmla="*/ 264 h 692"/>
                <a:gd name="T8" fmla="*/ 0 w 947"/>
                <a:gd name="T9" fmla="*/ 692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7" h="692">
                  <a:moveTo>
                    <a:pt x="0" y="692"/>
                  </a:moveTo>
                  <a:lnTo>
                    <a:pt x="0" y="481"/>
                  </a:lnTo>
                  <a:lnTo>
                    <a:pt x="947" y="0"/>
                  </a:lnTo>
                  <a:lnTo>
                    <a:pt x="934" y="264"/>
                  </a:lnTo>
                  <a:lnTo>
                    <a:pt x="0" y="692"/>
                  </a:lnTo>
                  <a:close/>
                </a:path>
              </a:pathLst>
            </a:custGeom>
            <a:gradFill>
              <a:gsLst>
                <a:gs pos="0">
                  <a:schemeClr val="bg1">
                    <a:lumMod val="95000"/>
                    <a:shade val="67500"/>
                    <a:satMod val="11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162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12"/>
            <p:cNvSpPr>
              <a:spLocks/>
            </p:cNvSpPr>
            <p:nvPr/>
          </p:nvSpPr>
          <p:spPr bwMode="auto">
            <a:xfrm>
              <a:off x="1605334" y="919535"/>
              <a:ext cx="249238" cy="284163"/>
            </a:xfrm>
            <a:custGeom>
              <a:avLst/>
              <a:gdLst>
                <a:gd name="T0" fmla="*/ 626 w 626"/>
                <a:gd name="T1" fmla="*/ 718 h 718"/>
                <a:gd name="T2" fmla="*/ 626 w 626"/>
                <a:gd name="T3" fmla="*/ 506 h 718"/>
                <a:gd name="T4" fmla="*/ 6 w 626"/>
                <a:gd name="T5" fmla="*/ 0 h 718"/>
                <a:gd name="T6" fmla="*/ 0 w 626"/>
                <a:gd name="T7" fmla="*/ 274 h 718"/>
                <a:gd name="T8" fmla="*/ 626 w 626"/>
                <a:gd name="T9" fmla="*/ 718 h 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6" h="718">
                  <a:moveTo>
                    <a:pt x="626" y="718"/>
                  </a:moveTo>
                  <a:lnTo>
                    <a:pt x="626" y="506"/>
                  </a:lnTo>
                  <a:lnTo>
                    <a:pt x="6" y="0"/>
                  </a:lnTo>
                  <a:lnTo>
                    <a:pt x="0" y="274"/>
                  </a:lnTo>
                  <a:lnTo>
                    <a:pt x="626" y="71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3"/>
            <p:cNvSpPr>
              <a:spLocks/>
            </p:cNvSpPr>
            <p:nvPr/>
          </p:nvSpPr>
          <p:spPr bwMode="auto">
            <a:xfrm>
              <a:off x="1123950" y="977900"/>
              <a:ext cx="519113" cy="811213"/>
            </a:xfrm>
            <a:custGeom>
              <a:avLst/>
              <a:gdLst>
                <a:gd name="T0" fmla="*/ 0 w 1304"/>
                <a:gd name="T1" fmla="*/ 582 h 2044"/>
                <a:gd name="T2" fmla="*/ 1304 w 1304"/>
                <a:gd name="T3" fmla="*/ 0 h 2044"/>
                <a:gd name="T4" fmla="*/ 1304 w 1304"/>
                <a:gd name="T5" fmla="*/ 2044 h 2044"/>
                <a:gd name="T6" fmla="*/ 0 w 1304"/>
                <a:gd name="T7" fmla="*/ 2044 h 2044"/>
                <a:gd name="T8" fmla="*/ 0 w 1304"/>
                <a:gd name="T9" fmla="*/ 582 h 2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4" h="2044">
                  <a:moveTo>
                    <a:pt x="0" y="582"/>
                  </a:moveTo>
                  <a:lnTo>
                    <a:pt x="1304" y="0"/>
                  </a:lnTo>
                  <a:lnTo>
                    <a:pt x="1304" y="2044"/>
                  </a:lnTo>
                  <a:lnTo>
                    <a:pt x="0" y="2044"/>
                  </a:lnTo>
                  <a:lnTo>
                    <a:pt x="0" y="582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95000"/>
                    <a:shade val="67500"/>
                    <a:satMod val="115000"/>
                  </a:schemeClr>
                </a:gs>
                <a:gs pos="33000">
                  <a:schemeClr val="bg1">
                    <a:lumMod val="95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14"/>
            <p:cNvSpPr>
              <a:spLocks/>
            </p:cNvSpPr>
            <p:nvPr/>
          </p:nvSpPr>
          <p:spPr bwMode="auto">
            <a:xfrm>
              <a:off x="1643063" y="977900"/>
              <a:ext cx="265113" cy="811213"/>
            </a:xfrm>
            <a:custGeom>
              <a:avLst/>
              <a:gdLst>
                <a:gd name="T0" fmla="*/ 670 w 670"/>
                <a:gd name="T1" fmla="*/ 582 h 2044"/>
                <a:gd name="T2" fmla="*/ 509 w 670"/>
                <a:gd name="T3" fmla="*/ 486 h 2044"/>
                <a:gd name="T4" fmla="*/ 477 w 670"/>
                <a:gd name="T5" fmla="*/ 378 h 2044"/>
                <a:gd name="T6" fmla="*/ 0 w 670"/>
                <a:gd name="T7" fmla="*/ 0 h 2044"/>
                <a:gd name="T8" fmla="*/ 0 w 670"/>
                <a:gd name="T9" fmla="*/ 2044 h 2044"/>
                <a:gd name="T10" fmla="*/ 670 w 670"/>
                <a:gd name="T11" fmla="*/ 2044 h 2044"/>
                <a:gd name="T12" fmla="*/ 670 w 670"/>
                <a:gd name="T13" fmla="*/ 582 h 2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0" h="2044">
                  <a:moveTo>
                    <a:pt x="670" y="582"/>
                  </a:moveTo>
                  <a:lnTo>
                    <a:pt x="509" y="486"/>
                  </a:lnTo>
                  <a:lnTo>
                    <a:pt x="477" y="378"/>
                  </a:lnTo>
                  <a:lnTo>
                    <a:pt x="0" y="0"/>
                  </a:lnTo>
                  <a:lnTo>
                    <a:pt x="0" y="2044"/>
                  </a:lnTo>
                  <a:lnTo>
                    <a:pt x="670" y="2044"/>
                  </a:lnTo>
                  <a:lnTo>
                    <a:pt x="670" y="582"/>
                  </a:lnTo>
                  <a:close/>
                </a:path>
              </a:pathLst>
            </a:custGeom>
            <a:solidFill>
              <a:srgbClr val="1D4B6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15"/>
            <p:cNvSpPr>
              <a:spLocks noEditPoints="1"/>
            </p:cNvSpPr>
            <p:nvPr/>
          </p:nvSpPr>
          <p:spPr bwMode="auto">
            <a:xfrm>
              <a:off x="1157288" y="1073150"/>
              <a:ext cx="433388" cy="677863"/>
            </a:xfrm>
            <a:custGeom>
              <a:avLst/>
              <a:gdLst>
                <a:gd name="T0" fmla="*/ 0 w 1089"/>
                <a:gd name="T1" fmla="*/ 1589 h 1709"/>
                <a:gd name="T2" fmla="*/ 238 w 1089"/>
                <a:gd name="T3" fmla="*/ 1573 h 1709"/>
                <a:gd name="T4" fmla="*/ 238 w 1089"/>
                <a:gd name="T5" fmla="*/ 1697 h 1709"/>
                <a:gd name="T6" fmla="*/ 0 w 1089"/>
                <a:gd name="T7" fmla="*/ 1709 h 1709"/>
                <a:gd name="T8" fmla="*/ 0 w 1089"/>
                <a:gd name="T9" fmla="*/ 1589 h 1709"/>
                <a:gd name="T10" fmla="*/ 296 w 1089"/>
                <a:gd name="T11" fmla="*/ 1568 h 1709"/>
                <a:gd name="T12" fmla="*/ 626 w 1089"/>
                <a:gd name="T13" fmla="*/ 1546 h 1709"/>
                <a:gd name="T14" fmla="*/ 626 w 1089"/>
                <a:gd name="T15" fmla="*/ 1678 h 1709"/>
                <a:gd name="T16" fmla="*/ 296 w 1089"/>
                <a:gd name="T17" fmla="*/ 1694 h 1709"/>
                <a:gd name="T18" fmla="*/ 296 w 1089"/>
                <a:gd name="T19" fmla="*/ 1568 h 1709"/>
                <a:gd name="T20" fmla="*/ 684 w 1089"/>
                <a:gd name="T21" fmla="*/ 1542 h 1709"/>
                <a:gd name="T22" fmla="*/ 1089 w 1089"/>
                <a:gd name="T23" fmla="*/ 1515 h 1709"/>
                <a:gd name="T24" fmla="*/ 1089 w 1089"/>
                <a:gd name="T25" fmla="*/ 1655 h 1709"/>
                <a:gd name="T26" fmla="*/ 684 w 1089"/>
                <a:gd name="T27" fmla="*/ 1675 h 1709"/>
                <a:gd name="T28" fmla="*/ 684 w 1089"/>
                <a:gd name="T29" fmla="*/ 1542 h 1709"/>
                <a:gd name="T30" fmla="*/ 0 w 1089"/>
                <a:gd name="T31" fmla="*/ 441 h 1709"/>
                <a:gd name="T32" fmla="*/ 1089 w 1089"/>
                <a:gd name="T33" fmla="*/ 0 h 1709"/>
                <a:gd name="T34" fmla="*/ 1089 w 1089"/>
                <a:gd name="T35" fmla="*/ 142 h 1709"/>
                <a:gd name="T36" fmla="*/ 0 w 1089"/>
                <a:gd name="T37" fmla="*/ 583 h 1709"/>
                <a:gd name="T38" fmla="*/ 0 w 1089"/>
                <a:gd name="T39" fmla="*/ 441 h 1709"/>
                <a:gd name="T40" fmla="*/ 0 w 1089"/>
                <a:gd name="T41" fmla="*/ 748 h 1709"/>
                <a:gd name="T42" fmla="*/ 1089 w 1089"/>
                <a:gd name="T43" fmla="*/ 394 h 1709"/>
                <a:gd name="T44" fmla="*/ 1089 w 1089"/>
                <a:gd name="T45" fmla="*/ 535 h 1709"/>
                <a:gd name="T46" fmla="*/ 0 w 1089"/>
                <a:gd name="T47" fmla="*/ 889 h 1709"/>
                <a:gd name="T48" fmla="*/ 0 w 1089"/>
                <a:gd name="T49" fmla="*/ 748 h 1709"/>
                <a:gd name="T50" fmla="*/ 0 w 1089"/>
                <a:gd name="T51" fmla="*/ 1036 h 1709"/>
                <a:gd name="T52" fmla="*/ 1089 w 1089"/>
                <a:gd name="T53" fmla="*/ 771 h 1709"/>
                <a:gd name="T54" fmla="*/ 1089 w 1089"/>
                <a:gd name="T55" fmla="*/ 911 h 1709"/>
                <a:gd name="T56" fmla="*/ 0 w 1089"/>
                <a:gd name="T57" fmla="*/ 1178 h 1709"/>
                <a:gd name="T58" fmla="*/ 0 w 1089"/>
                <a:gd name="T59" fmla="*/ 1036 h 1709"/>
                <a:gd name="T60" fmla="*/ 0 w 1089"/>
                <a:gd name="T61" fmla="*/ 1317 h 1709"/>
                <a:gd name="T62" fmla="*/ 1089 w 1089"/>
                <a:gd name="T63" fmla="*/ 1147 h 1709"/>
                <a:gd name="T64" fmla="*/ 1089 w 1089"/>
                <a:gd name="T65" fmla="*/ 1288 h 1709"/>
                <a:gd name="T66" fmla="*/ 0 w 1089"/>
                <a:gd name="T67" fmla="*/ 1457 h 1709"/>
                <a:gd name="T68" fmla="*/ 0 w 1089"/>
                <a:gd name="T69" fmla="*/ 1317 h 1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89" h="1709">
                  <a:moveTo>
                    <a:pt x="0" y="1589"/>
                  </a:moveTo>
                  <a:lnTo>
                    <a:pt x="238" y="1573"/>
                  </a:lnTo>
                  <a:lnTo>
                    <a:pt x="238" y="1697"/>
                  </a:lnTo>
                  <a:lnTo>
                    <a:pt x="0" y="1709"/>
                  </a:lnTo>
                  <a:lnTo>
                    <a:pt x="0" y="1589"/>
                  </a:lnTo>
                  <a:close/>
                  <a:moveTo>
                    <a:pt x="296" y="1568"/>
                  </a:moveTo>
                  <a:lnTo>
                    <a:pt x="626" y="1546"/>
                  </a:lnTo>
                  <a:lnTo>
                    <a:pt x="626" y="1678"/>
                  </a:lnTo>
                  <a:lnTo>
                    <a:pt x="296" y="1694"/>
                  </a:lnTo>
                  <a:lnTo>
                    <a:pt x="296" y="1568"/>
                  </a:lnTo>
                  <a:close/>
                  <a:moveTo>
                    <a:pt x="684" y="1542"/>
                  </a:moveTo>
                  <a:lnTo>
                    <a:pt x="1089" y="1515"/>
                  </a:lnTo>
                  <a:lnTo>
                    <a:pt x="1089" y="1655"/>
                  </a:lnTo>
                  <a:lnTo>
                    <a:pt x="684" y="1675"/>
                  </a:lnTo>
                  <a:lnTo>
                    <a:pt x="684" y="1542"/>
                  </a:lnTo>
                  <a:close/>
                  <a:moveTo>
                    <a:pt x="0" y="441"/>
                  </a:moveTo>
                  <a:lnTo>
                    <a:pt x="1089" y="0"/>
                  </a:lnTo>
                  <a:lnTo>
                    <a:pt x="1089" y="142"/>
                  </a:lnTo>
                  <a:lnTo>
                    <a:pt x="0" y="583"/>
                  </a:lnTo>
                  <a:lnTo>
                    <a:pt x="0" y="441"/>
                  </a:lnTo>
                  <a:close/>
                  <a:moveTo>
                    <a:pt x="0" y="748"/>
                  </a:moveTo>
                  <a:lnTo>
                    <a:pt x="1089" y="394"/>
                  </a:lnTo>
                  <a:lnTo>
                    <a:pt x="1089" y="535"/>
                  </a:lnTo>
                  <a:lnTo>
                    <a:pt x="0" y="889"/>
                  </a:lnTo>
                  <a:lnTo>
                    <a:pt x="0" y="748"/>
                  </a:lnTo>
                  <a:close/>
                  <a:moveTo>
                    <a:pt x="0" y="1036"/>
                  </a:moveTo>
                  <a:lnTo>
                    <a:pt x="1089" y="771"/>
                  </a:lnTo>
                  <a:lnTo>
                    <a:pt x="1089" y="911"/>
                  </a:lnTo>
                  <a:lnTo>
                    <a:pt x="0" y="1178"/>
                  </a:lnTo>
                  <a:lnTo>
                    <a:pt x="0" y="1036"/>
                  </a:lnTo>
                  <a:close/>
                  <a:moveTo>
                    <a:pt x="0" y="1317"/>
                  </a:moveTo>
                  <a:lnTo>
                    <a:pt x="1089" y="1147"/>
                  </a:lnTo>
                  <a:lnTo>
                    <a:pt x="1089" y="1288"/>
                  </a:lnTo>
                  <a:lnTo>
                    <a:pt x="0" y="1457"/>
                  </a:lnTo>
                  <a:lnTo>
                    <a:pt x="0" y="1317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ffectLst>
              <a:innerShdw blurRad="25400">
                <a:prstClr val="black">
                  <a:alpha val="28000"/>
                </a:prstClr>
              </a:inn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2" name="Rectangle 5"/>
          <p:cNvSpPr/>
          <p:nvPr/>
        </p:nvSpPr>
        <p:spPr>
          <a:xfrm>
            <a:off x="1500286" y="3131412"/>
            <a:ext cx="2306855" cy="733116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53" name="Rectangle 9"/>
          <p:cNvSpPr/>
          <p:nvPr/>
        </p:nvSpPr>
        <p:spPr>
          <a:xfrm>
            <a:off x="1500286" y="3379905"/>
            <a:ext cx="2306855" cy="236129"/>
          </a:xfrm>
          <a:prstGeom prst="rect">
            <a:avLst/>
          </a:prstGeom>
          <a:solidFill>
            <a:srgbClr val="CE202A"/>
          </a:solidFill>
          <a:ln w="19050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>
              <a:latin typeface="+mj-lt"/>
            </a:endParaRPr>
          </a:p>
        </p:txBody>
      </p:sp>
      <p:sp>
        <p:nvSpPr>
          <p:cNvPr id="54" name="Oval 4"/>
          <p:cNvSpPr/>
          <p:nvPr/>
        </p:nvSpPr>
        <p:spPr>
          <a:xfrm>
            <a:off x="1121273" y="3131412"/>
            <a:ext cx="754749" cy="733116"/>
          </a:xfrm>
          <a:prstGeom prst="ellipse">
            <a:avLst/>
          </a:prstGeom>
          <a:solidFill>
            <a:srgbClr val="CE202A"/>
          </a:solidFill>
          <a:ln w="19050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56" name="Rectangle 10"/>
          <p:cNvSpPr/>
          <p:nvPr/>
        </p:nvSpPr>
        <p:spPr>
          <a:xfrm rot="5400000">
            <a:off x="3462901" y="3520288"/>
            <a:ext cx="619692" cy="68789"/>
          </a:xfrm>
          <a:prstGeom prst="rect">
            <a:avLst/>
          </a:prstGeom>
          <a:solidFill>
            <a:srgbClr val="CE202A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57" name="Rectangle 11"/>
          <p:cNvSpPr/>
          <p:nvPr/>
        </p:nvSpPr>
        <p:spPr>
          <a:xfrm flipH="1">
            <a:off x="5597906" y="3131414"/>
            <a:ext cx="2306855" cy="733116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58" name="Rectangle 12"/>
          <p:cNvSpPr/>
          <p:nvPr/>
        </p:nvSpPr>
        <p:spPr>
          <a:xfrm flipH="1">
            <a:off x="5597906" y="3379907"/>
            <a:ext cx="2306855" cy="236129"/>
          </a:xfrm>
          <a:prstGeom prst="rect">
            <a:avLst/>
          </a:prstGeom>
          <a:solidFill>
            <a:srgbClr val="F0B71F"/>
          </a:solidFill>
          <a:ln w="19050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>
              <a:latin typeface="+mj-lt"/>
            </a:endParaRPr>
          </a:p>
        </p:txBody>
      </p:sp>
      <p:sp>
        <p:nvSpPr>
          <p:cNvPr id="59" name="Oval 13"/>
          <p:cNvSpPr/>
          <p:nvPr/>
        </p:nvSpPr>
        <p:spPr>
          <a:xfrm flipH="1">
            <a:off x="7529024" y="3131414"/>
            <a:ext cx="754749" cy="733116"/>
          </a:xfrm>
          <a:prstGeom prst="ellipse">
            <a:avLst/>
          </a:prstGeom>
          <a:solidFill>
            <a:srgbClr val="F0B71F"/>
          </a:solidFill>
          <a:ln w="19050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61" name="Rectangle 15"/>
          <p:cNvSpPr/>
          <p:nvPr/>
        </p:nvSpPr>
        <p:spPr>
          <a:xfrm rot="16200000" flipH="1">
            <a:off x="5322454" y="3520290"/>
            <a:ext cx="619692" cy="68789"/>
          </a:xfrm>
          <a:prstGeom prst="rect">
            <a:avLst/>
          </a:prstGeom>
          <a:solidFill>
            <a:srgbClr val="F0B71F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62" name="Rectangle 8"/>
          <p:cNvSpPr/>
          <p:nvPr/>
        </p:nvSpPr>
        <p:spPr>
          <a:xfrm>
            <a:off x="1545375" y="3864526"/>
            <a:ext cx="2192977" cy="175025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63" name="Rectangle 30"/>
          <p:cNvSpPr/>
          <p:nvPr/>
        </p:nvSpPr>
        <p:spPr>
          <a:xfrm>
            <a:off x="5666695" y="3864529"/>
            <a:ext cx="2192977" cy="175025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64" name="Rectangle 33"/>
          <p:cNvSpPr>
            <a:spLocks/>
          </p:cNvSpPr>
          <p:nvPr/>
        </p:nvSpPr>
        <p:spPr bwMode="auto">
          <a:xfrm>
            <a:off x="1063024" y="3171480"/>
            <a:ext cx="834552" cy="652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75"/>
              </a:spcBef>
            </a:pPr>
            <a:r>
              <a:rPr lang="ko-KR" altLang="en-US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  <a:cs typeface="Calibri" charset="0"/>
                <a:sym typeface="Calibri" charset="0"/>
              </a:rPr>
              <a:t>현행</a:t>
            </a:r>
            <a:endParaRPr lang="en-US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  <a:cs typeface="Calibri" charset="0"/>
              <a:sym typeface="Calibri" charset="0"/>
            </a:endParaRPr>
          </a:p>
        </p:txBody>
      </p:sp>
      <p:sp>
        <p:nvSpPr>
          <p:cNvPr id="65" name="Rectangle 34"/>
          <p:cNvSpPr>
            <a:spLocks/>
          </p:cNvSpPr>
          <p:nvPr/>
        </p:nvSpPr>
        <p:spPr bwMode="auto">
          <a:xfrm>
            <a:off x="7487485" y="3180700"/>
            <a:ext cx="834552" cy="652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75"/>
              </a:spcBef>
            </a:pPr>
            <a:r>
              <a:rPr lang="ko-KR" altLang="en-US" sz="1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  <a:cs typeface="Calibri" charset="0"/>
                <a:sym typeface="Calibri" charset="0"/>
              </a:rPr>
              <a:t>개선</a:t>
            </a:r>
            <a:endParaRPr lang="en-US" altLang="ko-KR" sz="14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  <a:cs typeface="Calibri" charset="0"/>
              <a:sym typeface="Calibri" charset="0"/>
            </a:endParaRPr>
          </a:p>
          <a:p>
            <a:pPr algn="ctr">
              <a:spcBef>
                <a:spcPts val="375"/>
              </a:spcBef>
            </a:pPr>
            <a:r>
              <a:rPr lang="en-US" sz="1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  <a:cs typeface="Calibri" charset="0"/>
                <a:sym typeface="Calibri" charset="0"/>
              </a:rPr>
              <a:t>(</a:t>
            </a:r>
            <a:r>
              <a:rPr lang="ko-KR" altLang="en-US" sz="1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  <a:cs typeface="Calibri" charset="0"/>
                <a:sym typeface="Calibri" charset="0"/>
              </a:rPr>
              <a:t>안</a:t>
            </a:r>
            <a:r>
              <a:rPr lang="en-US" altLang="ko-KR" sz="1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  <a:cs typeface="Calibri" charset="0"/>
                <a:sym typeface="Calibri" charset="0"/>
              </a:rPr>
              <a:t>)</a:t>
            </a:r>
            <a:endParaRPr lang="en-US" sz="14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  <a:cs typeface="Calibri" charset="0"/>
              <a:sym typeface="Calibri" charset="0"/>
            </a:endParaRPr>
          </a:p>
        </p:txBody>
      </p:sp>
      <p:sp>
        <p:nvSpPr>
          <p:cNvPr id="68" name="Rectangle 25"/>
          <p:cNvSpPr>
            <a:spLocks/>
          </p:cNvSpPr>
          <p:nvPr/>
        </p:nvSpPr>
        <p:spPr bwMode="auto">
          <a:xfrm>
            <a:off x="1822993" y="3938739"/>
            <a:ext cx="1923878" cy="155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75"/>
              </a:spcBef>
            </a:pPr>
            <a:r>
              <a:rPr lang="ko-KR" altLang="en-US" sz="1100" b="1" dirty="0" err="1" smtClean="0">
                <a:solidFill>
                  <a:srgbClr val="15161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Calibri" charset="0"/>
                <a:sym typeface="Calibri" charset="0"/>
              </a:rPr>
              <a:t>충남권</a:t>
            </a:r>
            <a:endParaRPr lang="en-US" altLang="ko-KR" sz="1100" b="1" dirty="0" smtClean="0">
              <a:solidFill>
                <a:srgbClr val="151616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Calibri" charset="0"/>
              <a:sym typeface="Calibri" charset="0"/>
            </a:endParaRPr>
          </a:p>
          <a:p>
            <a:pPr>
              <a:spcBef>
                <a:spcPts val="375"/>
              </a:spcBef>
            </a:pPr>
            <a:r>
              <a:rPr lang="ko-KR" altLang="en-US" sz="1100" dirty="0" smtClean="0">
                <a:solidFill>
                  <a:srgbClr val="15161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Calibri" charset="0"/>
                <a:sym typeface="Calibri" charset="0"/>
              </a:rPr>
              <a:t>대전</a:t>
            </a:r>
            <a:r>
              <a:rPr lang="en-US" altLang="ko-KR" sz="1100" dirty="0" smtClean="0">
                <a:solidFill>
                  <a:srgbClr val="15161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Calibri" charset="0"/>
                <a:sym typeface="Calibri" charset="0"/>
              </a:rPr>
              <a:t>, </a:t>
            </a:r>
            <a:r>
              <a:rPr lang="ko-KR" altLang="en-US" sz="1100" dirty="0" smtClean="0">
                <a:solidFill>
                  <a:srgbClr val="15161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Calibri" charset="0"/>
                <a:sym typeface="Calibri" charset="0"/>
              </a:rPr>
              <a:t>세종</a:t>
            </a:r>
            <a:r>
              <a:rPr lang="en-US" altLang="ko-KR" sz="1100" dirty="0" smtClean="0">
                <a:solidFill>
                  <a:srgbClr val="15161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Calibri" charset="0"/>
                <a:sym typeface="Calibri" charset="0"/>
              </a:rPr>
              <a:t>, </a:t>
            </a:r>
            <a:r>
              <a:rPr lang="ko-KR" altLang="en-US" sz="1100" dirty="0" smtClean="0">
                <a:solidFill>
                  <a:srgbClr val="15161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Calibri" charset="0"/>
                <a:sym typeface="Calibri" charset="0"/>
              </a:rPr>
              <a:t>충남</a:t>
            </a:r>
            <a:r>
              <a:rPr lang="en-US" altLang="ko-KR" sz="1100" dirty="0" smtClean="0">
                <a:solidFill>
                  <a:srgbClr val="15161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Calibri" charset="0"/>
                <a:sym typeface="Calibri" charset="0"/>
              </a:rPr>
              <a:t>(</a:t>
            </a:r>
            <a:r>
              <a:rPr lang="ko-KR" altLang="en-US" sz="1100" dirty="0" smtClean="0">
                <a:solidFill>
                  <a:srgbClr val="15161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Calibri" charset="0"/>
                <a:sym typeface="Calibri" charset="0"/>
              </a:rPr>
              <a:t>서천군 제외</a:t>
            </a:r>
            <a:r>
              <a:rPr lang="en-US" altLang="ko-KR" sz="1100" dirty="0" smtClean="0">
                <a:solidFill>
                  <a:srgbClr val="15161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Calibri" charset="0"/>
                <a:sym typeface="Calibri" charset="0"/>
              </a:rPr>
              <a:t>)</a:t>
            </a:r>
          </a:p>
          <a:p>
            <a:pPr>
              <a:spcBef>
                <a:spcPts val="375"/>
              </a:spcBef>
            </a:pPr>
            <a:r>
              <a:rPr lang="ko-KR" altLang="en-US" sz="1100" dirty="0" smtClean="0">
                <a:solidFill>
                  <a:srgbClr val="15161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Calibri" charset="0"/>
                <a:sym typeface="Calibri" charset="0"/>
              </a:rPr>
              <a:t>충북</a:t>
            </a:r>
            <a:r>
              <a:rPr lang="en-US" altLang="ko-KR" sz="1100" dirty="0" smtClean="0">
                <a:solidFill>
                  <a:srgbClr val="15161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Calibri" charset="0"/>
                <a:sym typeface="Calibri" charset="0"/>
              </a:rPr>
              <a:t>(</a:t>
            </a:r>
            <a:r>
              <a:rPr lang="ko-KR" altLang="en-US" sz="1100" dirty="0" smtClean="0">
                <a:solidFill>
                  <a:srgbClr val="15161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Calibri" charset="0"/>
                <a:sym typeface="Calibri" charset="0"/>
              </a:rPr>
              <a:t>옥천군</a:t>
            </a:r>
            <a:r>
              <a:rPr lang="en-US" altLang="ko-KR" sz="1100" dirty="0" smtClean="0">
                <a:solidFill>
                  <a:srgbClr val="15161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Calibri" charset="0"/>
                <a:sym typeface="Calibri" charset="0"/>
              </a:rPr>
              <a:t>, </a:t>
            </a:r>
            <a:r>
              <a:rPr lang="ko-KR" altLang="en-US" sz="1100" dirty="0" smtClean="0">
                <a:solidFill>
                  <a:srgbClr val="15161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Calibri" charset="0"/>
                <a:sym typeface="Calibri" charset="0"/>
              </a:rPr>
              <a:t>영동군</a:t>
            </a:r>
            <a:r>
              <a:rPr lang="en-US" altLang="ko-KR" sz="1100" dirty="0" smtClean="0">
                <a:solidFill>
                  <a:srgbClr val="15161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Calibri" charset="0"/>
                <a:sym typeface="Calibri" charset="0"/>
              </a:rPr>
              <a:t>)</a:t>
            </a:r>
          </a:p>
          <a:p>
            <a:pPr>
              <a:spcBef>
                <a:spcPts val="375"/>
              </a:spcBef>
            </a:pPr>
            <a:r>
              <a:rPr lang="ko-KR" altLang="en-US" sz="1100" dirty="0" smtClean="0">
                <a:solidFill>
                  <a:srgbClr val="15161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Calibri" charset="0"/>
                <a:sym typeface="Calibri" charset="0"/>
              </a:rPr>
              <a:t>전북</a:t>
            </a:r>
            <a:r>
              <a:rPr lang="en-US" altLang="ko-KR" sz="1100" dirty="0" smtClean="0">
                <a:solidFill>
                  <a:srgbClr val="15161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Calibri" charset="0"/>
                <a:sym typeface="Calibri" charset="0"/>
              </a:rPr>
              <a:t>(</a:t>
            </a:r>
            <a:r>
              <a:rPr lang="ko-KR" altLang="en-US" sz="1100" dirty="0" smtClean="0">
                <a:solidFill>
                  <a:srgbClr val="15161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Calibri" charset="0"/>
                <a:sym typeface="Calibri" charset="0"/>
              </a:rPr>
              <a:t>무주군</a:t>
            </a:r>
            <a:r>
              <a:rPr lang="en-US" altLang="ko-KR" sz="1100" dirty="0" smtClean="0">
                <a:solidFill>
                  <a:srgbClr val="15161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Calibri" charset="0"/>
                <a:sym typeface="Calibri" charset="0"/>
              </a:rPr>
              <a:t>)</a:t>
            </a:r>
          </a:p>
          <a:p>
            <a:pPr>
              <a:spcBef>
                <a:spcPts val="375"/>
              </a:spcBef>
            </a:pPr>
            <a:endParaRPr lang="en-US" sz="1100" dirty="0">
              <a:solidFill>
                <a:srgbClr val="151616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Calibri" charset="0"/>
              <a:sym typeface="Calibri" charset="0"/>
            </a:endParaRPr>
          </a:p>
          <a:p>
            <a:pPr>
              <a:spcBef>
                <a:spcPts val="375"/>
              </a:spcBef>
            </a:pPr>
            <a:r>
              <a:rPr lang="ko-KR" altLang="en-US" sz="1100" b="1" dirty="0" err="1" smtClean="0">
                <a:solidFill>
                  <a:srgbClr val="15161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Calibri" charset="0"/>
                <a:sym typeface="Calibri" charset="0"/>
              </a:rPr>
              <a:t>충북권</a:t>
            </a:r>
            <a:endParaRPr lang="en-US" altLang="ko-KR" sz="1100" b="1" dirty="0" smtClean="0">
              <a:solidFill>
                <a:srgbClr val="151616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Calibri" charset="0"/>
              <a:sym typeface="Calibri" charset="0"/>
            </a:endParaRPr>
          </a:p>
          <a:p>
            <a:pPr>
              <a:spcBef>
                <a:spcPts val="375"/>
              </a:spcBef>
            </a:pPr>
            <a:r>
              <a:rPr lang="ko-KR" altLang="en-US" sz="1100" dirty="0" smtClean="0">
                <a:solidFill>
                  <a:srgbClr val="15161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Calibri" charset="0"/>
                <a:sym typeface="Calibri" charset="0"/>
              </a:rPr>
              <a:t>충북</a:t>
            </a:r>
            <a:r>
              <a:rPr lang="en-US" altLang="ko-KR" sz="1100" dirty="0" smtClean="0">
                <a:solidFill>
                  <a:srgbClr val="15161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Calibri" charset="0"/>
                <a:sym typeface="Calibri" charset="0"/>
              </a:rPr>
              <a:t>(</a:t>
            </a:r>
            <a:r>
              <a:rPr lang="ko-KR" altLang="en-US" sz="1100" dirty="0" smtClean="0">
                <a:solidFill>
                  <a:srgbClr val="15161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Calibri" charset="0"/>
                <a:sym typeface="Calibri" charset="0"/>
              </a:rPr>
              <a:t>옥천</a:t>
            </a:r>
            <a:r>
              <a:rPr lang="en-US" altLang="ko-KR" sz="1100" dirty="0" smtClean="0">
                <a:solidFill>
                  <a:srgbClr val="15161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Calibri" charset="0"/>
                <a:sym typeface="Calibri" charset="0"/>
              </a:rPr>
              <a:t>, </a:t>
            </a:r>
            <a:r>
              <a:rPr lang="ko-KR" altLang="en-US" sz="1100" dirty="0" smtClean="0">
                <a:solidFill>
                  <a:srgbClr val="15161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Calibri" charset="0"/>
                <a:sym typeface="Calibri" charset="0"/>
              </a:rPr>
              <a:t>영동군 제외</a:t>
            </a:r>
            <a:r>
              <a:rPr lang="en-US" altLang="ko-KR" sz="1100" dirty="0" smtClean="0">
                <a:solidFill>
                  <a:srgbClr val="15161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Calibri" charset="0"/>
                <a:sym typeface="Calibri" charset="0"/>
              </a:rPr>
              <a:t>)</a:t>
            </a:r>
          </a:p>
        </p:txBody>
      </p:sp>
      <p:sp>
        <p:nvSpPr>
          <p:cNvPr id="69" name="Rectangle 26"/>
          <p:cNvSpPr/>
          <p:nvPr/>
        </p:nvSpPr>
        <p:spPr>
          <a:xfrm rot="5400000">
            <a:off x="1477815" y="4175968"/>
            <a:ext cx="409442" cy="68789"/>
          </a:xfrm>
          <a:prstGeom prst="rect">
            <a:avLst/>
          </a:prstGeom>
          <a:solidFill>
            <a:srgbClr val="CE202A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71" name="Rectangle 28"/>
          <p:cNvSpPr/>
          <p:nvPr/>
        </p:nvSpPr>
        <p:spPr>
          <a:xfrm rot="5400000">
            <a:off x="1477815" y="5258724"/>
            <a:ext cx="409442" cy="68789"/>
          </a:xfrm>
          <a:prstGeom prst="rect">
            <a:avLst/>
          </a:prstGeom>
          <a:solidFill>
            <a:srgbClr val="CE202A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73" name="Rectangle 41"/>
          <p:cNvSpPr/>
          <p:nvPr/>
        </p:nvSpPr>
        <p:spPr>
          <a:xfrm rot="5400000">
            <a:off x="5581507" y="4316269"/>
            <a:ext cx="409442" cy="68789"/>
          </a:xfrm>
          <a:prstGeom prst="rect">
            <a:avLst/>
          </a:prstGeom>
          <a:solidFill>
            <a:srgbClr val="F0B71F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79" name="Rectangle 25"/>
          <p:cNvSpPr>
            <a:spLocks/>
          </p:cNvSpPr>
          <p:nvPr/>
        </p:nvSpPr>
        <p:spPr bwMode="auto">
          <a:xfrm>
            <a:off x="5915307" y="4082834"/>
            <a:ext cx="1923878" cy="1149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75"/>
              </a:spcBef>
            </a:pPr>
            <a:r>
              <a:rPr lang="ko-KR" altLang="en-US" sz="1100" b="1" dirty="0" smtClean="0">
                <a:solidFill>
                  <a:srgbClr val="15161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Calibri" charset="0"/>
                <a:sym typeface="Calibri" charset="0"/>
              </a:rPr>
              <a:t>충청권</a:t>
            </a:r>
            <a:endParaRPr lang="en-US" altLang="ko-KR" sz="1100" b="1" dirty="0" smtClean="0">
              <a:solidFill>
                <a:srgbClr val="151616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Calibri" charset="0"/>
              <a:sym typeface="Calibri" charset="0"/>
            </a:endParaRPr>
          </a:p>
          <a:p>
            <a:pPr>
              <a:spcBef>
                <a:spcPts val="375"/>
              </a:spcBef>
            </a:pPr>
            <a:r>
              <a:rPr lang="ko-KR" altLang="en-US" sz="1100" dirty="0" smtClean="0">
                <a:solidFill>
                  <a:srgbClr val="15161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Calibri" charset="0"/>
                <a:sym typeface="Calibri" charset="0"/>
              </a:rPr>
              <a:t>대전</a:t>
            </a:r>
            <a:r>
              <a:rPr lang="en-US" altLang="ko-KR" sz="1100" dirty="0" smtClean="0">
                <a:solidFill>
                  <a:srgbClr val="15161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Calibri" charset="0"/>
                <a:sym typeface="Calibri" charset="0"/>
              </a:rPr>
              <a:t>, </a:t>
            </a:r>
            <a:r>
              <a:rPr lang="ko-KR" altLang="en-US" sz="1100" dirty="0" smtClean="0">
                <a:solidFill>
                  <a:srgbClr val="15161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Calibri" charset="0"/>
                <a:sym typeface="Calibri" charset="0"/>
              </a:rPr>
              <a:t>세종</a:t>
            </a:r>
            <a:r>
              <a:rPr lang="en-US" altLang="ko-KR" sz="1100" dirty="0" smtClean="0">
                <a:solidFill>
                  <a:srgbClr val="15161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Calibri" charset="0"/>
                <a:sym typeface="Calibri" charset="0"/>
              </a:rPr>
              <a:t>, </a:t>
            </a:r>
            <a:r>
              <a:rPr lang="ko-KR" altLang="en-US" sz="1100" dirty="0" smtClean="0">
                <a:solidFill>
                  <a:srgbClr val="15161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Calibri" charset="0"/>
                <a:sym typeface="Calibri" charset="0"/>
              </a:rPr>
              <a:t>충남</a:t>
            </a:r>
            <a:r>
              <a:rPr lang="en-US" altLang="ko-KR" sz="1100" dirty="0" smtClean="0">
                <a:solidFill>
                  <a:srgbClr val="15161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Calibri" charset="0"/>
                <a:sym typeface="Calibri" charset="0"/>
              </a:rPr>
              <a:t>(</a:t>
            </a:r>
            <a:r>
              <a:rPr lang="ko-KR" altLang="en-US" sz="1100" dirty="0" smtClean="0">
                <a:solidFill>
                  <a:srgbClr val="15161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Calibri" charset="0"/>
                <a:sym typeface="Calibri" charset="0"/>
              </a:rPr>
              <a:t>서천군 제외</a:t>
            </a:r>
            <a:r>
              <a:rPr lang="en-US" altLang="ko-KR" sz="1100" dirty="0" smtClean="0">
                <a:solidFill>
                  <a:srgbClr val="15161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Calibri" charset="0"/>
                <a:sym typeface="Calibri" charset="0"/>
              </a:rPr>
              <a:t>)</a:t>
            </a:r>
          </a:p>
          <a:p>
            <a:pPr>
              <a:spcBef>
                <a:spcPts val="375"/>
              </a:spcBef>
            </a:pPr>
            <a:r>
              <a:rPr lang="ko-KR" altLang="en-US" sz="1100" dirty="0" smtClean="0">
                <a:solidFill>
                  <a:srgbClr val="15161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Calibri" charset="0"/>
                <a:sym typeface="Calibri" charset="0"/>
              </a:rPr>
              <a:t>충북</a:t>
            </a:r>
            <a:r>
              <a:rPr lang="en-US" altLang="ko-KR" sz="1100" dirty="0" smtClean="0">
                <a:solidFill>
                  <a:srgbClr val="15161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Calibri" charset="0"/>
                <a:sym typeface="Calibri" charset="0"/>
              </a:rPr>
              <a:t>(</a:t>
            </a:r>
            <a:r>
              <a:rPr lang="ko-KR" altLang="en-US" sz="1100" dirty="0" smtClean="0">
                <a:solidFill>
                  <a:srgbClr val="15161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Calibri" charset="0"/>
                <a:sym typeface="Calibri" charset="0"/>
              </a:rPr>
              <a:t>옥천군</a:t>
            </a:r>
            <a:r>
              <a:rPr lang="en-US" altLang="ko-KR" sz="1100" dirty="0" smtClean="0">
                <a:solidFill>
                  <a:srgbClr val="15161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Calibri" charset="0"/>
                <a:sym typeface="Calibri" charset="0"/>
              </a:rPr>
              <a:t>), </a:t>
            </a:r>
            <a:r>
              <a:rPr lang="ko-KR" altLang="en-US" sz="1100" dirty="0" smtClean="0">
                <a:solidFill>
                  <a:srgbClr val="15161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Calibri" charset="0"/>
                <a:sym typeface="Calibri" charset="0"/>
              </a:rPr>
              <a:t>전북</a:t>
            </a:r>
            <a:r>
              <a:rPr lang="en-US" altLang="ko-KR" sz="1100" dirty="0" smtClean="0">
                <a:solidFill>
                  <a:srgbClr val="15161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Calibri" charset="0"/>
                <a:sym typeface="Calibri" charset="0"/>
              </a:rPr>
              <a:t>(</a:t>
            </a:r>
            <a:r>
              <a:rPr lang="ko-KR" altLang="en-US" sz="1100" dirty="0" smtClean="0">
                <a:solidFill>
                  <a:srgbClr val="15161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Calibri" charset="0"/>
                <a:sym typeface="Calibri" charset="0"/>
              </a:rPr>
              <a:t>무주군</a:t>
            </a:r>
            <a:r>
              <a:rPr lang="en-US" altLang="ko-KR" sz="1100" dirty="0" smtClean="0">
                <a:solidFill>
                  <a:srgbClr val="15161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Calibri" charset="0"/>
                <a:sym typeface="Calibri" charset="0"/>
              </a:rPr>
              <a:t>)</a:t>
            </a:r>
          </a:p>
          <a:p>
            <a:pPr>
              <a:spcBef>
                <a:spcPts val="375"/>
              </a:spcBef>
            </a:pPr>
            <a:r>
              <a:rPr lang="ko-KR" altLang="en-US" sz="1100" dirty="0" smtClean="0">
                <a:solidFill>
                  <a:srgbClr val="15161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Calibri" charset="0"/>
                <a:sym typeface="Calibri" charset="0"/>
              </a:rPr>
              <a:t>충북</a:t>
            </a:r>
            <a:r>
              <a:rPr lang="en-US" altLang="ko-KR" sz="1100" dirty="0" smtClean="0">
                <a:solidFill>
                  <a:srgbClr val="15161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Calibri" charset="0"/>
                <a:sym typeface="Calibri" charset="0"/>
              </a:rPr>
              <a:t>(</a:t>
            </a:r>
            <a:r>
              <a:rPr lang="ko-KR" altLang="en-US" sz="1100" dirty="0" smtClean="0">
                <a:solidFill>
                  <a:srgbClr val="15161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Calibri" charset="0"/>
                <a:sym typeface="Calibri" charset="0"/>
              </a:rPr>
              <a:t>영동군 제외</a:t>
            </a:r>
            <a:r>
              <a:rPr lang="en-US" altLang="ko-KR" sz="1100" dirty="0" smtClean="0">
                <a:solidFill>
                  <a:srgbClr val="15161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Calibri" charset="0"/>
                <a:sym typeface="Calibri" charset="0"/>
              </a:rPr>
              <a:t>)</a:t>
            </a:r>
          </a:p>
        </p:txBody>
      </p:sp>
      <p:sp>
        <p:nvSpPr>
          <p:cNvPr id="48" name="오른쪽 화살표 47"/>
          <p:cNvSpPr/>
          <p:nvPr/>
        </p:nvSpPr>
        <p:spPr>
          <a:xfrm>
            <a:off x="5786228" y="171460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9" name="오른쪽 화살표 48"/>
          <p:cNvSpPr/>
          <p:nvPr/>
        </p:nvSpPr>
        <p:spPr>
          <a:xfrm>
            <a:off x="5074405" y="206084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0" name="오른쪽 화살표 49"/>
          <p:cNvSpPr/>
          <p:nvPr/>
        </p:nvSpPr>
        <p:spPr>
          <a:xfrm>
            <a:off x="200817" y="6164221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09345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5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12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12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7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그림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953583" y="507290"/>
            <a:ext cx="7585412" cy="3976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인삼 특례 적용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유예기간 만료 연장」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94164" y="1201680"/>
            <a:ext cx="832630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기존 인삼 유통관행을 합법적으로 허용하기 위한 「약사법」개정안 표류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오는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9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월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30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일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식약처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고시 개정을 통한「한약재 관련 인삼특례」종료 도래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종료 시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인삼산업법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」상 제조된 홍삼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백삼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한약재 유통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‧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사용 불가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①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「약사법」상 한약재 업체의 홍삼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인삼 유통 </a:t>
            </a:r>
            <a:r>
              <a:rPr lang="ko-KR" altLang="en-US" sz="140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   「</a:t>
            </a:r>
            <a:r>
              <a:rPr lang="ko-KR" altLang="en-US" sz="1400" dirty="0" err="1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인삼산업법</a:t>
            </a:r>
            <a:r>
              <a:rPr lang="ko-KR" altLang="en-US" sz="140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」 위반행위</a:t>
            </a:r>
          </a:p>
          <a:p>
            <a:pPr fontAlgn="base">
              <a:lnSpc>
                <a:spcPct val="150000"/>
              </a:lnSpc>
            </a:pP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②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홍삼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인삼 한약재 규격품 공급 부족과 함께 인삼 제조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유통 시장 혼란 초래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96347" y="5994993"/>
            <a:ext cx="8272262" cy="5211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「약사법」 개정을  통한  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인삼의  한약재  유통  합법화  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필요</a:t>
            </a:r>
            <a:endParaRPr lang="ko-KR" altLang="en-US" sz="22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aphicFrame>
        <p:nvGraphicFramePr>
          <p:cNvPr id="15" name="표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5074393"/>
              </p:ext>
            </p:extLst>
          </p:nvPr>
        </p:nvGraphicFramePr>
        <p:xfrm>
          <a:off x="521345" y="4088028"/>
          <a:ext cx="5300729" cy="1296126"/>
        </p:xfrm>
        <a:graphic>
          <a:graphicData uri="http://schemas.openxmlformats.org/drawingml/2006/table">
            <a:tbl>
              <a:tblPr/>
              <a:tblGrid>
                <a:gridCol w="929477"/>
                <a:gridCol w="774564"/>
                <a:gridCol w="1394215"/>
                <a:gridCol w="1084390"/>
                <a:gridCol w="1118083"/>
              </a:tblGrid>
              <a:tr h="432042"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1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HY견고딕" panose="02030600000101010101" pitchFamily="18" charset="-127"/>
                          <a:ea typeface="HY견고딕" panose="02030600000101010101" pitchFamily="18" charset="-127"/>
                        </a:rPr>
                        <a:t>구 분</a:t>
                      </a:r>
                      <a:endParaRPr lang="ko-KR" altLang="en-US" sz="110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HY견고딕" panose="02030600000101010101" pitchFamily="18" charset="-127"/>
                        <a:ea typeface="HY견고딕" panose="02030600000101010101" pitchFamily="18" charset="-127"/>
                      </a:endParaRPr>
                    </a:p>
                  </a:txBody>
                  <a:tcPr marL="17907" marR="17907" marT="17907" marB="179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1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HY견고딕" panose="02030600000101010101" pitchFamily="18" charset="-127"/>
                          <a:ea typeface="HY견고딕" panose="02030600000101010101" pitchFamily="18" charset="-127"/>
                        </a:rPr>
                        <a:t>제조업</a:t>
                      </a:r>
                      <a:endParaRPr lang="en-US" altLang="ko-KR" sz="1100" dirty="0" smtClean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HY견고딕" panose="02030600000101010101" pitchFamily="18" charset="-127"/>
                        <a:ea typeface="HY견고딕" panose="02030600000101010101" pitchFamily="18" charset="-127"/>
                      </a:endParaRPr>
                    </a:p>
                    <a:p>
                      <a:pPr algn="ctr"/>
                      <a:r>
                        <a:rPr lang="ko-KR" altLang="en-US" sz="11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HY견고딕" panose="02030600000101010101" pitchFamily="18" charset="-127"/>
                          <a:ea typeface="HY견고딕" panose="02030600000101010101" pitchFamily="18" charset="-127"/>
                        </a:rPr>
                        <a:t>기준</a:t>
                      </a:r>
                      <a:endParaRPr lang="ko-KR" altLang="en-US" sz="110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HY견고딕" panose="02030600000101010101" pitchFamily="18" charset="-127"/>
                        <a:ea typeface="HY견고딕" panose="02030600000101010101" pitchFamily="18" charset="-127"/>
                      </a:endParaRPr>
                    </a:p>
                  </a:txBody>
                  <a:tcPr marL="17907" marR="17907" marT="17907" marB="179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1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HY견고딕" panose="02030600000101010101" pitchFamily="18" charset="-127"/>
                          <a:ea typeface="HY견고딕" panose="02030600000101010101" pitchFamily="18" charset="-127"/>
                        </a:rPr>
                        <a:t>제조관리사</a:t>
                      </a:r>
                      <a:endParaRPr lang="ko-KR" altLang="en-US" sz="110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HY견고딕" panose="02030600000101010101" pitchFamily="18" charset="-127"/>
                        <a:ea typeface="HY견고딕" panose="02030600000101010101" pitchFamily="18" charset="-127"/>
                      </a:endParaRPr>
                    </a:p>
                  </a:txBody>
                  <a:tcPr marL="17907" marR="17907" marT="17907" marB="179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1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HY견고딕" panose="02030600000101010101" pitchFamily="18" charset="-127"/>
                          <a:ea typeface="HY견고딕" panose="02030600000101010101" pitchFamily="18" charset="-127"/>
                        </a:rPr>
                        <a:t>품질검사</a:t>
                      </a:r>
                      <a:endParaRPr lang="ko-KR" altLang="en-US" sz="110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HY견고딕" panose="02030600000101010101" pitchFamily="18" charset="-127"/>
                        <a:ea typeface="HY견고딕" panose="02030600000101010101" pitchFamily="18" charset="-127"/>
                      </a:endParaRPr>
                    </a:p>
                  </a:txBody>
                  <a:tcPr marL="17907" marR="17907" marT="17907" marB="179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1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HY견고딕" panose="02030600000101010101" pitchFamily="18" charset="-127"/>
                          <a:ea typeface="HY견고딕" panose="02030600000101010101" pitchFamily="18" charset="-127"/>
                        </a:rPr>
                        <a:t>단속</a:t>
                      </a:r>
                      <a:r>
                        <a:rPr lang="en-US" altLang="ko-KR" sz="11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HY견고딕" panose="02030600000101010101" pitchFamily="18" charset="-127"/>
                          <a:ea typeface="HY견고딕" panose="02030600000101010101" pitchFamily="18" charset="-127"/>
                        </a:rPr>
                        <a:t>(</a:t>
                      </a:r>
                      <a:r>
                        <a:rPr lang="ko-KR" altLang="en-US" sz="11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HY견고딕" panose="02030600000101010101" pitchFamily="18" charset="-127"/>
                          <a:ea typeface="HY견고딕" panose="02030600000101010101" pitchFamily="18" charset="-127"/>
                        </a:rPr>
                        <a:t>감독</a:t>
                      </a:r>
                      <a:r>
                        <a:rPr lang="en-US" altLang="ko-KR" sz="11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HY견고딕" panose="02030600000101010101" pitchFamily="18" charset="-127"/>
                          <a:ea typeface="HY견고딕" panose="02030600000101010101" pitchFamily="18" charset="-127"/>
                        </a:rPr>
                        <a:t>)</a:t>
                      </a:r>
                      <a:endParaRPr lang="ko-KR" altLang="en-US" sz="110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HY견고딕" panose="02030600000101010101" pitchFamily="18" charset="-127"/>
                        <a:ea typeface="HY견고딕" panose="02030600000101010101" pitchFamily="18" charset="-127"/>
                      </a:endParaRPr>
                    </a:p>
                  </a:txBody>
                  <a:tcPr marL="17907" marR="17907" marT="17907" marB="179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  <a:tr h="432042"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100" dirty="0" smtClean="0">
                          <a:latin typeface="휴먼명조" panose="02010504000101010101" pitchFamily="2" charset="-127"/>
                          <a:ea typeface="휴먼명조" panose="02010504000101010101" pitchFamily="2" charset="-127"/>
                        </a:rPr>
                        <a:t>약사법</a:t>
                      </a:r>
                      <a:endParaRPr lang="ko-KR" altLang="en-US" sz="1100" dirty="0"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17907" marR="17907" marT="17907" marB="179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100" dirty="0" smtClean="0">
                          <a:latin typeface="휴먼명조" panose="02010504000101010101" pitchFamily="2" charset="-127"/>
                          <a:ea typeface="휴먼명조" panose="02010504000101010101" pitchFamily="2" charset="-127"/>
                        </a:rPr>
                        <a:t>허가</a:t>
                      </a:r>
                      <a:endParaRPr lang="ko-KR" altLang="en-US" sz="1100" dirty="0"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17907" marR="17907" marT="17907" marB="179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100" dirty="0" smtClean="0">
                          <a:latin typeface="휴먼명조" panose="02010504000101010101" pitchFamily="2" charset="-127"/>
                          <a:ea typeface="휴먼명조" panose="02010504000101010101" pitchFamily="2" charset="-127"/>
                        </a:rPr>
                        <a:t>약사 또는 </a:t>
                      </a:r>
                      <a:r>
                        <a:rPr lang="ko-KR" altLang="en-US" sz="1100" dirty="0" err="1" smtClean="0">
                          <a:latin typeface="휴먼명조" panose="02010504000101010101" pitchFamily="2" charset="-127"/>
                          <a:ea typeface="휴먼명조" panose="02010504000101010101" pitchFamily="2" charset="-127"/>
                        </a:rPr>
                        <a:t>한약사</a:t>
                      </a:r>
                      <a:endParaRPr lang="en-US" altLang="ko-KR" sz="1100" dirty="0" smtClean="0"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  <a:p>
                      <a:pPr algn="ctr"/>
                      <a:r>
                        <a:rPr lang="en-US" altLang="ko-KR" sz="1100" dirty="0" smtClean="0">
                          <a:latin typeface="휴먼명조" panose="02010504000101010101" pitchFamily="2" charset="-127"/>
                          <a:ea typeface="휴먼명조" panose="02010504000101010101" pitchFamily="2" charset="-127"/>
                        </a:rPr>
                        <a:t>(</a:t>
                      </a:r>
                      <a:r>
                        <a:rPr lang="ko-KR" altLang="en-US" sz="1100" dirty="0" smtClean="0">
                          <a:latin typeface="휴먼명조" panose="02010504000101010101" pitchFamily="2" charset="-127"/>
                          <a:ea typeface="휴먼명조" panose="02010504000101010101" pitchFamily="2" charset="-127"/>
                        </a:rPr>
                        <a:t>배치의무</a:t>
                      </a:r>
                      <a:r>
                        <a:rPr lang="en-US" altLang="ko-KR" sz="1100" dirty="0" smtClean="0">
                          <a:latin typeface="휴먼명조" panose="02010504000101010101" pitchFamily="2" charset="-127"/>
                          <a:ea typeface="휴먼명조" panose="02010504000101010101" pitchFamily="2" charset="-127"/>
                        </a:rPr>
                        <a:t>)</a:t>
                      </a:r>
                      <a:endParaRPr lang="ko-KR" altLang="en-US" sz="1100" dirty="0"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17907" marR="17907" marT="17907" marB="179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100" dirty="0" smtClean="0">
                          <a:latin typeface="휴먼명조" panose="02010504000101010101" pitchFamily="2" charset="-127"/>
                          <a:ea typeface="휴먼명조" panose="02010504000101010101" pitchFamily="2" charset="-127"/>
                        </a:rPr>
                        <a:t>입고</a:t>
                      </a:r>
                      <a:r>
                        <a:rPr lang="en-US" altLang="ko-KR" sz="1100" dirty="0" smtClean="0">
                          <a:latin typeface="휴먼명조" panose="02010504000101010101" pitchFamily="2" charset="-127"/>
                          <a:ea typeface="휴먼명조" panose="02010504000101010101" pitchFamily="2" charset="-127"/>
                        </a:rPr>
                        <a:t>·</a:t>
                      </a:r>
                      <a:r>
                        <a:rPr lang="ko-KR" altLang="en-US" sz="1100" dirty="0" smtClean="0">
                          <a:latin typeface="휴먼명조" panose="02010504000101010101" pitchFamily="2" charset="-127"/>
                          <a:ea typeface="휴먼명조" panose="02010504000101010101" pitchFamily="2" charset="-127"/>
                        </a:rPr>
                        <a:t>출고</a:t>
                      </a:r>
                      <a:endParaRPr lang="en-US" altLang="ko-KR" sz="1100" dirty="0" smtClean="0"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  <a:p>
                      <a:pPr algn="ctr"/>
                      <a:r>
                        <a:rPr lang="en-US" altLang="ko-KR" sz="1100" dirty="0" smtClean="0">
                          <a:latin typeface="휴먼명조" panose="02010504000101010101" pitchFamily="2" charset="-127"/>
                          <a:ea typeface="휴먼명조" panose="02010504000101010101" pitchFamily="2" charset="-127"/>
                        </a:rPr>
                        <a:t>2</a:t>
                      </a:r>
                      <a:r>
                        <a:rPr lang="ko-KR" altLang="en-US" sz="1100" dirty="0" smtClean="0">
                          <a:latin typeface="휴먼명조" panose="02010504000101010101" pitchFamily="2" charset="-127"/>
                          <a:ea typeface="휴먼명조" panose="02010504000101010101" pitchFamily="2" charset="-127"/>
                        </a:rPr>
                        <a:t>회 실시</a:t>
                      </a:r>
                      <a:endParaRPr lang="ko-KR" altLang="en-US" sz="1100" dirty="0"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17907" marR="17907" marT="17907" marB="179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100" dirty="0" smtClean="0">
                          <a:latin typeface="휴먼명조" panose="02010504000101010101" pitchFamily="2" charset="-127"/>
                          <a:ea typeface="휴먼명조" panose="02010504000101010101" pitchFamily="2" charset="-127"/>
                        </a:rPr>
                        <a:t>불량약품 회수</a:t>
                      </a:r>
                      <a:endParaRPr lang="en-US" altLang="ko-KR" sz="1100" dirty="0" smtClean="0"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  <a:p>
                      <a:pPr algn="ctr"/>
                      <a:r>
                        <a:rPr lang="ko-KR" altLang="en-US" sz="1100" dirty="0" smtClean="0">
                          <a:latin typeface="휴먼명조" panose="02010504000101010101" pitchFamily="2" charset="-127"/>
                          <a:ea typeface="휴먼명조" panose="02010504000101010101" pitchFamily="2" charset="-127"/>
                        </a:rPr>
                        <a:t>폐기명령 등</a:t>
                      </a:r>
                      <a:endParaRPr lang="ko-KR" altLang="en-US" sz="1100" dirty="0"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17907" marR="17907" marT="17907" marB="179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32042"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100" dirty="0" err="1" smtClean="0">
                          <a:latin typeface="휴먼명조" panose="02010504000101010101" pitchFamily="2" charset="-127"/>
                          <a:ea typeface="휴먼명조" panose="02010504000101010101" pitchFamily="2" charset="-127"/>
                        </a:rPr>
                        <a:t>인삼산업법</a:t>
                      </a:r>
                      <a:endParaRPr lang="ko-KR" altLang="en-US" sz="1100" dirty="0"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17907" marR="17907" marT="17907" marB="179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100" dirty="0" smtClean="0">
                          <a:latin typeface="휴먼명조" panose="02010504000101010101" pitchFamily="2" charset="-127"/>
                          <a:ea typeface="휴먼명조" panose="02010504000101010101" pitchFamily="2" charset="-127"/>
                        </a:rPr>
                        <a:t>신고</a:t>
                      </a:r>
                      <a:endParaRPr lang="ko-KR" altLang="en-US" sz="1100" dirty="0"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17907" marR="17907" marT="17907" marB="179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100" dirty="0" smtClean="0">
                          <a:latin typeface="휴먼명조" panose="02010504000101010101" pitchFamily="2" charset="-127"/>
                          <a:ea typeface="휴먼명조" panose="02010504000101010101" pitchFamily="2" charset="-127"/>
                        </a:rPr>
                        <a:t>-</a:t>
                      </a:r>
                      <a:endParaRPr lang="ko-KR" altLang="en-US" sz="1100" dirty="0"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17907" marR="17907" marT="17907" marB="179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100" dirty="0" smtClean="0">
                          <a:latin typeface="휴먼명조" panose="02010504000101010101" pitchFamily="2" charset="-127"/>
                          <a:ea typeface="휴먼명조" panose="02010504000101010101" pitchFamily="2" charset="-127"/>
                        </a:rPr>
                        <a:t>1</a:t>
                      </a:r>
                      <a:r>
                        <a:rPr lang="ko-KR" altLang="en-US" sz="1100" dirty="0" smtClean="0">
                          <a:latin typeface="휴먼명조" panose="02010504000101010101" pitchFamily="2" charset="-127"/>
                          <a:ea typeface="휴먼명조" panose="02010504000101010101" pitchFamily="2" charset="-127"/>
                        </a:rPr>
                        <a:t>회 실시</a:t>
                      </a:r>
                      <a:endParaRPr lang="ko-KR" altLang="en-US" sz="1100" dirty="0"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17907" marR="17907" marT="17907" marB="179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100" dirty="0" smtClean="0">
                          <a:latin typeface="휴먼명조" panose="02010504000101010101" pitchFamily="2" charset="-127"/>
                          <a:ea typeface="휴먼명조" panose="02010504000101010101" pitchFamily="2" charset="-127"/>
                        </a:rPr>
                        <a:t>포장훼손</a:t>
                      </a:r>
                      <a:endParaRPr lang="en-US" altLang="ko-KR" sz="1100" dirty="0" smtClean="0"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  <a:p>
                      <a:pPr algn="ctr"/>
                      <a:r>
                        <a:rPr lang="ko-KR" altLang="en-US" sz="1100" dirty="0" smtClean="0">
                          <a:latin typeface="휴먼명조" panose="02010504000101010101" pitchFamily="2" charset="-127"/>
                          <a:ea typeface="휴먼명조" panose="02010504000101010101" pitchFamily="2" charset="-127"/>
                        </a:rPr>
                        <a:t>금지 등</a:t>
                      </a:r>
                      <a:endParaRPr lang="ko-KR" altLang="en-US" sz="1100" dirty="0"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17907" marR="17907" marT="17907" marB="179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1354000" y="3587663"/>
            <a:ext cx="39146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&lt;</a:t>
            </a:r>
            <a:r>
              <a:rPr lang="ko-KR" altLang="en-US" sz="14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인삼산업법</a:t>
            </a:r>
            <a:r>
              <a:rPr lang="en-US" altLang="ko-KR" sz="1400" dirty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및 약사법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제조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유통 관리기준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&gt;</a:t>
            </a:r>
            <a:endParaRPr lang="ko-KR" altLang="en-US" sz="14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0152" y="3356992"/>
            <a:ext cx="2664296" cy="2170657"/>
          </a:xfrm>
          <a:prstGeom prst="rect">
            <a:avLst/>
          </a:prstGeom>
        </p:spPr>
      </p:pic>
      <p:sp>
        <p:nvSpPr>
          <p:cNvPr id="17" name="오른쪽 화살표 16"/>
          <p:cNvSpPr/>
          <p:nvPr/>
        </p:nvSpPr>
        <p:spPr>
          <a:xfrm>
            <a:off x="5246262" y="210606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오른쪽 화살표 17"/>
          <p:cNvSpPr/>
          <p:nvPr/>
        </p:nvSpPr>
        <p:spPr>
          <a:xfrm>
            <a:off x="4746289" y="249289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오른쪽 화살표 18"/>
          <p:cNvSpPr/>
          <p:nvPr/>
        </p:nvSpPr>
        <p:spPr>
          <a:xfrm>
            <a:off x="614449" y="6160992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88025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747853" y="492560"/>
            <a:ext cx="8017017" cy="4370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8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복지수요</a:t>
            </a:r>
            <a:r>
              <a:rPr lang="ko-KR" altLang="en-US" sz="28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와 </a:t>
            </a:r>
            <a:r>
              <a:rPr lang="ko-KR" altLang="en-US" sz="28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복지재정</a:t>
            </a:r>
            <a:r>
              <a:rPr lang="ko-KR" altLang="en-US" sz="28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충당의 근본적 검토</a:t>
            </a:r>
            <a:endParaRPr lang="en-US" sz="28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pSp>
        <p:nvGrpSpPr>
          <p:cNvPr id="23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24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12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12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26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8" name="그림 2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53" name="TextBox 52"/>
          <p:cNvSpPr txBox="1"/>
          <p:nvPr/>
        </p:nvSpPr>
        <p:spPr>
          <a:xfrm>
            <a:off x="455945" y="1465580"/>
            <a:ext cx="8580552" cy="4678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복지수요증대와 관련 재정 부담액 지속 증가 추세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수요 대응 및 재정 충당에 한계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-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상대적 소외계층 및 </a:t>
            </a:r>
            <a:r>
              <a:rPr lang="ko-KR" altLang="en-US" sz="140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비수급계층의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불평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불만 확대</a:t>
            </a:r>
            <a:endParaRPr lang="en-US" altLang="ko-KR" sz="14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중앙과 지방간 재정분담 갈등 증폭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국정 추진 지연 및 국민갈등 확대 우려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※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특히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어린이복지 관련 예산의 경우 중앙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지방간 </a:t>
            </a:r>
            <a:r>
              <a:rPr lang="ko-KR" altLang="en-US" sz="140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핑퐁식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부담전가로 문제</a:t>
            </a:r>
            <a:endParaRPr lang="en-US" altLang="ko-KR" sz="14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「금전위주」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「중앙위주」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「행정위주」의 복지재정 충당에 한계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오류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300000"/>
              </a:lnSpc>
            </a:pPr>
            <a:r>
              <a:rPr lang="en-US" altLang="ko-KR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&lt;</a:t>
            </a:r>
            <a:r>
              <a:rPr lang="ko-KR" altLang="en-US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검토 대책</a:t>
            </a:r>
            <a:r>
              <a:rPr lang="en-US" altLang="ko-KR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&gt;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- 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근본적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다각적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종합적 대책 별도 마련</a:t>
            </a:r>
            <a:endParaRPr lang="en-US" altLang="ko-KR" sz="16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① 보편적 복지와 선별적 복지의 조화로운 발전방안 구체화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20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② 복지 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포퓰리즘에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대한 심층검토와 획일적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강제적 수급에 신축성 부여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- 100%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무상복지사업의 우선순위 재검토로 약자위주 단계적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점진적 지급 확대</a:t>
            </a:r>
            <a:endParaRPr lang="en-US" altLang="ko-KR" sz="14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※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상류층까지 무상복지 제공은 복지서비스가 절실한 대상자 배제 하는 결과</a:t>
            </a:r>
            <a:endParaRPr lang="en-US" altLang="ko-KR" sz="14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>
              <a:lnSpc>
                <a:spcPct val="20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③ 중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장기적 한국형 복지모델 정립 및 중앙과 지방간 분담기준 재정립과 민간재원 활용 등 확대</a:t>
            </a:r>
            <a:endParaRPr lang="en-US" altLang="ko-KR" sz="16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1960666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1115616" y="483529"/>
            <a:ext cx="7560840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24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환경성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질환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아토피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비염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천식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r>
              <a:rPr lang="ko-KR" altLang="en-US" sz="24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관리정책 </a:t>
            </a:r>
            <a:r>
              <a:rPr lang="ko-KR" altLang="en-US" sz="24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</a:t>
            </a:r>
            <a:r>
              <a:rPr lang="ko-KR" altLang="en-US" sz="2400" dirty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9877250"/>
              </p:ext>
            </p:extLst>
          </p:nvPr>
        </p:nvGraphicFramePr>
        <p:xfrm>
          <a:off x="795554" y="4077072"/>
          <a:ext cx="7561674" cy="1869123"/>
        </p:xfrm>
        <a:graphic>
          <a:graphicData uri="http://schemas.openxmlformats.org/drawingml/2006/table">
            <a:tbl>
              <a:tblPr/>
              <a:tblGrid>
                <a:gridCol w="2048299"/>
                <a:gridCol w="1102675"/>
                <a:gridCol w="1102675"/>
                <a:gridCol w="1102675"/>
                <a:gridCol w="1102675"/>
                <a:gridCol w="1102675"/>
              </a:tblGrid>
              <a:tr h="276719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b="0" kern="0" spc="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dobe 고딕 Std B" pitchFamily="34" charset="-127"/>
                          <a:ea typeface="Adobe 고딕 Std B" pitchFamily="34" charset="-127"/>
                        </a:rPr>
                        <a:t>구 분</a:t>
                      </a:r>
                      <a:endParaRPr lang="ko-KR" altLang="en-US" sz="1300" b="0" kern="0" spc="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dobe 고딕 Std B" pitchFamily="34" charset="-127"/>
                        <a:ea typeface="Adobe 고딕 Std B" pitchFamily="34" charset="-127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kern="0" spc="0" dirty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dobe 고딕 Std B" pitchFamily="34" charset="-127"/>
                          <a:ea typeface="Adobe 고딕 Std B" pitchFamily="34" charset="-127"/>
                        </a:rPr>
                        <a:t>2007</a:t>
                      </a: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kern="0" spc="0" dirty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dobe 고딕 Std B" pitchFamily="34" charset="-127"/>
                          <a:ea typeface="Adobe 고딕 Std B" pitchFamily="34" charset="-127"/>
                        </a:rPr>
                        <a:t>2008</a:t>
                      </a: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kern="0" spc="0" dirty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dobe 고딕 Std B" pitchFamily="34" charset="-127"/>
                          <a:ea typeface="Adobe 고딕 Std B" pitchFamily="34" charset="-127"/>
                        </a:rPr>
                        <a:t>2009</a:t>
                      </a: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kern="0" spc="0" dirty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dobe 고딕 Std B" pitchFamily="34" charset="-127"/>
                          <a:ea typeface="Adobe 고딕 Std B" pitchFamily="34" charset="-127"/>
                        </a:rPr>
                        <a:t>2010</a:t>
                      </a: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kern="0" spc="0" dirty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dobe 고딕 Std B" pitchFamily="34" charset="-127"/>
                          <a:ea typeface="Adobe 고딕 Std B" pitchFamily="34" charset="-127"/>
                        </a:rPr>
                        <a:t>2011</a:t>
                      </a: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  <a:tr h="276719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b="1" kern="0" spc="0" dirty="0" smtClean="0">
                          <a:solidFill>
                            <a:srgbClr val="000000"/>
                          </a:solidFill>
                          <a:effectLst/>
                          <a:ea typeface="휴먼명조"/>
                        </a:rPr>
                        <a:t>알레르기비염</a:t>
                      </a:r>
                      <a:endParaRPr lang="ko-KR" altLang="en-US" sz="13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 dirty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4,549</a:t>
                      </a:r>
                      <a:endParaRPr lang="en-US" sz="13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 dirty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4,946</a:t>
                      </a:r>
                      <a:endParaRPr lang="en-US" sz="13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 dirty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5,564</a:t>
                      </a:r>
                      <a:endParaRPr lang="en-US" sz="13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 dirty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5,676</a:t>
                      </a:r>
                      <a:endParaRPr lang="en-US" sz="13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 dirty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5,826</a:t>
                      </a:r>
                      <a:endParaRPr lang="en-US" sz="13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6719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b="1" kern="0" spc="0" dirty="0" smtClean="0">
                          <a:solidFill>
                            <a:srgbClr val="000000"/>
                          </a:solidFill>
                          <a:effectLst/>
                          <a:ea typeface="휴먼명조"/>
                        </a:rPr>
                        <a:t>천식</a:t>
                      </a:r>
                      <a:endParaRPr lang="ko-KR" altLang="en-US" sz="13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 dirty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2,406</a:t>
                      </a:r>
                      <a:endParaRPr lang="en-US" sz="13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 dirty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2,419</a:t>
                      </a:r>
                      <a:endParaRPr lang="en-US" sz="13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 dirty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2,333</a:t>
                      </a:r>
                      <a:endParaRPr lang="en-US" sz="13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2,341</a:t>
                      </a:r>
                      <a:endParaRPr lang="en-US" sz="13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 dirty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2,281</a:t>
                      </a:r>
                      <a:endParaRPr lang="en-US" sz="13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6719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b="1" kern="0" spc="0" dirty="0" smtClean="0">
                          <a:solidFill>
                            <a:srgbClr val="000000"/>
                          </a:solidFill>
                          <a:effectLst/>
                          <a:ea typeface="휴먼명조"/>
                        </a:rPr>
                        <a:t>아토피피부염</a:t>
                      </a:r>
                      <a:endParaRPr lang="ko-KR" altLang="en-US" sz="13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 dirty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1,136</a:t>
                      </a:r>
                      <a:endParaRPr lang="en-US" sz="13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 dirty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1,142</a:t>
                      </a:r>
                      <a:endParaRPr lang="en-US" sz="13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 dirty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1,060</a:t>
                      </a:r>
                      <a:endParaRPr lang="en-US" sz="13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 dirty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1,074</a:t>
                      </a:r>
                      <a:endParaRPr lang="en-US" sz="13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 dirty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1,038</a:t>
                      </a:r>
                      <a:endParaRPr lang="en-US" sz="13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6719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b="1" kern="0" spc="0" dirty="0" smtClean="0">
                          <a:solidFill>
                            <a:srgbClr val="000000"/>
                          </a:solidFill>
                          <a:effectLst/>
                          <a:ea typeface="휴먼명조"/>
                        </a:rPr>
                        <a:t>전체</a:t>
                      </a:r>
                      <a:endParaRPr lang="ko-KR" altLang="en-US" sz="13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7,245</a:t>
                      </a:r>
                      <a:endParaRPr lang="en-US" sz="13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 dirty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7,587</a:t>
                      </a:r>
                      <a:endParaRPr lang="en-US" sz="13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 dirty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8,304</a:t>
                      </a:r>
                      <a:endParaRPr lang="en-US" sz="13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 dirty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8,125</a:t>
                      </a:r>
                      <a:endParaRPr lang="en-US" sz="13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 dirty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8,187</a:t>
                      </a:r>
                      <a:endParaRPr lang="en-US" sz="13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6719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300" b="1" kern="0" spc="0" dirty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1</a:t>
                      </a:r>
                      <a:r>
                        <a:rPr lang="ko-KR" altLang="en-US" sz="1300" b="1" kern="0" spc="0" dirty="0" err="1" smtClean="0">
                          <a:solidFill>
                            <a:srgbClr val="000000"/>
                          </a:solidFill>
                          <a:effectLst/>
                          <a:ea typeface="휴먼명조"/>
                        </a:rPr>
                        <a:t>만명당</a:t>
                      </a:r>
                      <a:r>
                        <a:rPr lang="ko-KR" altLang="en-US" sz="1300" b="1" kern="0" spc="0" dirty="0" smtClean="0">
                          <a:solidFill>
                            <a:srgbClr val="000000"/>
                          </a:solidFill>
                          <a:effectLst/>
                          <a:ea typeface="휴먼명조"/>
                        </a:rPr>
                        <a:t> </a:t>
                      </a:r>
                      <a:r>
                        <a:rPr lang="en-US" altLang="ko-KR" sz="1300" b="1" kern="0" spc="0" dirty="0" smtClean="0">
                          <a:solidFill>
                            <a:srgbClr val="000000"/>
                          </a:solidFill>
                          <a:effectLst/>
                          <a:ea typeface="휴먼명조"/>
                        </a:rPr>
                        <a:t>(</a:t>
                      </a:r>
                      <a:r>
                        <a:rPr lang="ko-KR" altLang="en-US" sz="1300" b="1" kern="0" spc="0" dirty="0" smtClean="0">
                          <a:solidFill>
                            <a:srgbClr val="000000"/>
                          </a:solidFill>
                          <a:effectLst/>
                          <a:ea typeface="휴먼명조"/>
                        </a:rPr>
                        <a:t>명</a:t>
                      </a:r>
                      <a:r>
                        <a:rPr lang="en-US" altLang="ko-KR" sz="1300" b="1" kern="0" spc="0" dirty="0" smtClean="0">
                          <a:solidFill>
                            <a:srgbClr val="000000"/>
                          </a:solidFill>
                          <a:effectLst/>
                          <a:ea typeface="휴먼명조"/>
                        </a:rPr>
                        <a:t>)</a:t>
                      </a:r>
                      <a:endParaRPr lang="ko-KR" altLang="en-US" sz="13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 dirty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1,458</a:t>
                      </a:r>
                      <a:endParaRPr lang="en-US" sz="13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 dirty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1,517</a:t>
                      </a:r>
                      <a:endParaRPr lang="en-US" sz="13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 dirty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1,654</a:t>
                      </a:r>
                      <a:endParaRPr lang="en-US" sz="13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 dirty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1,606</a:t>
                      </a:r>
                      <a:endParaRPr lang="en-US" sz="13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0" spc="0" dirty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1,608</a:t>
                      </a:r>
                      <a:endParaRPr lang="en-US" sz="13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495682" y="1017648"/>
            <a:ext cx="8377442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“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초등생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5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명 중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명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아토피 피부염 앓아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”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b="1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환경성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질환 증가 추세 여전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“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9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세 이하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아토피」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48.5%·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천식」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37.5%·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비염」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21.6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%”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국민질환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‘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11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기준 진료환자 수 약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819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 명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전체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의료보장 인구의 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6%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차지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①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환경성질환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보건복지부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3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종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환경부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5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종</a:t>
            </a:r>
            <a:r>
              <a:rPr lang="en-US" altLang="ko-KR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폐질환 </a:t>
            </a:r>
            <a:r>
              <a:rPr lang="en-US" altLang="ko-KR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2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종 포함</a:t>
            </a:r>
            <a:r>
              <a:rPr lang="en-US" altLang="ko-KR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→ 엇박자 지정</a:t>
            </a:r>
            <a:endParaRPr lang="ko-KR" altLang="en-US" sz="1400" dirty="0">
              <a:solidFill>
                <a:srgbClr val="C00000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②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질환 통계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「무작위추출방식 표본조사」만 실시 </a:t>
            </a:r>
            <a:r>
              <a:rPr lang="ko-KR" altLang="en-US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→ 신뢰도 의문</a:t>
            </a:r>
            <a:endParaRPr lang="ko-KR" altLang="en-US" sz="1400" dirty="0">
              <a:solidFill>
                <a:srgbClr val="C00000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③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표본설계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질병관리본부는“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19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세￪”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건강보험공단“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全연령대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”</a:t>
            </a:r>
            <a:r>
              <a:rPr lang="ko-KR" altLang="en-US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→ 따로 따로</a:t>
            </a:r>
            <a:endParaRPr lang="ko-KR" altLang="en-US" sz="1400" dirty="0">
              <a:solidFill>
                <a:srgbClr val="C00000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④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지난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7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간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‘08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∼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14)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예산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187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억 원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→ 뚜렷한 성과</a:t>
            </a:r>
            <a:r>
              <a:rPr lang="en-US" altLang="ko-KR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실적 기대난망</a:t>
            </a:r>
            <a:r>
              <a:rPr lang="ko-KR" altLang="en-US" sz="140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643624" y="3661623"/>
            <a:ext cx="37444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&lt;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연도별 환경성질환 발생 추이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&gt;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 </a:t>
            </a:r>
            <a:r>
              <a:rPr lang="en-US" altLang="ko-KR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단위</a:t>
            </a:r>
            <a:r>
              <a:rPr lang="en-US" altLang="ko-KR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: </a:t>
            </a:r>
            <a:r>
              <a:rPr lang="ko-KR" altLang="en-US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천</a:t>
            </a:r>
            <a:r>
              <a:rPr lang="ko-KR" altLang="en-US" sz="1000" dirty="0">
                <a:latin typeface="HY견고딕" panose="02030600000101010101" pitchFamily="18" charset="-127"/>
                <a:ea typeface="HY견고딕" panose="02030600000101010101" pitchFamily="18" charset="-127"/>
              </a:rPr>
              <a:t>명</a:t>
            </a:r>
            <a:r>
              <a:rPr lang="en-US" altLang="ko-KR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endParaRPr lang="ko-KR" altLang="en-US" sz="1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59829" y="6074973"/>
            <a:ext cx="867388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「환경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의료 </a:t>
            </a:r>
            <a:r>
              <a:rPr lang="ko-KR" altLang="en-US" sz="20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융합형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민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산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학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연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관 협력체제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」구축과 활성화 필요</a:t>
            </a:r>
            <a:endParaRPr lang="ko-KR" altLang="en-US" sz="2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pSp>
        <p:nvGrpSpPr>
          <p:cNvPr id="14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17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12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12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19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1" name="그림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22" name="오른쪽 화살표 21"/>
          <p:cNvSpPr/>
          <p:nvPr/>
        </p:nvSpPr>
        <p:spPr>
          <a:xfrm>
            <a:off x="4910708" y="121997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오른쪽 화살표 22"/>
          <p:cNvSpPr/>
          <p:nvPr/>
        </p:nvSpPr>
        <p:spPr>
          <a:xfrm>
            <a:off x="6804248" y="155907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오른쪽 화살표 23"/>
          <p:cNvSpPr/>
          <p:nvPr/>
        </p:nvSpPr>
        <p:spPr>
          <a:xfrm>
            <a:off x="4468379" y="191757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오른쪽 화살표 24"/>
          <p:cNvSpPr/>
          <p:nvPr/>
        </p:nvSpPr>
        <p:spPr>
          <a:xfrm>
            <a:off x="219495" y="6210009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19744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Group 10"/>
          <p:cNvGrpSpPr/>
          <p:nvPr/>
        </p:nvGrpSpPr>
        <p:grpSpPr>
          <a:xfrm>
            <a:off x="545063" y="3192654"/>
            <a:ext cx="2298940" cy="2284678"/>
            <a:chOff x="2531217" y="1465942"/>
            <a:chExt cx="3901708" cy="3877503"/>
          </a:xfrm>
        </p:grpSpPr>
        <p:sp>
          <p:nvSpPr>
            <p:cNvPr id="52" name="Circular Arrow 17"/>
            <p:cNvSpPr/>
            <p:nvPr>
              <p:custDataLst>
                <p:tags r:id="rId5"/>
              </p:custDataLst>
            </p:nvPr>
          </p:nvSpPr>
          <p:spPr>
            <a:xfrm rot="3819789">
              <a:off x="2558396" y="1468915"/>
              <a:ext cx="3874528" cy="3874530"/>
            </a:xfrm>
            <a:prstGeom prst="circularArrow">
              <a:avLst>
                <a:gd name="adj1" fmla="val 18242"/>
                <a:gd name="adj2" fmla="val 1142319"/>
                <a:gd name="adj3" fmla="val 20457687"/>
                <a:gd name="adj4" fmla="val 14422437"/>
                <a:gd name="adj5" fmla="val 12500"/>
              </a:avLst>
            </a:prstGeom>
            <a:gradFill flip="none" rotWithShape="1">
              <a:gsLst>
                <a:gs pos="0">
                  <a:srgbClr val="2A9B18"/>
                </a:gs>
                <a:gs pos="83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114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3" name="Circular Arrow 19"/>
            <p:cNvSpPr/>
            <p:nvPr>
              <p:custDataLst>
                <p:tags r:id="rId6"/>
              </p:custDataLst>
            </p:nvPr>
          </p:nvSpPr>
          <p:spPr>
            <a:xfrm rot="14076805">
              <a:off x="2538751" y="1466763"/>
              <a:ext cx="3874528" cy="3874530"/>
            </a:xfrm>
            <a:prstGeom prst="circularArrow">
              <a:avLst>
                <a:gd name="adj1" fmla="val 18242"/>
                <a:gd name="adj2" fmla="val 1142319"/>
                <a:gd name="adj3" fmla="val 20457687"/>
                <a:gd name="adj4" fmla="val 14422437"/>
                <a:gd name="adj5" fmla="val 12500"/>
              </a:avLst>
            </a:prstGeom>
            <a:gradFill flip="none" rotWithShape="1">
              <a:gsLst>
                <a:gs pos="0">
                  <a:srgbClr val="2A9B18"/>
                </a:gs>
                <a:gs pos="83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114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4" name="Circular Arrow 20"/>
            <p:cNvSpPr/>
            <p:nvPr>
              <p:custDataLst>
                <p:tags r:id="rId7"/>
              </p:custDataLst>
            </p:nvPr>
          </p:nvSpPr>
          <p:spPr>
            <a:xfrm rot="19551636">
              <a:off x="2558395" y="1468917"/>
              <a:ext cx="3874530" cy="3874528"/>
            </a:xfrm>
            <a:prstGeom prst="circularArrow">
              <a:avLst>
                <a:gd name="adj1" fmla="val 18242"/>
                <a:gd name="adj2" fmla="val 1142319"/>
                <a:gd name="adj3" fmla="val 20457687"/>
                <a:gd name="adj4" fmla="val 14422437"/>
                <a:gd name="adj5" fmla="val 12500"/>
              </a:avLst>
            </a:prstGeom>
            <a:gradFill flip="none" rotWithShape="1">
              <a:gsLst>
                <a:gs pos="0">
                  <a:srgbClr val="2A9B18"/>
                </a:gs>
                <a:gs pos="83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114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5" name="Circular Arrow 18"/>
            <p:cNvSpPr/>
            <p:nvPr>
              <p:custDataLst>
                <p:tags r:id="rId8"/>
              </p:custDataLst>
            </p:nvPr>
          </p:nvSpPr>
          <p:spPr>
            <a:xfrm rot="9139184">
              <a:off x="2531217" y="1465942"/>
              <a:ext cx="3874530" cy="3874528"/>
            </a:xfrm>
            <a:prstGeom prst="circularArrow">
              <a:avLst>
                <a:gd name="adj1" fmla="val 18242"/>
                <a:gd name="adj2" fmla="val 1142319"/>
                <a:gd name="adj3" fmla="val 20457687"/>
                <a:gd name="adj4" fmla="val 14422437"/>
                <a:gd name="adj5" fmla="val 12500"/>
              </a:avLst>
            </a:prstGeom>
            <a:gradFill flip="none" rotWithShape="1">
              <a:gsLst>
                <a:gs pos="0">
                  <a:srgbClr val="2A9B18"/>
                </a:gs>
                <a:gs pos="83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114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23" name="TextBox 22"/>
          <p:cNvSpPr txBox="1"/>
          <p:nvPr/>
        </p:nvSpPr>
        <p:spPr>
          <a:xfrm>
            <a:off x="880256" y="486851"/>
            <a:ext cx="8109124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기후변화 </a:t>
            </a:r>
            <a:r>
              <a:rPr lang="ko-KR" altLang="en-US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2300" dirty="0">
                <a:latin typeface="HY견고딕" panose="02030600000101010101" pitchFamily="18" charset="-127"/>
                <a:ea typeface="HY견고딕" panose="02030600000101010101" pitchFamily="18" charset="-127"/>
              </a:rPr>
              <a:t>현실화」</a:t>
            </a:r>
            <a:r>
              <a:rPr lang="en-US" altLang="ko-KR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이상기후 </a:t>
            </a:r>
            <a:r>
              <a:rPr lang="ko-KR" altLang="en-US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「상설화」 대처</a:t>
            </a:r>
            <a:endParaRPr lang="en-US" sz="23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708500" y="1186464"/>
            <a:ext cx="7824269" cy="18928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기후변화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는 생태환경 변화 유발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이에 따른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질병 매년 지속 증가 추세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온열질환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: 443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명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(‘11)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→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984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명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(‘12)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→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1,195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명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(‘13)</a:t>
            </a:r>
            <a:endParaRPr lang="ko-KR" altLang="en-US" sz="16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진드기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모기 매개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감염병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및 수인성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식품매개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감염병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증가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만성질환</a:t>
            </a:r>
            <a:r>
              <a:rPr lang="en-US" altLang="ko-KR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알레르기 및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심혈관질환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등의 간접 건강 피해 증가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·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‘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98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 대비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'05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 천식 유병률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: 4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세 이하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2.4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배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5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∼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9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세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2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배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10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∼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14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세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3.6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배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증가</a:t>
            </a:r>
            <a:endParaRPr lang="ko-KR" altLang="en-US" sz="14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707706" y="5950718"/>
            <a:ext cx="8249276" cy="530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기후변화 따른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19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新질병관리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전담부서」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구축 강화</a:t>
            </a:r>
            <a:r>
              <a:rPr lang="en-US" altLang="ko-KR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선제적 예방정책 대응</a:t>
            </a:r>
            <a:endParaRPr lang="ko-KR" altLang="en-US" sz="19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9079" y="3713199"/>
            <a:ext cx="1828377" cy="1715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5" name="Picture 7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7842" y="3885927"/>
            <a:ext cx="1676366" cy="1573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7" name="Picture 9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0" y="3810558"/>
            <a:ext cx="1642889" cy="16183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Ellipse 98"/>
          <p:cNvSpPr/>
          <p:nvPr/>
        </p:nvSpPr>
        <p:spPr bwMode="auto">
          <a:xfrm>
            <a:off x="1177743" y="5501847"/>
            <a:ext cx="1044800" cy="214160"/>
          </a:xfrm>
          <a:prstGeom prst="ellipse">
            <a:avLst/>
          </a:prstGeom>
          <a:gradFill flip="none" rotWithShape="1">
            <a:gsLst>
              <a:gs pos="100000">
                <a:srgbClr val="FFFFFF">
                  <a:alpha val="0"/>
                </a:srgbClr>
              </a:gs>
              <a:gs pos="0">
                <a:srgbClr val="E6E6E6">
                  <a:lumMod val="10000"/>
                  <a:alpha val="20000"/>
                </a:srgbClr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2pPr>
            <a:lvl3pPr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3pPr>
            <a:lvl4pPr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4pPr>
            <a:lvl5pPr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9pPr>
          </a:lstStyle>
          <a:p>
            <a:pPr algn="ctr">
              <a:defRPr/>
            </a:pPr>
            <a:endParaRPr lang="en-US" smtClean="0">
              <a:solidFill>
                <a:srgbClr val="FFFFFF"/>
              </a:solidFill>
            </a:endParaRPr>
          </a:p>
        </p:txBody>
      </p:sp>
      <p:grpSp>
        <p:nvGrpSpPr>
          <p:cNvPr id="35" name="Group 42"/>
          <p:cNvGrpSpPr/>
          <p:nvPr/>
        </p:nvGrpSpPr>
        <p:grpSpPr>
          <a:xfrm>
            <a:off x="841394" y="3477343"/>
            <a:ext cx="1717498" cy="1721979"/>
            <a:chOff x="2982172" y="1924063"/>
            <a:chExt cx="2993776" cy="3001587"/>
          </a:xfrm>
          <a:effectLst>
            <a:outerShdw blurRad="101600" sx="101000" sy="101000" algn="ctr" rotWithShape="0">
              <a:prstClr val="black">
                <a:alpha val="18000"/>
              </a:prstClr>
            </a:outerShdw>
          </a:effectLst>
        </p:grpSpPr>
        <p:sp>
          <p:nvSpPr>
            <p:cNvPr id="47" name="Freeform 6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2982172" y="1929458"/>
              <a:ext cx="2990981" cy="2996192"/>
            </a:xfrm>
            <a:custGeom>
              <a:avLst/>
              <a:gdLst>
                <a:gd name="T0" fmla="*/ 1899 w 3447"/>
                <a:gd name="T1" fmla="*/ 9 h 3447"/>
                <a:gd name="T2" fmla="*/ 2154 w 3447"/>
                <a:gd name="T3" fmla="*/ 54 h 3447"/>
                <a:gd name="T4" fmla="*/ 2394 w 3447"/>
                <a:gd name="T5" fmla="*/ 136 h 3447"/>
                <a:gd name="T6" fmla="*/ 2617 w 3447"/>
                <a:gd name="T7" fmla="*/ 249 h 3447"/>
                <a:gd name="T8" fmla="*/ 2819 w 3447"/>
                <a:gd name="T9" fmla="*/ 394 h 3447"/>
                <a:gd name="T10" fmla="*/ 2999 w 3447"/>
                <a:gd name="T11" fmla="*/ 565 h 3447"/>
                <a:gd name="T12" fmla="*/ 3152 w 3447"/>
                <a:gd name="T13" fmla="*/ 761 h 3447"/>
                <a:gd name="T14" fmla="*/ 3277 w 3447"/>
                <a:gd name="T15" fmla="*/ 976 h 3447"/>
                <a:gd name="T16" fmla="*/ 3369 w 3447"/>
                <a:gd name="T17" fmla="*/ 1211 h 3447"/>
                <a:gd name="T18" fmla="*/ 3427 w 3447"/>
                <a:gd name="T19" fmla="*/ 1462 h 3447"/>
                <a:gd name="T20" fmla="*/ 3447 w 3447"/>
                <a:gd name="T21" fmla="*/ 1723 h 3447"/>
                <a:gd name="T22" fmla="*/ 3427 w 3447"/>
                <a:gd name="T23" fmla="*/ 1986 h 3447"/>
                <a:gd name="T24" fmla="*/ 3369 w 3447"/>
                <a:gd name="T25" fmla="*/ 2236 h 3447"/>
                <a:gd name="T26" fmla="*/ 3277 w 3447"/>
                <a:gd name="T27" fmla="*/ 2470 h 3447"/>
                <a:gd name="T28" fmla="*/ 3152 w 3447"/>
                <a:gd name="T29" fmla="*/ 2687 h 3447"/>
                <a:gd name="T30" fmla="*/ 2999 w 3447"/>
                <a:gd name="T31" fmla="*/ 2882 h 3447"/>
                <a:gd name="T32" fmla="*/ 2819 w 3447"/>
                <a:gd name="T33" fmla="*/ 3053 h 3447"/>
                <a:gd name="T34" fmla="*/ 2617 w 3447"/>
                <a:gd name="T35" fmla="*/ 3198 h 3447"/>
                <a:gd name="T36" fmla="*/ 2394 w 3447"/>
                <a:gd name="T37" fmla="*/ 3312 h 3447"/>
                <a:gd name="T38" fmla="*/ 2154 w 3447"/>
                <a:gd name="T39" fmla="*/ 3393 h 3447"/>
                <a:gd name="T40" fmla="*/ 1899 w 3447"/>
                <a:gd name="T41" fmla="*/ 3438 h 3447"/>
                <a:gd name="T42" fmla="*/ 1634 w 3447"/>
                <a:gd name="T43" fmla="*/ 3445 h 3447"/>
                <a:gd name="T44" fmla="*/ 1376 w 3447"/>
                <a:gd name="T45" fmla="*/ 3411 h 3447"/>
                <a:gd name="T46" fmla="*/ 1131 w 3447"/>
                <a:gd name="T47" fmla="*/ 3342 h 3447"/>
                <a:gd name="T48" fmla="*/ 902 w 3447"/>
                <a:gd name="T49" fmla="*/ 3238 h 3447"/>
                <a:gd name="T50" fmla="*/ 692 w 3447"/>
                <a:gd name="T51" fmla="*/ 3104 h 3447"/>
                <a:gd name="T52" fmla="*/ 505 w 3447"/>
                <a:gd name="T53" fmla="*/ 2942 h 3447"/>
                <a:gd name="T54" fmla="*/ 342 w 3447"/>
                <a:gd name="T55" fmla="*/ 2754 h 3447"/>
                <a:gd name="T56" fmla="*/ 208 w 3447"/>
                <a:gd name="T57" fmla="*/ 2545 h 3447"/>
                <a:gd name="T58" fmla="*/ 104 w 3447"/>
                <a:gd name="T59" fmla="*/ 2316 h 3447"/>
                <a:gd name="T60" fmla="*/ 35 w 3447"/>
                <a:gd name="T61" fmla="*/ 2071 h 3447"/>
                <a:gd name="T62" fmla="*/ 2 w 3447"/>
                <a:gd name="T63" fmla="*/ 1813 h 3447"/>
                <a:gd name="T64" fmla="*/ 9 w 3447"/>
                <a:gd name="T65" fmla="*/ 1547 h 3447"/>
                <a:gd name="T66" fmla="*/ 54 w 3447"/>
                <a:gd name="T67" fmla="*/ 1293 h 3447"/>
                <a:gd name="T68" fmla="*/ 136 w 3447"/>
                <a:gd name="T69" fmla="*/ 1053 h 3447"/>
                <a:gd name="T70" fmla="*/ 249 w 3447"/>
                <a:gd name="T71" fmla="*/ 830 h 3447"/>
                <a:gd name="T72" fmla="*/ 394 w 3447"/>
                <a:gd name="T73" fmla="*/ 628 h 3447"/>
                <a:gd name="T74" fmla="*/ 564 w 3447"/>
                <a:gd name="T75" fmla="*/ 448 h 3447"/>
                <a:gd name="T76" fmla="*/ 760 w 3447"/>
                <a:gd name="T77" fmla="*/ 294 h 3447"/>
                <a:gd name="T78" fmla="*/ 976 w 3447"/>
                <a:gd name="T79" fmla="*/ 171 h 3447"/>
                <a:gd name="T80" fmla="*/ 1211 w 3447"/>
                <a:gd name="T81" fmla="*/ 77 h 3447"/>
                <a:gd name="T82" fmla="*/ 1461 w 3447"/>
                <a:gd name="T83" fmla="*/ 20 h 3447"/>
                <a:gd name="T84" fmla="*/ 1723 w 3447"/>
                <a:gd name="T85" fmla="*/ 0 h 3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447" h="3447">
                  <a:moveTo>
                    <a:pt x="1723" y="0"/>
                  </a:moveTo>
                  <a:lnTo>
                    <a:pt x="1812" y="2"/>
                  </a:lnTo>
                  <a:lnTo>
                    <a:pt x="1899" y="9"/>
                  </a:lnTo>
                  <a:lnTo>
                    <a:pt x="1986" y="20"/>
                  </a:lnTo>
                  <a:lnTo>
                    <a:pt x="2071" y="36"/>
                  </a:lnTo>
                  <a:lnTo>
                    <a:pt x="2154" y="54"/>
                  </a:lnTo>
                  <a:lnTo>
                    <a:pt x="2235" y="77"/>
                  </a:lnTo>
                  <a:lnTo>
                    <a:pt x="2316" y="105"/>
                  </a:lnTo>
                  <a:lnTo>
                    <a:pt x="2394" y="136"/>
                  </a:lnTo>
                  <a:lnTo>
                    <a:pt x="2470" y="171"/>
                  </a:lnTo>
                  <a:lnTo>
                    <a:pt x="2545" y="208"/>
                  </a:lnTo>
                  <a:lnTo>
                    <a:pt x="2617" y="249"/>
                  </a:lnTo>
                  <a:lnTo>
                    <a:pt x="2687" y="294"/>
                  </a:lnTo>
                  <a:lnTo>
                    <a:pt x="2754" y="343"/>
                  </a:lnTo>
                  <a:lnTo>
                    <a:pt x="2819" y="394"/>
                  </a:lnTo>
                  <a:lnTo>
                    <a:pt x="2882" y="448"/>
                  </a:lnTo>
                  <a:lnTo>
                    <a:pt x="2942" y="505"/>
                  </a:lnTo>
                  <a:lnTo>
                    <a:pt x="2999" y="565"/>
                  </a:lnTo>
                  <a:lnTo>
                    <a:pt x="3053" y="628"/>
                  </a:lnTo>
                  <a:lnTo>
                    <a:pt x="3104" y="692"/>
                  </a:lnTo>
                  <a:lnTo>
                    <a:pt x="3152" y="761"/>
                  </a:lnTo>
                  <a:lnTo>
                    <a:pt x="3197" y="830"/>
                  </a:lnTo>
                  <a:lnTo>
                    <a:pt x="3238" y="902"/>
                  </a:lnTo>
                  <a:lnTo>
                    <a:pt x="3277" y="976"/>
                  </a:lnTo>
                  <a:lnTo>
                    <a:pt x="3312" y="1053"/>
                  </a:lnTo>
                  <a:lnTo>
                    <a:pt x="3342" y="1131"/>
                  </a:lnTo>
                  <a:lnTo>
                    <a:pt x="3369" y="1211"/>
                  </a:lnTo>
                  <a:lnTo>
                    <a:pt x="3392" y="1293"/>
                  </a:lnTo>
                  <a:lnTo>
                    <a:pt x="3411" y="1377"/>
                  </a:lnTo>
                  <a:lnTo>
                    <a:pt x="3427" y="1462"/>
                  </a:lnTo>
                  <a:lnTo>
                    <a:pt x="3437" y="1547"/>
                  </a:lnTo>
                  <a:lnTo>
                    <a:pt x="3445" y="1634"/>
                  </a:lnTo>
                  <a:lnTo>
                    <a:pt x="3447" y="1723"/>
                  </a:lnTo>
                  <a:lnTo>
                    <a:pt x="3445" y="1813"/>
                  </a:lnTo>
                  <a:lnTo>
                    <a:pt x="3437" y="1899"/>
                  </a:lnTo>
                  <a:lnTo>
                    <a:pt x="3427" y="1986"/>
                  </a:lnTo>
                  <a:lnTo>
                    <a:pt x="3411" y="2071"/>
                  </a:lnTo>
                  <a:lnTo>
                    <a:pt x="3392" y="2154"/>
                  </a:lnTo>
                  <a:lnTo>
                    <a:pt x="3369" y="2236"/>
                  </a:lnTo>
                  <a:lnTo>
                    <a:pt x="3342" y="2316"/>
                  </a:lnTo>
                  <a:lnTo>
                    <a:pt x="3312" y="2394"/>
                  </a:lnTo>
                  <a:lnTo>
                    <a:pt x="3277" y="2470"/>
                  </a:lnTo>
                  <a:lnTo>
                    <a:pt x="3238" y="2545"/>
                  </a:lnTo>
                  <a:lnTo>
                    <a:pt x="3197" y="2617"/>
                  </a:lnTo>
                  <a:lnTo>
                    <a:pt x="3152" y="2687"/>
                  </a:lnTo>
                  <a:lnTo>
                    <a:pt x="3104" y="2754"/>
                  </a:lnTo>
                  <a:lnTo>
                    <a:pt x="3053" y="2819"/>
                  </a:lnTo>
                  <a:lnTo>
                    <a:pt x="2999" y="2882"/>
                  </a:lnTo>
                  <a:lnTo>
                    <a:pt x="2942" y="2942"/>
                  </a:lnTo>
                  <a:lnTo>
                    <a:pt x="2882" y="3000"/>
                  </a:lnTo>
                  <a:lnTo>
                    <a:pt x="2819" y="3053"/>
                  </a:lnTo>
                  <a:lnTo>
                    <a:pt x="2754" y="3104"/>
                  </a:lnTo>
                  <a:lnTo>
                    <a:pt x="2687" y="3153"/>
                  </a:lnTo>
                  <a:lnTo>
                    <a:pt x="2617" y="3198"/>
                  </a:lnTo>
                  <a:lnTo>
                    <a:pt x="2545" y="3238"/>
                  </a:lnTo>
                  <a:lnTo>
                    <a:pt x="2470" y="3277"/>
                  </a:lnTo>
                  <a:lnTo>
                    <a:pt x="2394" y="3312"/>
                  </a:lnTo>
                  <a:lnTo>
                    <a:pt x="2316" y="3342"/>
                  </a:lnTo>
                  <a:lnTo>
                    <a:pt x="2235" y="3369"/>
                  </a:lnTo>
                  <a:lnTo>
                    <a:pt x="2154" y="3393"/>
                  </a:lnTo>
                  <a:lnTo>
                    <a:pt x="2071" y="3411"/>
                  </a:lnTo>
                  <a:lnTo>
                    <a:pt x="1986" y="3427"/>
                  </a:lnTo>
                  <a:lnTo>
                    <a:pt x="1899" y="3438"/>
                  </a:lnTo>
                  <a:lnTo>
                    <a:pt x="1812" y="3445"/>
                  </a:lnTo>
                  <a:lnTo>
                    <a:pt x="1723" y="3447"/>
                  </a:lnTo>
                  <a:lnTo>
                    <a:pt x="1634" y="3445"/>
                  </a:lnTo>
                  <a:lnTo>
                    <a:pt x="1547" y="3438"/>
                  </a:lnTo>
                  <a:lnTo>
                    <a:pt x="1461" y="3427"/>
                  </a:lnTo>
                  <a:lnTo>
                    <a:pt x="1376" y="3411"/>
                  </a:lnTo>
                  <a:lnTo>
                    <a:pt x="1292" y="3393"/>
                  </a:lnTo>
                  <a:lnTo>
                    <a:pt x="1211" y="3369"/>
                  </a:lnTo>
                  <a:lnTo>
                    <a:pt x="1131" y="3342"/>
                  </a:lnTo>
                  <a:lnTo>
                    <a:pt x="1053" y="3312"/>
                  </a:lnTo>
                  <a:lnTo>
                    <a:pt x="976" y="3277"/>
                  </a:lnTo>
                  <a:lnTo>
                    <a:pt x="902" y="3238"/>
                  </a:lnTo>
                  <a:lnTo>
                    <a:pt x="829" y="3198"/>
                  </a:lnTo>
                  <a:lnTo>
                    <a:pt x="760" y="3153"/>
                  </a:lnTo>
                  <a:lnTo>
                    <a:pt x="692" y="3104"/>
                  </a:lnTo>
                  <a:lnTo>
                    <a:pt x="627" y="3053"/>
                  </a:lnTo>
                  <a:lnTo>
                    <a:pt x="564" y="3000"/>
                  </a:lnTo>
                  <a:lnTo>
                    <a:pt x="505" y="2942"/>
                  </a:lnTo>
                  <a:lnTo>
                    <a:pt x="448" y="2882"/>
                  </a:lnTo>
                  <a:lnTo>
                    <a:pt x="394" y="2819"/>
                  </a:lnTo>
                  <a:lnTo>
                    <a:pt x="342" y="2754"/>
                  </a:lnTo>
                  <a:lnTo>
                    <a:pt x="294" y="2687"/>
                  </a:lnTo>
                  <a:lnTo>
                    <a:pt x="249" y="2617"/>
                  </a:lnTo>
                  <a:lnTo>
                    <a:pt x="208" y="2545"/>
                  </a:lnTo>
                  <a:lnTo>
                    <a:pt x="169" y="2470"/>
                  </a:lnTo>
                  <a:lnTo>
                    <a:pt x="136" y="2394"/>
                  </a:lnTo>
                  <a:lnTo>
                    <a:pt x="104" y="2316"/>
                  </a:lnTo>
                  <a:lnTo>
                    <a:pt x="77" y="2236"/>
                  </a:lnTo>
                  <a:lnTo>
                    <a:pt x="54" y="2154"/>
                  </a:lnTo>
                  <a:lnTo>
                    <a:pt x="35" y="2071"/>
                  </a:lnTo>
                  <a:lnTo>
                    <a:pt x="19" y="1986"/>
                  </a:lnTo>
                  <a:lnTo>
                    <a:pt x="9" y="1899"/>
                  </a:lnTo>
                  <a:lnTo>
                    <a:pt x="2" y="1813"/>
                  </a:lnTo>
                  <a:lnTo>
                    <a:pt x="0" y="1723"/>
                  </a:lnTo>
                  <a:lnTo>
                    <a:pt x="2" y="1634"/>
                  </a:lnTo>
                  <a:lnTo>
                    <a:pt x="9" y="1547"/>
                  </a:lnTo>
                  <a:lnTo>
                    <a:pt x="19" y="1462"/>
                  </a:lnTo>
                  <a:lnTo>
                    <a:pt x="35" y="1377"/>
                  </a:lnTo>
                  <a:lnTo>
                    <a:pt x="54" y="1293"/>
                  </a:lnTo>
                  <a:lnTo>
                    <a:pt x="77" y="1211"/>
                  </a:lnTo>
                  <a:lnTo>
                    <a:pt x="104" y="1131"/>
                  </a:lnTo>
                  <a:lnTo>
                    <a:pt x="136" y="1053"/>
                  </a:lnTo>
                  <a:lnTo>
                    <a:pt x="169" y="976"/>
                  </a:lnTo>
                  <a:lnTo>
                    <a:pt x="208" y="902"/>
                  </a:lnTo>
                  <a:lnTo>
                    <a:pt x="249" y="830"/>
                  </a:lnTo>
                  <a:lnTo>
                    <a:pt x="294" y="761"/>
                  </a:lnTo>
                  <a:lnTo>
                    <a:pt x="342" y="692"/>
                  </a:lnTo>
                  <a:lnTo>
                    <a:pt x="394" y="628"/>
                  </a:lnTo>
                  <a:lnTo>
                    <a:pt x="448" y="565"/>
                  </a:lnTo>
                  <a:lnTo>
                    <a:pt x="505" y="505"/>
                  </a:lnTo>
                  <a:lnTo>
                    <a:pt x="564" y="448"/>
                  </a:lnTo>
                  <a:lnTo>
                    <a:pt x="627" y="394"/>
                  </a:lnTo>
                  <a:lnTo>
                    <a:pt x="692" y="343"/>
                  </a:lnTo>
                  <a:lnTo>
                    <a:pt x="760" y="294"/>
                  </a:lnTo>
                  <a:lnTo>
                    <a:pt x="829" y="249"/>
                  </a:lnTo>
                  <a:lnTo>
                    <a:pt x="902" y="208"/>
                  </a:lnTo>
                  <a:lnTo>
                    <a:pt x="976" y="171"/>
                  </a:lnTo>
                  <a:lnTo>
                    <a:pt x="1053" y="136"/>
                  </a:lnTo>
                  <a:lnTo>
                    <a:pt x="1131" y="105"/>
                  </a:lnTo>
                  <a:lnTo>
                    <a:pt x="1211" y="77"/>
                  </a:lnTo>
                  <a:lnTo>
                    <a:pt x="1292" y="54"/>
                  </a:lnTo>
                  <a:lnTo>
                    <a:pt x="1376" y="36"/>
                  </a:lnTo>
                  <a:lnTo>
                    <a:pt x="1461" y="20"/>
                  </a:lnTo>
                  <a:lnTo>
                    <a:pt x="1547" y="9"/>
                  </a:lnTo>
                  <a:lnTo>
                    <a:pt x="1634" y="2"/>
                  </a:lnTo>
                  <a:lnTo>
                    <a:pt x="1723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/>
                </a:gs>
                <a:gs pos="87000">
                  <a:schemeClr val="bg1">
                    <a:lumMod val="75000"/>
                  </a:schemeClr>
                </a:gs>
                <a:gs pos="52000">
                  <a:schemeClr val="bg1">
                    <a:lumMod val="85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 w="9525">
              <a:noFill/>
              <a:round/>
              <a:headEnd/>
              <a:tailEnd/>
            </a:ln>
            <a:effectLst>
              <a:innerShdw blurRad="165100" dist="139700" dir="5400000">
                <a:prstClr val="black">
                  <a:alpha val="12000"/>
                </a:prstClr>
              </a:innerShdw>
            </a:effectLst>
          </p:spPr>
          <p:txBody>
            <a:bodyPr anchor="ctr"/>
            <a:lstStyle/>
            <a:p>
              <a:pPr algn="ctr"/>
              <a:endParaRPr lang="en-US">
                <a:solidFill>
                  <a:srgbClr val="FFFFFF"/>
                </a:solidFill>
                <a:latin typeface="Calibri" charset="0"/>
                <a:ea typeface="ＭＳ Ｐゴシック" charset="-128"/>
              </a:endParaRPr>
            </a:p>
          </p:txBody>
        </p:sp>
        <p:sp>
          <p:nvSpPr>
            <p:cNvPr id="48" name="Freeform 14"/>
            <p:cNvSpPr>
              <a:spLocks noEditPoints="1"/>
            </p:cNvSpPr>
            <p:nvPr>
              <p:custDataLst>
                <p:tags r:id="rId2"/>
              </p:custDataLst>
            </p:nvPr>
          </p:nvSpPr>
          <p:spPr bwMode="auto">
            <a:xfrm>
              <a:off x="2986002" y="1924063"/>
              <a:ext cx="2989946" cy="2989946"/>
            </a:xfrm>
            <a:custGeom>
              <a:avLst/>
              <a:gdLst>
                <a:gd name="T0" fmla="*/ 2511 w 2815"/>
                <a:gd name="T1" fmla="*/ 2234 h 2815"/>
                <a:gd name="T2" fmla="*/ 2654 w 2815"/>
                <a:gd name="T3" fmla="*/ 1402 h 2815"/>
                <a:gd name="T4" fmla="*/ 2286 w 2815"/>
                <a:gd name="T5" fmla="*/ 832 h 2815"/>
                <a:gd name="T6" fmla="*/ 1815 w 2815"/>
                <a:gd name="T7" fmla="*/ 592 h 2815"/>
                <a:gd name="T8" fmla="*/ 1124 w 2815"/>
                <a:gd name="T9" fmla="*/ 318 h 2815"/>
                <a:gd name="T10" fmla="*/ 453 w 2815"/>
                <a:gd name="T11" fmla="*/ 510 h 2815"/>
                <a:gd name="T12" fmla="*/ 75 w 2815"/>
                <a:gd name="T13" fmla="*/ 1061 h 2815"/>
                <a:gd name="T14" fmla="*/ 411 w 2815"/>
                <a:gd name="T15" fmla="*/ 454 h 2815"/>
                <a:gd name="T16" fmla="*/ 1292 w 2815"/>
                <a:gd name="T17" fmla="*/ 303 h 2815"/>
                <a:gd name="T18" fmla="*/ 2133 w 2815"/>
                <a:gd name="T19" fmla="*/ 663 h 2815"/>
                <a:gd name="T20" fmla="*/ 2604 w 2815"/>
                <a:gd name="T21" fmla="*/ 887 h 2815"/>
                <a:gd name="T22" fmla="*/ 2629 w 2815"/>
                <a:gd name="T23" fmla="*/ 924 h 2815"/>
                <a:gd name="T24" fmla="*/ 2430 w 2815"/>
                <a:gd name="T25" fmla="*/ 2304 h 2815"/>
                <a:gd name="T26" fmla="*/ 2408 w 2815"/>
                <a:gd name="T27" fmla="*/ 1822 h 2815"/>
                <a:gd name="T28" fmla="*/ 2271 w 2815"/>
                <a:gd name="T29" fmla="*/ 1433 h 2815"/>
                <a:gd name="T30" fmla="*/ 2060 w 2815"/>
                <a:gd name="T31" fmla="*/ 1326 h 2815"/>
                <a:gd name="T32" fmla="*/ 1753 w 2815"/>
                <a:gd name="T33" fmla="*/ 576 h 2815"/>
                <a:gd name="T34" fmla="*/ 991 w 2815"/>
                <a:gd name="T35" fmla="*/ 209 h 2815"/>
                <a:gd name="T36" fmla="*/ 2053 w 2815"/>
                <a:gd name="T37" fmla="*/ 2625 h 2815"/>
                <a:gd name="T38" fmla="*/ 1839 w 2815"/>
                <a:gd name="T39" fmla="*/ 2551 h 2815"/>
                <a:gd name="T40" fmla="*/ 1856 w 2815"/>
                <a:gd name="T41" fmla="*/ 2377 h 2815"/>
                <a:gd name="T42" fmla="*/ 2102 w 2815"/>
                <a:gd name="T43" fmla="*/ 1958 h 2815"/>
                <a:gd name="T44" fmla="*/ 1806 w 2815"/>
                <a:gd name="T45" fmla="*/ 841 h 2815"/>
                <a:gd name="T46" fmla="*/ 946 w 2815"/>
                <a:gd name="T47" fmla="*/ 116 h 2815"/>
                <a:gd name="T48" fmla="*/ 1173 w 2815"/>
                <a:gd name="T49" fmla="*/ 157 h 2815"/>
                <a:gd name="T50" fmla="*/ 813 w 2815"/>
                <a:gd name="T51" fmla="*/ 2683 h 2815"/>
                <a:gd name="T52" fmla="*/ 29 w 2815"/>
                <a:gd name="T53" fmla="*/ 1125 h 2815"/>
                <a:gd name="T54" fmla="*/ 1056 w 2815"/>
                <a:gd name="T55" fmla="*/ 45 h 2815"/>
                <a:gd name="T56" fmla="*/ 2493 w 2815"/>
                <a:gd name="T57" fmla="*/ 513 h 2815"/>
                <a:gd name="T58" fmla="*/ 2675 w 2815"/>
                <a:gd name="T59" fmla="*/ 2017 h 2815"/>
                <a:gd name="T60" fmla="*/ 1724 w 2815"/>
                <a:gd name="T61" fmla="*/ 2750 h 2815"/>
                <a:gd name="T62" fmla="*/ 1473 w 2815"/>
                <a:gd name="T63" fmla="*/ 2113 h 2815"/>
                <a:gd name="T64" fmla="*/ 1682 w 2815"/>
                <a:gd name="T65" fmla="*/ 1188 h 2815"/>
                <a:gd name="T66" fmla="*/ 1341 w 2815"/>
                <a:gd name="T67" fmla="*/ 33 h 2815"/>
                <a:gd name="T68" fmla="*/ 2143 w 2815"/>
                <a:gd name="T69" fmla="*/ 484 h 2815"/>
                <a:gd name="T70" fmla="*/ 659 w 2815"/>
                <a:gd name="T71" fmla="*/ 680 h 2815"/>
                <a:gd name="T72" fmla="*/ 445 w 2815"/>
                <a:gd name="T73" fmla="*/ 878 h 2815"/>
                <a:gd name="T74" fmla="*/ 36 w 2815"/>
                <a:gd name="T75" fmla="*/ 1313 h 2815"/>
                <a:gd name="T76" fmla="*/ 1803 w 2815"/>
                <a:gd name="T77" fmla="*/ 322 h 2815"/>
                <a:gd name="T78" fmla="*/ 2678 w 2815"/>
                <a:gd name="T79" fmla="*/ 951 h 2815"/>
                <a:gd name="T80" fmla="*/ 1826 w 2815"/>
                <a:gd name="T81" fmla="*/ 252 h 2815"/>
                <a:gd name="T82" fmla="*/ 2480 w 2815"/>
                <a:gd name="T83" fmla="*/ 540 h 2815"/>
                <a:gd name="T84" fmla="*/ 1300 w 2815"/>
                <a:gd name="T85" fmla="*/ 378 h 2815"/>
                <a:gd name="T86" fmla="*/ 318 w 2815"/>
                <a:gd name="T87" fmla="*/ 1083 h 2815"/>
                <a:gd name="T88" fmla="*/ 305 w 2815"/>
                <a:gd name="T89" fmla="*/ 1673 h 2815"/>
                <a:gd name="T90" fmla="*/ 278 w 2815"/>
                <a:gd name="T91" fmla="*/ 1812 h 2815"/>
                <a:gd name="T92" fmla="*/ 1984 w 2815"/>
                <a:gd name="T93" fmla="*/ 171 h 2815"/>
                <a:gd name="T94" fmla="*/ 1513 w 2815"/>
                <a:gd name="T95" fmla="*/ 278 h 2815"/>
                <a:gd name="T96" fmla="*/ 822 w 2815"/>
                <a:gd name="T97" fmla="*/ 804 h 2815"/>
                <a:gd name="T98" fmla="*/ 737 w 2815"/>
                <a:gd name="T99" fmla="*/ 1379 h 2815"/>
                <a:gd name="T100" fmla="*/ 687 w 2815"/>
                <a:gd name="T101" fmla="*/ 1539 h 2815"/>
                <a:gd name="T102" fmla="*/ 439 w 2815"/>
                <a:gd name="T103" fmla="*/ 1843 h 2815"/>
                <a:gd name="T104" fmla="*/ 1778 w 2815"/>
                <a:gd name="T105" fmla="*/ 84 h 2815"/>
                <a:gd name="T106" fmla="*/ 1563 w 2815"/>
                <a:gd name="T107" fmla="*/ 131 h 2815"/>
                <a:gd name="T108" fmla="*/ 1061 w 2815"/>
                <a:gd name="T109" fmla="*/ 1105 h 2815"/>
                <a:gd name="T110" fmla="*/ 1025 w 2815"/>
                <a:gd name="T111" fmla="*/ 1122 h 2815"/>
                <a:gd name="T112" fmla="*/ 623 w 2815"/>
                <a:gd name="T113" fmla="*/ 2043 h 2815"/>
                <a:gd name="T114" fmla="*/ 687 w 2815"/>
                <a:gd name="T115" fmla="*/ 2537 h 2815"/>
                <a:gd name="T116" fmla="*/ 976 w 2815"/>
                <a:gd name="T117" fmla="*/ 2672 h 2815"/>
                <a:gd name="T118" fmla="*/ 1361 w 2815"/>
                <a:gd name="T119" fmla="*/ 466 h 2815"/>
                <a:gd name="T120" fmla="*/ 1050 w 2815"/>
                <a:gd name="T121" fmla="*/ 1598 h 2815"/>
                <a:gd name="T122" fmla="*/ 988 w 2815"/>
                <a:gd name="T123" fmla="*/ 2150 h 2815"/>
                <a:gd name="T124" fmla="*/ 1341 w 2815"/>
                <a:gd name="T125" fmla="*/ 2479 h 2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15" h="2815">
                  <a:moveTo>
                    <a:pt x="1421" y="1150"/>
                  </a:moveTo>
                  <a:lnTo>
                    <a:pt x="1453" y="1150"/>
                  </a:lnTo>
                  <a:lnTo>
                    <a:pt x="1484" y="1148"/>
                  </a:lnTo>
                  <a:lnTo>
                    <a:pt x="1517" y="1146"/>
                  </a:lnTo>
                  <a:lnTo>
                    <a:pt x="1548" y="1143"/>
                  </a:lnTo>
                  <a:lnTo>
                    <a:pt x="1578" y="1140"/>
                  </a:lnTo>
                  <a:lnTo>
                    <a:pt x="1608" y="1135"/>
                  </a:lnTo>
                  <a:lnTo>
                    <a:pt x="1637" y="1130"/>
                  </a:lnTo>
                  <a:lnTo>
                    <a:pt x="1667" y="1125"/>
                  </a:lnTo>
                  <a:lnTo>
                    <a:pt x="1655" y="1074"/>
                  </a:lnTo>
                  <a:lnTo>
                    <a:pt x="1641" y="1022"/>
                  </a:lnTo>
                  <a:lnTo>
                    <a:pt x="1627" y="972"/>
                  </a:lnTo>
                  <a:lnTo>
                    <a:pt x="1613" y="922"/>
                  </a:lnTo>
                  <a:lnTo>
                    <a:pt x="1598" y="872"/>
                  </a:lnTo>
                  <a:lnTo>
                    <a:pt x="1584" y="824"/>
                  </a:lnTo>
                  <a:lnTo>
                    <a:pt x="1570" y="777"/>
                  </a:lnTo>
                  <a:lnTo>
                    <a:pt x="1553" y="729"/>
                  </a:lnTo>
                  <a:lnTo>
                    <a:pt x="1521" y="736"/>
                  </a:lnTo>
                  <a:lnTo>
                    <a:pt x="1489" y="741"/>
                  </a:lnTo>
                  <a:lnTo>
                    <a:pt x="1455" y="743"/>
                  </a:lnTo>
                  <a:lnTo>
                    <a:pt x="1421" y="745"/>
                  </a:lnTo>
                  <a:lnTo>
                    <a:pt x="1421" y="1150"/>
                  </a:lnTo>
                  <a:close/>
                  <a:moveTo>
                    <a:pt x="2574" y="2144"/>
                  </a:moveTo>
                  <a:lnTo>
                    <a:pt x="2587" y="2122"/>
                  </a:lnTo>
                  <a:lnTo>
                    <a:pt x="2598" y="2100"/>
                  </a:lnTo>
                  <a:lnTo>
                    <a:pt x="2610" y="2077"/>
                  </a:lnTo>
                  <a:lnTo>
                    <a:pt x="2621" y="2055"/>
                  </a:lnTo>
                  <a:lnTo>
                    <a:pt x="2630" y="2032"/>
                  </a:lnTo>
                  <a:lnTo>
                    <a:pt x="2640" y="2011"/>
                  </a:lnTo>
                  <a:lnTo>
                    <a:pt x="2649" y="1987"/>
                  </a:lnTo>
                  <a:lnTo>
                    <a:pt x="2657" y="1966"/>
                  </a:lnTo>
                  <a:lnTo>
                    <a:pt x="2628" y="2001"/>
                  </a:lnTo>
                  <a:lnTo>
                    <a:pt x="2598" y="2036"/>
                  </a:lnTo>
                  <a:lnTo>
                    <a:pt x="2566" y="2069"/>
                  </a:lnTo>
                  <a:lnTo>
                    <a:pt x="2531" y="2102"/>
                  </a:lnTo>
                  <a:lnTo>
                    <a:pt x="2527" y="2125"/>
                  </a:lnTo>
                  <a:lnTo>
                    <a:pt x="2522" y="2146"/>
                  </a:lnTo>
                  <a:lnTo>
                    <a:pt x="2516" y="2169"/>
                  </a:lnTo>
                  <a:lnTo>
                    <a:pt x="2510" y="2191"/>
                  </a:lnTo>
                  <a:lnTo>
                    <a:pt x="2503" y="2212"/>
                  </a:lnTo>
                  <a:lnTo>
                    <a:pt x="2495" y="2234"/>
                  </a:lnTo>
                  <a:lnTo>
                    <a:pt x="2485" y="2255"/>
                  </a:lnTo>
                  <a:lnTo>
                    <a:pt x="2476" y="2275"/>
                  </a:lnTo>
                  <a:lnTo>
                    <a:pt x="2488" y="2262"/>
                  </a:lnTo>
                  <a:lnTo>
                    <a:pt x="2499" y="2248"/>
                  </a:lnTo>
                  <a:lnTo>
                    <a:pt x="2511" y="2234"/>
                  </a:lnTo>
                  <a:lnTo>
                    <a:pt x="2521" y="2220"/>
                  </a:lnTo>
                  <a:lnTo>
                    <a:pt x="2521" y="2221"/>
                  </a:lnTo>
                  <a:lnTo>
                    <a:pt x="2535" y="2202"/>
                  </a:lnTo>
                  <a:lnTo>
                    <a:pt x="2549" y="2183"/>
                  </a:lnTo>
                  <a:lnTo>
                    <a:pt x="2561" y="2164"/>
                  </a:lnTo>
                  <a:lnTo>
                    <a:pt x="2574" y="2144"/>
                  </a:lnTo>
                  <a:close/>
                  <a:moveTo>
                    <a:pt x="2680" y="1881"/>
                  </a:moveTo>
                  <a:lnTo>
                    <a:pt x="2685" y="1860"/>
                  </a:lnTo>
                  <a:lnTo>
                    <a:pt x="2688" y="1837"/>
                  </a:lnTo>
                  <a:lnTo>
                    <a:pt x="2692" y="1815"/>
                  </a:lnTo>
                  <a:lnTo>
                    <a:pt x="2695" y="1793"/>
                  </a:lnTo>
                  <a:lnTo>
                    <a:pt x="2697" y="1770"/>
                  </a:lnTo>
                  <a:lnTo>
                    <a:pt x="2698" y="1748"/>
                  </a:lnTo>
                  <a:lnTo>
                    <a:pt x="2700" y="1726"/>
                  </a:lnTo>
                  <a:lnTo>
                    <a:pt x="2701" y="1703"/>
                  </a:lnTo>
                  <a:lnTo>
                    <a:pt x="2700" y="1659"/>
                  </a:lnTo>
                  <a:lnTo>
                    <a:pt x="2697" y="1614"/>
                  </a:lnTo>
                  <a:lnTo>
                    <a:pt x="2692" y="1570"/>
                  </a:lnTo>
                  <a:lnTo>
                    <a:pt x="2685" y="1525"/>
                  </a:lnTo>
                  <a:lnTo>
                    <a:pt x="2669" y="1552"/>
                  </a:lnTo>
                  <a:lnTo>
                    <a:pt x="2651" y="1578"/>
                  </a:lnTo>
                  <a:lnTo>
                    <a:pt x="2632" y="1605"/>
                  </a:lnTo>
                  <a:lnTo>
                    <a:pt x="2612" y="1630"/>
                  </a:lnTo>
                  <a:lnTo>
                    <a:pt x="2591" y="1656"/>
                  </a:lnTo>
                  <a:lnTo>
                    <a:pt x="2569" y="1680"/>
                  </a:lnTo>
                  <a:lnTo>
                    <a:pt x="2546" y="1704"/>
                  </a:lnTo>
                  <a:lnTo>
                    <a:pt x="2522" y="1727"/>
                  </a:lnTo>
                  <a:lnTo>
                    <a:pt x="2530" y="1770"/>
                  </a:lnTo>
                  <a:lnTo>
                    <a:pt x="2536" y="1812"/>
                  </a:lnTo>
                  <a:lnTo>
                    <a:pt x="2541" y="1855"/>
                  </a:lnTo>
                  <a:lnTo>
                    <a:pt x="2544" y="1896"/>
                  </a:lnTo>
                  <a:lnTo>
                    <a:pt x="2545" y="1938"/>
                  </a:lnTo>
                  <a:lnTo>
                    <a:pt x="2544" y="1978"/>
                  </a:lnTo>
                  <a:lnTo>
                    <a:pt x="2543" y="2019"/>
                  </a:lnTo>
                  <a:lnTo>
                    <a:pt x="2538" y="2058"/>
                  </a:lnTo>
                  <a:lnTo>
                    <a:pt x="2559" y="2037"/>
                  </a:lnTo>
                  <a:lnTo>
                    <a:pt x="2579" y="2016"/>
                  </a:lnTo>
                  <a:lnTo>
                    <a:pt x="2598" y="1994"/>
                  </a:lnTo>
                  <a:lnTo>
                    <a:pt x="2617" y="1972"/>
                  </a:lnTo>
                  <a:lnTo>
                    <a:pt x="2634" y="1951"/>
                  </a:lnTo>
                  <a:lnTo>
                    <a:pt x="2650" y="1928"/>
                  </a:lnTo>
                  <a:lnTo>
                    <a:pt x="2665" y="1905"/>
                  </a:lnTo>
                  <a:lnTo>
                    <a:pt x="2680" y="1881"/>
                  </a:lnTo>
                  <a:close/>
                  <a:moveTo>
                    <a:pt x="2677" y="1485"/>
                  </a:moveTo>
                  <a:lnTo>
                    <a:pt x="2666" y="1444"/>
                  </a:lnTo>
                  <a:lnTo>
                    <a:pt x="2654" y="1402"/>
                  </a:lnTo>
                  <a:lnTo>
                    <a:pt x="2640" y="1362"/>
                  </a:lnTo>
                  <a:lnTo>
                    <a:pt x="2625" y="1322"/>
                  </a:lnTo>
                  <a:lnTo>
                    <a:pt x="2607" y="1281"/>
                  </a:lnTo>
                  <a:lnTo>
                    <a:pt x="2589" y="1242"/>
                  </a:lnTo>
                  <a:lnTo>
                    <a:pt x="2568" y="1203"/>
                  </a:lnTo>
                  <a:lnTo>
                    <a:pt x="2548" y="1164"/>
                  </a:lnTo>
                  <a:lnTo>
                    <a:pt x="2531" y="1188"/>
                  </a:lnTo>
                  <a:lnTo>
                    <a:pt x="2515" y="1211"/>
                  </a:lnTo>
                  <a:lnTo>
                    <a:pt x="2497" y="1235"/>
                  </a:lnTo>
                  <a:lnTo>
                    <a:pt x="2478" y="1257"/>
                  </a:lnTo>
                  <a:lnTo>
                    <a:pt x="2458" y="1280"/>
                  </a:lnTo>
                  <a:lnTo>
                    <a:pt x="2437" y="1302"/>
                  </a:lnTo>
                  <a:lnTo>
                    <a:pt x="2414" y="1323"/>
                  </a:lnTo>
                  <a:lnTo>
                    <a:pt x="2391" y="1343"/>
                  </a:lnTo>
                  <a:lnTo>
                    <a:pt x="2410" y="1386"/>
                  </a:lnTo>
                  <a:lnTo>
                    <a:pt x="2429" y="1430"/>
                  </a:lnTo>
                  <a:lnTo>
                    <a:pt x="2446" y="1472"/>
                  </a:lnTo>
                  <a:lnTo>
                    <a:pt x="2462" y="1515"/>
                  </a:lnTo>
                  <a:lnTo>
                    <a:pt x="2470" y="1538"/>
                  </a:lnTo>
                  <a:lnTo>
                    <a:pt x="2478" y="1560"/>
                  </a:lnTo>
                  <a:lnTo>
                    <a:pt x="2485" y="1583"/>
                  </a:lnTo>
                  <a:lnTo>
                    <a:pt x="2492" y="1606"/>
                  </a:lnTo>
                  <a:lnTo>
                    <a:pt x="2498" y="1628"/>
                  </a:lnTo>
                  <a:lnTo>
                    <a:pt x="2505" y="1651"/>
                  </a:lnTo>
                  <a:lnTo>
                    <a:pt x="2511" y="1673"/>
                  </a:lnTo>
                  <a:lnTo>
                    <a:pt x="2515" y="1696"/>
                  </a:lnTo>
                  <a:lnTo>
                    <a:pt x="2539" y="1672"/>
                  </a:lnTo>
                  <a:lnTo>
                    <a:pt x="2563" y="1646"/>
                  </a:lnTo>
                  <a:lnTo>
                    <a:pt x="2586" y="1621"/>
                  </a:lnTo>
                  <a:lnTo>
                    <a:pt x="2606" y="1595"/>
                  </a:lnTo>
                  <a:lnTo>
                    <a:pt x="2625" y="1568"/>
                  </a:lnTo>
                  <a:lnTo>
                    <a:pt x="2643" y="1540"/>
                  </a:lnTo>
                  <a:lnTo>
                    <a:pt x="2660" y="1513"/>
                  </a:lnTo>
                  <a:lnTo>
                    <a:pt x="2677" y="1485"/>
                  </a:lnTo>
                  <a:close/>
                  <a:moveTo>
                    <a:pt x="2531" y="1137"/>
                  </a:moveTo>
                  <a:lnTo>
                    <a:pt x="2523" y="1123"/>
                  </a:lnTo>
                  <a:lnTo>
                    <a:pt x="2514" y="1110"/>
                  </a:lnTo>
                  <a:lnTo>
                    <a:pt x="2506" y="1096"/>
                  </a:lnTo>
                  <a:lnTo>
                    <a:pt x="2497" y="1083"/>
                  </a:lnTo>
                  <a:lnTo>
                    <a:pt x="2470" y="1045"/>
                  </a:lnTo>
                  <a:lnTo>
                    <a:pt x="2443" y="1008"/>
                  </a:lnTo>
                  <a:lnTo>
                    <a:pt x="2414" y="971"/>
                  </a:lnTo>
                  <a:lnTo>
                    <a:pt x="2384" y="936"/>
                  </a:lnTo>
                  <a:lnTo>
                    <a:pt x="2353" y="900"/>
                  </a:lnTo>
                  <a:lnTo>
                    <a:pt x="2321" y="865"/>
                  </a:lnTo>
                  <a:lnTo>
                    <a:pt x="2286" y="832"/>
                  </a:lnTo>
                  <a:lnTo>
                    <a:pt x="2251" y="798"/>
                  </a:lnTo>
                  <a:lnTo>
                    <a:pt x="2241" y="817"/>
                  </a:lnTo>
                  <a:lnTo>
                    <a:pt x="2228" y="834"/>
                  </a:lnTo>
                  <a:lnTo>
                    <a:pt x="2216" y="853"/>
                  </a:lnTo>
                  <a:lnTo>
                    <a:pt x="2202" y="870"/>
                  </a:lnTo>
                  <a:lnTo>
                    <a:pt x="2187" y="886"/>
                  </a:lnTo>
                  <a:lnTo>
                    <a:pt x="2172" y="903"/>
                  </a:lnTo>
                  <a:lnTo>
                    <a:pt x="2156" y="919"/>
                  </a:lnTo>
                  <a:lnTo>
                    <a:pt x="2139" y="936"/>
                  </a:lnTo>
                  <a:lnTo>
                    <a:pt x="2173" y="982"/>
                  </a:lnTo>
                  <a:lnTo>
                    <a:pt x="2207" y="1028"/>
                  </a:lnTo>
                  <a:lnTo>
                    <a:pt x="2239" y="1075"/>
                  </a:lnTo>
                  <a:lnTo>
                    <a:pt x="2269" y="1123"/>
                  </a:lnTo>
                  <a:lnTo>
                    <a:pt x="2299" y="1172"/>
                  </a:lnTo>
                  <a:lnTo>
                    <a:pt x="2326" y="1220"/>
                  </a:lnTo>
                  <a:lnTo>
                    <a:pt x="2354" y="1269"/>
                  </a:lnTo>
                  <a:lnTo>
                    <a:pt x="2378" y="1318"/>
                  </a:lnTo>
                  <a:lnTo>
                    <a:pt x="2401" y="1297"/>
                  </a:lnTo>
                  <a:lnTo>
                    <a:pt x="2424" y="1275"/>
                  </a:lnTo>
                  <a:lnTo>
                    <a:pt x="2445" y="1254"/>
                  </a:lnTo>
                  <a:lnTo>
                    <a:pt x="2465" y="1232"/>
                  </a:lnTo>
                  <a:lnTo>
                    <a:pt x="2483" y="1209"/>
                  </a:lnTo>
                  <a:lnTo>
                    <a:pt x="2500" y="1184"/>
                  </a:lnTo>
                  <a:lnTo>
                    <a:pt x="2516" y="1161"/>
                  </a:lnTo>
                  <a:lnTo>
                    <a:pt x="2531" y="1137"/>
                  </a:lnTo>
                  <a:close/>
                  <a:moveTo>
                    <a:pt x="2231" y="779"/>
                  </a:moveTo>
                  <a:lnTo>
                    <a:pt x="2209" y="760"/>
                  </a:lnTo>
                  <a:lnTo>
                    <a:pt x="2187" y="741"/>
                  </a:lnTo>
                  <a:lnTo>
                    <a:pt x="2164" y="722"/>
                  </a:lnTo>
                  <a:lnTo>
                    <a:pt x="2142" y="704"/>
                  </a:lnTo>
                  <a:lnTo>
                    <a:pt x="2118" y="686"/>
                  </a:lnTo>
                  <a:lnTo>
                    <a:pt x="2095" y="668"/>
                  </a:lnTo>
                  <a:lnTo>
                    <a:pt x="2071" y="650"/>
                  </a:lnTo>
                  <a:lnTo>
                    <a:pt x="2046" y="634"/>
                  </a:lnTo>
                  <a:lnTo>
                    <a:pt x="2025" y="619"/>
                  </a:lnTo>
                  <a:lnTo>
                    <a:pt x="2003" y="604"/>
                  </a:lnTo>
                  <a:lnTo>
                    <a:pt x="1980" y="589"/>
                  </a:lnTo>
                  <a:lnTo>
                    <a:pt x="1957" y="575"/>
                  </a:lnTo>
                  <a:lnTo>
                    <a:pt x="1935" y="561"/>
                  </a:lnTo>
                  <a:lnTo>
                    <a:pt x="1910" y="547"/>
                  </a:lnTo>
                  <a:lnTo>
                    <a:pt x="1887" y="535"/>
                  </a:lnTo>
                  <a:lnTo>
                    <a:pt x="1864" y="522"/>
                  </a:lnTo>
                  <a:lnTo>
                    <a:pt x="1854" y="540"/>
                  </a:lnTo>
                  <a:lnTo>
                    <a:pt x="1843" y="558"/>
                  </a:lnTo>
                  <a:lnTo>
                    <a:pt x="1830" y="575"/>
                  </a:lnTo>
                  <a:lnTo>
                    <a:pt x="1815" y="592"/>
                  </a:lnTo>
                  <a:lnTo>
                    <a:pt x="1856" y="629"/>
                  </a:lnTo>
                  <a:lnTo>
                    <a:pt x="1897" y="666"/>
                  </a:lnTo>
                  <a:lnTo>
                    <a:pt x="1936" y="705"/>
                  </a:lnTo>
                  <a:lnTo>
                    <a:pt x="1975" y="745"/>
                  </a:lnTo>
                  <a:lnTo>
                    <a:pt x="2013" y="786"/>
                  </a:lnTo>
                  <a:lnTo>
                    <a:pt x="2050" y="827"/>
                  </a:lnTo>
                  <a:lnTo>
                    <a:pt x="2087" y="870"/>
                  </a:lnTo>
                  <a:lnTo>
                    <a:pt x="2121" y="914"/>
                  </a:lnTo>
                  <a:lnTo>
                    <a:pt x="2139" y="898"/>
                  </a:lnTo>
                  <a:lnTo>
                    <a:pt x="2154" y="883"/>
                  </a:lnTo>
                  <a:lnTo>
                    <a:pt x="2169" y="865"/>
                  </a:lnTo>
                  <a:lnTo>
                    <a:pt x="2184" y="849"/>
                  </a:lnTo>
                  <a:lnTo>
                    <a:pt x="2196" y="832"/>
                  </a:lnTo>
                  <a:lnTo>
                    <a:pt x="2209" y="815"/>
                  </a:lnTo>
                  <a:lnTo>
                    <a:pt x="2220" y="797"/>
                  </a:lnTo>
                  <a:lnTo>
                    <a:pt x="2231" y="779"/>
                  </a:lnTo>
                  <a:close/>
                  <a:moveTo>
                    <a:pt x="1840" y="508"/>
                  </a:moveTo>
                  <a:lnTo>
                    <a:pt x="1801" y="489"/>
                  </a:lnTo>
                  <a:lnTo>
                    <a:pt x="1761" y="470"/>
                  </a:lnTo>
                  <a:lnTo>
                    <a:pt x="1720" y="452"/>
                  </a:lnTo>
                  <a:lnTo>
                    <a:pt x="1680" y="436"/>
                  </a:lnTo>
                  <a:lnTo>
                    <a:pt x="1640" y="419"/>
                  </a:lnTo>
                  <a:lnTo>
                    <a:pt x="1598" y="404"/>
                  </a:lnTo>
                  <a:lnTo>
                    <a:pt x="1557" y="391"/>
                  </a:lnTo>
                  <a:lnTo>
                    <a:pt x="1515" y="378"/>
                  </a:lnTo>
                  <a:lnTo>
                    <a:pt x="1540" y="393"/>
                  </a:lnTo>
                  <a:lnTo>
                    <a:pt x="1564" y="407"/>
                  </a:lnTo>
                  <a:lnTo>
                    <a:pt x="1587" y="422"/>
                  </a:lnTo>
                  <a:lnTo>
                    <a:pt x="1611" y="437"/>
                  </a:lnTo>
                  <a:lnTo>
                    <a:pt x="1634" y="453"/>
                  </a:lnTo>
                  <a:lnTo>
                    <a:pt x="1657" y="469"/>
                  </a:lnTo>
                  <a:lnTo>
                    <a:pt x="1681" y="486"/>
                  </a:lnTo>
                  <a:lnTo>
                    <a:pt x="1703" y="502"/>
                  </a:lnTo>
                  <a:lnTo>
                    <a:pt x="1726" y="520"/>
                  </a:lnTo>
                  <a:lnTo>
                    <a:pt x="1749" y="538"/>
                  </a:lnTo>
                  <a:lnTo>
                    <a:pt x="1771" y="555"/>
                  </a:lnTo>
                  <a:lnTo>
                    <a:pt x="1794" y="575"/>
                  </a:lnTo>
                  <a:lnTo>
                    <a:pt x="1808" y="559"/>
                  </a:lnTo>
                  <a:lnTo>
                    <a:pt x="1819" y="543"/>
                  </a:lnTo>
                  <a:lnTo>
                    <a:pt x="1831" y="525"/>
                  </a:lnTo>
                  <a:lnTo>
                    <a:pt x="1840" y="508"/>
                  </a:lnTo>
                  <a:close/>
                  <a:moveTo>
                    <a:pt x="1276" y="328"/>
                  </a:moveTo>
                  <a:lnTo>
                    <a:pt x="1238" y="325"/>
                  </a:lnTo>
                  <a:lnTo>
                    <a:pt x="1200" y="322"/>
                  </a:lnTo>
                  <a:lnTo>
                    <a:pt x="1162" y="319"/>
                  </a:lnTo>
                  <a:lnTo>
                    <a:pt x="1124" y="318"/>
                  </a:lnTo>
                  <a:lnTo>
                    <a:pt x="1087" y="318"/>
                  </a:lnTo>
                  <a:lnTo>
                    <a:pt x="1049" y="319"/>
                  </a:lnTo>
                  <a:lnTo>
                    <a:pt x="1011" y="322"/>
                  </a:lnTo>
                  <a:lnTo>
                    <a:pt x="974" y="325"/>
                  </a:lnTo>
                  <a:lnTo>
                    <a:pt x="967" y="339"/>
                  </a:lnTo>
                  <a:lnTo>
                    <a:pt x="962" y="353"/>
                  </a:lnTo>
                  <a:lnTo>
                    <a:pt x="959" y="366"/>
                  </a:lnTo>
                  <a:lnTo>
                    <a:pt x="955" y="381"/>
                  </a:lnTo>
                  <a:lnTo>
                    <a:pt x="994" y="372"/>
                  </a:lnTo>
                  <a:lnTo>
                    <a:pt x="1033" y="363"/>
                  </a:lnTo>
                  <a:lnTo>
                    <a:pt x="1072" y="355"/>
                  </a:lnTo>
                  <a:lnTo>
                    <a:pt x="1112" y="348"/>
                  </a:lnTo>
                  <a:lnTo>
                    <a:pt x="1152" y="342"/>
                  </a:lnTo>
                  <a:lnTo>
                    <a:pt x="1193" y="336"/>
                  </a:lnTo>
                  <a:lnTo>
                    <a:pt x="1234" y="333"/>
                  </a:lnTo>
                  <a:lnTo>
                    <a:pt x="1276" y="328"/>
                  </a:lnTo>
                  <a:close/>
                  <a:moveTo>
                    <a:pt x="942" y="328"/>
                  </a:moveTo>
                  <a:lnTo>
                    <a:pt x="893" y="335"/>
                  </a:lnTo>
                  <a:lnTo>
                    <a:pt x="845" y="345"/>
                  </a:lnTo>
                  <a:lnTo>
                    <a:pt x="797" y="356"/>
                  </a:lnTo>
                  <a:lnTo>
                    <a:pt x="748" y="370"/>
                  </a:lnTo>
                  <a:lnTo>
                    <a:pt x="701" y="386"/>
                  </a:lnTo>
                  <a:lnTo>
                    <a:pt x="655" y="403"/>
                  </a:lnTo>
                  <a:lnTo>
                    <a:pt x="608" y="423"/>
                  </a:lnTo>
                  <a:lnTo>
                    <a:pt x="563" y="446"/>
                  </a:lnTo>
                  <a:lnTo>
                    <a:pt x="552" y="474"/>
                  </a:lnTo>
                  <a:lnTo>
                    <a:pt x="543" y="501"/>
                  </a:lnTo>
                  <a:lnTo>
                    <a:pt x="541" y="516"/>
                  </a:lnTo>
                  <a:lnTo>
                    <a:pt x="537" y="530"/>
                  </a:lnTo>
                  <a:lnTo>
                    <a:pt x="535" y="545"/>
                  </a:lnTo>
                  <a:lnTo>
                    <a:pt x="534" y="559"/>
                  </a:lnTo>
                  <a:lnTo>
                    <a:pt x="579" y="532"/>
                  </a:lnTo>
                  <a:lnTo>
                    <a:pt x="624" y="508"/>
                  </a:lnTo>
                  <a:lnTo>
                    <a:pt x="671" y="484"/>
                  </a:lnTo>
                  <a:lnTo>
                    <a:pt x="720" y="462"/>
                  </a:lnTo>
                  <a:lnTo>
                    <a:pt x="770" y="441"/>
                  </a:lnTo>
                  <a:lnTo>
                    <a:pt x="821" y="423"/>
                  </a:lnTo>
                  <a:lnTo>
                    <a:pt x="874" y="406"/>
                  </a:lnTo>
                  <a:lnTo>
                    <a:pt x="927" y="389"/>
                  </a:lnTo>
                  <a:lnTo>
                    <a:pt x="929" y="373"/>
                  </a:lnTo>
                  <a:lnTo>
                    <a:pt x="932" y="358"/>
                  </a:lnTo>
                  <a:lnTo>
                    <a:pt x="937" y="343"/>
                  </a:lnTo>
                  <a:lnTo>
                    <a:pt x="942" y="328"/>
                  </a:lnTo>
                  <a:close/>
                  <a:moveTo>
                    <a:pt x="526" y="466"/>
                  </a:moveTo>
                  <a:lnTo>
                    <a:pt x="489" y="487"/>
                  </a:lnTo>
                  <a:lnTo>
                    <a:pt x="453" y="510"/>
                  </a:lnTo>
                  <a:lnTo>
                    <a:pt x="419" y="535"/>
                  </a:lnTo>
                  <a:lnTo>
                    <a:pt x="383" y="561"/>
                  </a:lnTo>
                  <a:lnTo>
                    <a:pt x="350" y="589"/>
                  </a:lnTo>
                  <a:lnTo>
                    <a:pt x="316" y="619"/>
                  </a:lnTo>
                  <a:lnTo>
                    <a:pt x="283" y="650"/>
                  </a:lnTo>
                  <a:lnTo>
                    <a:pt x="250" y="683"/>
                  </a:lnTo>
                  <a:lnTo>
                    <a:pt x="248" y="689"/>
                  </a:lnTo>
                  <a:lnTo>
                    <a:pt x="246" y="696"/>
                  </a:lnTo>
                  <a:lnTo>
                    <a:pt x="239" y="713"/>
                  </a:lnTo>
                  <a:lnTo>
                    <a:pt x="233" y="731"/>
                  </a:lnTo>
                  <a:lnTo>
                    <a:pt x="227" y="749"/>
                  </a:lnTo>
                  <a:lnTo>
                    <a:pt x="223" y="767"/>
                  </a:lnTo>
                  <a:lnTo>
                    <a:pt x="219" y="786"/>
                  </a:lnTo>
                  <a:lnTo>
                    <a:pt x="216" y="804"/>
                  </a:lnTo>
                  <a:lnTo>
                    <a:pt x="214" y="823"/>
                  </a:lnTo>
                  <a:lnTo>
                    <a:pt x="212" y="841"/>
                  </a:lnTo>
                  <a:lnTo>
                    <a:pt x="233" y="815"/>
                  </a:lnTo>
                  <a:lnTo>
                    <a:pt x="256" y="788"/>
                  </a:lnTo>
                  <a:lnTo>
                    <a:pt x="280" y="763"/>
                  </a:lnTo>
                  <a:lnTo>
                    <a:pt x="305" y="737"/>
                  </a:lnTo>
                  <a:lnTo>
                    <a:pt x="330" y="713"/>
                  </a:lnTo>
                  <a:lnTo>
                    <a:pt x="356" y="689"/>
                  </a:lnTo>
                  <a:lnTo>
                    <a:pt x="383" y="666"/>
                  </a:lnTo>
                  <a:lnTo>
                    <a:pt x="412" y="644"/>
                  </a:lnTo>
                  <a:lnTo>
                    <a:pt x="434" y="627"/>
                  </a:lnTo>
                  <a:lnTo>
                    <a:pt x="458" y="610"/>
                  </a:lnTo>
                  <a:lnTo>
                    <a:pt x="481" y="593"/>
                  </a:lnTo>
                  <a:lnTo>
                    <a:pt x="505" y="577"/>
                  </a:lnTo>
                  <a:lnTo>
                    <a:pt x="507" y="548"/>
                  </a:lnTo>
                  <a:lnTo>
                    <a:pt x="512" y="521"/>
                  </a:lnTo>
                  <a:lnTo>
                    <a:pt x="518" y="493"/>
                  </a:lnTo>
                  <a:lnTo>
                    <a:pt x="526" y="466"/>
                  </a:lnTo>
                  <a:close/>
                  <a:moveTo>
                    <a:pt x="203" y="737"/>
                  </a:moveTo>
                  <a:lnTo>
                    <a:pt x="200" y="741"/>
                  </a:lnTo>
                  <a:lnTo>
                    <a:pt x="181" y="774"/>
                  </a:lnTo>
                  <a:lnTo>
                    <a:pt x="165" y="807"/>
                  </a:lnTo>
                  <a:lnTo>
                    <a:pt x="149" y="841"/>
                  </a:lnTo>
                  <a:lnTo>
                    <a:pt x="134" y="875"/>
                  </a:lnTo>
                  <a:lnTo>
                    <a:pt x="120" y="909"/>
                  </a:lnTo>
                  <a:lnTo>
                    <a:pt x="108" y="945"/>
                  </a:lnTo>
                  <a:lnTo>
                    <a:pt x="95" y="981"/>
                  </a:lnTo>
                  <a:lnTo>
                    <a:pt x="85" y="1016"/>
                  </a:lnTo>
                  <a:lnTo>
                    <a:pt x="87" y="1016"/>
                  </a:lnTo>
                  <a:lnTo>
                    <a:pt x="82" y="1031"/>
                  </a:lnTo>
                  <a:lnTo>
                    <a:pt x="79" y="1046"/>
                  </a:lnTo>
                  <a:lnTo>
                    <a:pt x="75" y="1061"/>
                  </a:lnTo>
                  <a:lnTo>
                    <a:pt x="73" y="1076"/>
                  </a:lnTo>
                  <a:lnTo>
                    <a:pt x="83" y="1050"/>
                  </a:lnTo>
                  <a:lnTo>
                    <a:pt x="96" y="1024"/>
                  </a:lnTo>
                  <a:lnTo>
                    <a:pt x="109" y="1000"/>
                  </a:lnTo>
                  <a:lnTo>
                    <a:pt x="123" y="975"/>
                  </a:lnTo>
                  <a:lnTo>
                    <a:pt x="136" y="951"/>
                  </a:lnTo>
                  <a:lnTo>
                    <a:pt x="151" y="926"/>
                  </a:lnTo>
                  <a:lnTo>
                    <a:pt x="166" y="902"/>
                  </a:lnTo>
                  <a:lnTo>
                    <a:pt x="184" y="879"/>
                  </a:lnTo>
                  <a:lnTo>
                    <a:pt x="184" y="878"/>
                  </a:lnTo>
                  <a:lnTo>
                    <a:pt x="184" y="878"/>
                  </a:lnTo>
                  <a:lnTo>
                    <a:pt x="184" y="860"/>
                  </a:lnTo>
                  <a:lnTo>
                    <a:pt x="185" y="841"/>
                  </a:lnTo>
                  <a:lnTo>
                    <a:pt x="186" y="824"/>
                  </a:lnTo>
                  <a:lnTo>
                    <a:pt x="188" y="807"/>
                  </a:lnTo>
                  <a:lnTo>
                    <a:pt x="191" y="789"/>
                  </a:lnTo>
                  <a:lnTo>
                    <a:pt x="194" y="771"/>
                  </a:lnTo>
                  <a:lnTo>
                    <a:pt x="199" y="754"/>
                  </a:lnTo>
                  <a:lnTo>
                    <a:pt x="203" y="737"/>
                  </a:lnTo>
                  <a:close/>
                  <a:moveTo>
                    <a:pt x="292" y="604"/>
                  </a:moveTo>
                  <a:lnTo>
                    <a:pt x="322" y="576"/>
                  </a:lnTo>
                  <a:lnTo>
                    <a:pt x="352" y="551"/>
                  </a:lnTo>
                  <a:lnTo>
                    <a:pt x="383" y="528"/>
                  </a:lnTo>
                  <a:lnTo>
                    <a:pt x="414" y="505"/>
                  </a:lnTo>
                  <a:lnTo>
                    <a:pt x="445" y="483"/>
                  </a:lnTo>
                  <a:lnTo>
                    <a:pt x="476" y="463"/>
                  </a:lnTo>
                  <a:lnTo>
                    <a:pt x="509" y="444"/>
                  </a:lnTo>
                  <a:lnTo>
                    <a:pt x="541" y="425"/>
                  </a:lnTo>
                  <a:lnTo>
                    <a:pt x="549" y="409"/>
                  </a:lnTo>
                  <a:lnTo>
                    <a:pt x="558" y="393"/>
                  </a:lnTo>
                  <a:lnTo>
                    <a:pt x="567" y="377"/>
                  </a:lnTo>
                  <a:lnTo>
                    <a:pt x="578" y="361"/>
                  </a:lnTo>
                  <a:lnTo>
                    <a:pt x="588" y="345"/>
                  </a:lnTo>
                  <a:lnTo>
                    <a:pt x="600" y="330"/>
                  </a:lnTo>
                  <a:lnTo>
                    <a:pt x="612" y="313"/>
                  </a:lnTo>
                  <a:lnTo>
                    <a:pt x="625" y="298"/>
                  </a:lnTo>
                  <a:lnTo>
                    <a:pt x="595" y="312"/>
                  </a:lnTo>
                  <a:lnTo>
                    <a:pt x="566" y="327"/>
                  </a:lnTo>
                  <a:lnTo>
                    <a:pt x="537" y="343"/>
                  </a:lnTo>
                  <a:lnTo>
                    <a:pt x="509" y="361"/>
                  </a:lnTo>
                  <a:lnTo>
                    <a:pt x="509" y="361"/>
                  </a:lnTo>
                  <a:lnTo>
                    <a:pt x="489" y="378"/>
                  </a:lnTo>
                  <a:lnTo>
                    <a:pt x="469" y="396"/>
                  </a:lnTo>
                  <a:lnTo>
                    <a:pt x="451" y="414"/>
                  </a:lnTo>
                  <a:lnTo>
                    <a:pt x="431" y="432"/>
                  </a:lnTo>
                  <a:lnTo>
                    <a:pt x="411" y="454"/>
                  </a:lnTo>
                  <a:lnTo>
                    <a:pt x="390" y="477"/>
                  </a:lnTo>
                  <a:lnTo>
                    <a:pt x="369" y="500"/>
                  </a:lnTo>
                  <a:lnTo>
                    <a:pt x="348" y="523"/>
                  </a:lnTo>
                  <a:lnTo>
                    <a:pt x="350" y="524"/>
                  </a:lnTo>
                  <a:lnTo>
                    <a:pt x="335" y="544"/>
                  </a:lnTo>
                  <a:lnTo>
                    <a:pt x="320" y="563"/>
                  </a:lnTo>
                  <a:lnTo>
                    <a:pt x="306" y="583"/>
                  </a:lnTo>
                  <a:lnTo>
                    <a:pt x="292" y="604"/>
                  </a:lnTo>
                  <a:close/>
                  <a:moveTo>
                    <a:pt x="582" y="406"/>
                  </a:moveTo>
                  <a:lnTo>
                    <a:pt x="627" y="385"/>
                  </a:lnTo>
                  <a:lnTo>
                    <a:pt x="673" y="366"/>
                  </a:lnTo>
                  <a:lnTo>
                    <a:pt x="719" y="350"/>
                  </a:lnTo>
                  <a:lnTo>
                    <a:pt x="765" y="336"/>
                  </a:lnTo>
                  <a:lnTo>
                    <a:pt x="813" y="324"/>
                  </a:lnTo>
                  <a:lnTo>
                    <a:pt x="860" y="313"/>
                  </a:lnTo>
                  <a:lnTo>
                    <a:pt x="908" y="305"/>
                  </a:lnTo>
                  <a:lnTo>
                    <a:pt x="957" y="298"/>
                  </a:lnTo>
                  <a:lnTo>
                    <a:pt x="966" y="282"/>
                  </a:lnTo>
                  <a:lnTo>
                    <a:pt x="976" y="267"/>
                  </a:lnTo>
                  <a:lnTo>
                    <a:pt x="989" y="252"/>
                  </a:lnTo>
                  <a:lnTo>
                    <a:pt x="1002" y="237"/>
                  </a:lnTo>
                  <a:lnTo>
                    <a:pt x="961" y="235"/>
                  </a:lnTo>
                  <a:lnTo>
                    <a:pt x="921" y="235"/>
                  </a:lnTo>
                  <a:lnTo>
                    <a:pt x="882" y="237"/>
                  </a:lnTo>
                  <a:lnTo>
                    <a:pt x="841" y="241"/>
                  </a:lnTo>
                  <a:lnTo>
                    <a:pt x="802" y="247"/>
                  </a:lnTo>
                  <a:lnTo>
                    <a:pt x="763" y="254"/>
                  </a:lnTo>
                  <a:lnTo>
                    <a:pt x="724" y="264"/>
                  </a:lnTo>
                  <a:lnTo>
                    <a:pt x="686" y="275"/>
                  </a:lnTo>
                  <a:lnTo>
                    <a:pt x="670" y="290"/>
                  </a:lnTo>
                  <a:lnTo>
                    <a:pt x="655" y="307"/>
                  </a:lnTo>
                  <a:lnTo>
                    <a:pt x="641" y="322"/>
                  </a:lnTo>
                  <a:lnTo>
                    <a:pt x="627" y="338"/>
                  </a:lnTo>
                  <a:lnTo>
                    <a:pt x="614" y="354"/>
                  </a:lnTo>
                  <a:lnTo>
                    <a:pt x="603" y="371"/>
                  </a:lnTo>
                  <a:lnTo>
                    <a:pt x="593" y="388"/>
                  </a:lnTo>
                  <a:lnTo>
                    <a:pt x="582" y="406"/>
                  </a:lnTo>
                  <a:close/>
                  <a:moveTo>
                    <a:pt x="990" y="295"/>
                  </a:moveTo>
                  <a:lnTo>
                    <a:pt x="1028" y="293"/>
                  </a:lnTo>
                  <a:lnTo>
                    <a:pt x="1065" y="292"/>
                  </a:lnTo>
                  <a:lnTo>
                    <a:pt x="1103" y="290"/>
                  </a:lnTo>
                  <a:lnTo>
                    <a:pt x="1141" y="292"/>
                  </a:lnTo>
                  <a:lnTo>
                    <a:pt x="1179" y="293"/>
                  </a:lnTo>
                  <a:lnTo>
                    <a:pt x="1217" y="295"/>
                  </a:lnTo>
                  <a:lnTo>
                    <a:pt x="1255" y="298"/>
                  </a:lnTo>
                  <a:lnTo>
                    <a:pt x="1292" y="303"/>
                  </a:lnTo>
                  <a:lnTo>
                    <a:pt x="1261" y="293"/>
                  </a:lnTo>
                  <a:lnTo>
                    <a:pt x="1229" y="281"/>
                  </a:lnTo>
                  <a:lnTo>
                    <a:pt x="1196" y="272"/>
                  </a:lnTo>
                  <a:lnTo>
                    <a:pt x="1165" y="264"/>
                  </a:lnTo>
                  <a:lnTo>
                    <a:pt x="1133" y="257"/>
                  </a:lnTo>
                  <a:lnTo>
                    <a:pt x="1101" y="250"/>
                  </a:lnTo>
                  <a:lnTo>
                    <a:pt x="1068" y="244"/>
                  </a:lnTo>
                  <a:lnTo>
                    <a:pt x="1037" y="241"/>
                  </a:lnTo>
                  <a:lnTo>
                    <a:pt x="1023" y="254"/>
                  </a:lnTo>
                  <a:lnTo>
                    <a:pt x="1012" y="267"/>
                  </a:lnTo>
                  <a:lnTo>
                    <a:pt x="1000" y="281"/>
                  </a:lnTo>
                  <a:lnTo>
                    <a:pt x="990" y="295"/>
                  </a:lnTo>
                  <a:close/>
                  <a:moveTo>
                    <a:pt x="1536" y="356"/>
                  </a:moveTo>
                  <a:lnTo>
                    <a:pt x="1576" y="369"/>
                  </a:lnTo>
                  <a:lnTo>
                    <a:pt x="1617" y="383"/>
                  </a:lnTo>
                  <a:lnTo>
                    <a:pt x="1656" y="396"/>
                  </a:lnTo>
                  <a:lnTo>
                    <a:pt x="1696" y="413"/>
                  </a:lnTo>
                  <a:lnTo>
                    <a:pt x="1735" y="429"/>
                  </a:lnTo>
                  <a:lnTo>
                    <a:pt x="1773" y="446"/>
                  </a:lnTo>
                  <a:lnTo>
                    <a:pt x="1813" y="464"/>
                  </a:lnTo>
                  <a:lnTo>
                    <a:pt x="1851" y="484"/>
                  </a:lnTo>
                  <a:lnTo>
                    <a:pt x="1855" y="467"/>
                  </a:lnTo>
                  <a:lnTo>
                    <a:pt x="1859" y="451"/>
                  </a:lnTo>
                  <a:lnTo>
                    <a:pt x="1861" y="433"/>
                  </a:lnTo>
                  <a:lnTo>
                    <a:pt x="1862" y="416"/>
                  </a:lnTo>
                  <a:lnTo>
                    <a:pt x="1862" y="410"/>
                  </a:lnTo>
                  <a:lnTo>
                    <a:pt x="1823" y="401"/>
                  </a:lnTo>
                  <a:lnTo>
                    <a:pt x="1784" y="392"/>
                  </a:lnTo>
                  <a:lnTo>
                    <a:pt x="1743" y="384"/>
                  </a:lnTo>
                  <a:lnTo>
                    <a:pt x="1703" y="376"/>
                  </a:lnTo>
                  <a:lnTo>
                    <a:pt x="1662" y="370"/>
                  </a:lnTo>
                  <a:lnTo>
                    <a:pt x="1620" y="364"/>
                  </a:lnTo>
                  <a:lnTo>
                    <a:pt x="1579" y="360"/>
                  </a:lnTo>
                  <a:lnTo>
                    <a:pt x="1536" y="356"/>
                  </a:lnTo>
                  <a:close/>
                  <a:moveTo>
                    <a:pt x="1875" y="497"/>
                  </a:moveTo>
                  <a:lnTo>
                    <a:pt x="1899" y="509"/>
                  </a:lnTo>
                  <a:lnTo>
                    <a:pt x="1923" y="523"/>
                  </a:lnTo>
                  <a:lnTo>
                    <a:pt x="1947" y="537"/>
                  </a:lnTo>
                  <a:lnTo>
                    <a:pt x="1970" y="551"/>
                  </a:lnTo>
                  <a:lnTo>
                    <a:pt x="1993" y="566"/>
                  </a:lnTo>
                  <a:lnTo>
                    <a:pt x="2016" y="581"/>
                  </a:lnTo>
                  <a:lnTo>
                    <a:pt x="2040" y="596"/>
                  </a:lnTo>
                  <a:lnTo>
                    <a:pt x="2063" y="611"/>
                  </a:lnTo>
                  <a:lnTo>
                    <a:pt x="2086" y="628"/>
                  </a:lnTo>
                  <a:lnTo>
                    <a:pt x="2110" y="645"/>
                  </a:lnTo>
                  <a:lnTo>
                    <a:pt x="2133" y="663"/>
                  </a:lnTo>
                  <a:lnTo>
                    <a:pt x="2156" y="680"/>
                  </a:lnTo>
                  <a:lnTo>
                    <a:pt x="2178" y="698"/>
                  </a:lnTo>
                  <a:lnTo>
                    <a:pt x="2201" y="717"/>
                  </a:lnTo>
                  <a:lnTo>
                    <a:pt x="2223" y="735"/>
                  </a:lnTo>
                  <a:lnTo>
                    <a:pt x="2245" y="755"/>
                  </a:lnTo>
                  <a:lnTo>
                    <a:pt x="2253" y="735"/>
                  </a:lnTo>
                  <a:lnTo>
                    <a:pt x="2261" y="716"/>
                  </a:lnTo>
                  <a:lnTo>
                    <a:pt x="2266" y="695"/>
                  </a:lnTo>
                  <a:lnTo>
                    <a:pt x="2272" y="675"/>
                  </a:lnTo>
                  <a:lnTo>
                    <a:pt x="2277" y="654"/>
                  </a:lnTo>
                  <a:lnTo>
                    <a:pt x="2280" y="634"/>
                  </a:lnTo>
                  <a:lnTo>
                    <a:pt x="2281" y="613"/>
                  </a:lnTo>
                  <a:lnTo>
                    <a:pt x="2283" y="592"/>
                  </a:lnTo>
                  <a:lnTo>
                    <a:pt x="2238" y="565"/>
                  </a:lnTo>
                  <a:lnTo>
                    <a:pt x="2193" y="539"/>
                  </a:lnTo>
                  <a:lnTo>
                    <a:pt x="2146" y="515"/>
                  </a:lnTo>
                  <a:lnTo>
                    <a:pt x="2097" y="493"/>
                  </a:lnTo>
                  <a:lnTo>
                    <a:pt x="2046" y="471"/>
                  </a:lnTo>
                  <a:lnTo>
                    <a:pt x="1996" y="452"/>
                  </a:lnTo>
                  <a:lnTo>
                    <a:pt x="1943" y="434"/>
                  </a:lnTo>
                  <a:lnTo>
                    <a:pt x="1890" y="418"/>
                  </a:lnTo>
                  <a:lnTo>
                    <a:pt x="1889" y="438"/>
                  </a:lnTo>
                  <a:lnTo>
                    <a:pt x="1885" y="457"/>
                  </a:lnTo>
                  <a:lnTo>
                    <a:pt x="1881" y="477"/>
                  </a:lnTo>
                  <a:lnTo>
                    <a:pt x="1875" y="497"/>
                  </a:lnTo>
                  <a:close/>
                  <a:moveTo>
                    <a:pt x="2265" y="773"/>
                  </a:moveTo>
                  <a:lnTo>
                    <a:pt x="2301" y="808"/>
                  </a:lnTo>
                  <a:lnTo>
                    <a:pt x="2337" y="842"/>
                  </a:lnTo>
                  <a:lnTo>
                    <a:pt x="2370" y="878"/>
                  </a:lnTo>
                  <a:lnTo>
                    <a:pt x="2402" y="915"/>
                  </a:lnTo>
                  <a:lnTo>
                    <a:pt x="2434" y="952"/>
                  </a:lnTo>
                  <a:lnTo>
                    <a:pt x="2463" y="990"/>
                  </a:lnTo>
                  <a:lnTo>
                    <a:pt x="2492" y="1029"/>
                  </a:lnTo>
                  <a:lnTo>
                    <a:pt x="2520" y="1068"/>
                  </a:lnTo>
                  <a:lnTo>
                    <a:pt x="2527" y="1078"/>
                  </a:lnTo>
                  <a:lnTo>
                    <a:pt x="2533" y="1089"/>
                  </a:lnTo>
                  <a:lnTo>
                    <a:pt x="2539" y="1099"/>
                  </a:lnTo>
                  <a:lnTo>
                    <a:pt x="2546" y="1110"/>
                  </a:lnTo>
                  <a:lnTo>
                    <a:pt x="2559" y="1083"/>
                  </a:lnTo>
                  <a:lnTo>
                    <a:pt x="2571" y="1057"/>
                  </a:lnTo>
                  <a:lnTo>
                    <a:pt x="2580" y="1029"/>
                  </a:lnTo>
                  <a:lnTo>
                    <a:pt x="2588" y="1001"/>
                  </a:lnTo>
                  <a:lnTo>
                    <a:pt x="2595" y="974"/>
                  </a:lnTo>
                  <a:lnTo>
                    <a:pt x="2599" y="945"/>
                  </a:lnTo>
                  <a:lnTo>
                    <a:pt x="2603" y="916"/>
                  </a:lnTo>
                  <a:lnTo>
                    <a:pt x="2604" y="887"/>
                  </a:lnTo>
                  <a:lnTo>
                    <a:pt x="2581" y="857"/>
                  </a:lnTo>
                  <a:lnTo>
                    <a:pt x="2557" y="827"/>
                  </a:lnTo>
                  <a:lnTo>
                    <a:pt x="2531" y="798"/>
                  </a:lnTo>
                  <a:lnTo>
                    <a:pt x="2505" y="771"/>
                  </a:lnTo>
                  <a:lnTo>
                    <a:pt x="2476" y="743"/>
                  </a:lnTo>
                  <a:lnTo>
                    <a:pt x="2447" y="717"/>
                  </a:lnTo>
                  <a:lnTo>
                    <a:pt x="2417" y="690"/>
                  </a:lnTo>
                  <a:lnTo>
                    <a:pt x="2386" y="665"/>
                  </a:lnTo>
                  <a:lnTo>
                    <a:pt x="2368" y="651"/>
                  </a:lnTo>
                  <a:lnTo>
                    <a:pt x="2348" y="637"/>
                  </a:lnTo>
                  <a:lnTo>
                    <a:pt x="2329" y="623"/>
                  </a:lnTo>
                  <a:lnTo>
                    <a:pt x="2309" y="610"/>
                  </a:lnTo>
                  <a:lnTo>
                    <a:pt x="2308" y="630"/>
                  </a:lnTo>
                  <a:lnTo>
                    <a:pt x="2304" y="652"/>
                  </a:lnTo>
                  <a:lnTo>
                    <a:pt x="2301" y="673"/>
                  </a:lnTo>
                  <a:lnTo>
                    <a:pt x="2296" y="694"/>
                  </a:lnTo>
                  <a:lnTo>
                    <a:pt x="2290" y="714"/>
                  </a:lnTo>
                  <a:lnTo>
                    <a:pt x="2283" y="734"/>
                  </a:lnTo>
                  <a:lnTo>
                    <a:pt x="2275" y="754"/>
                  </a:lnTo>
                  <a:lnTo>
                    <a:pt x="2265" y="773"/>
                  </a:lnTo>
                  <a:close/>
                  <a:moveTo>
                    <a:pt x="2563" y="1137"/>
                  </a:moveTo>
                  <a:lnTo>
                    <a:pt x="2584" y="1174"/>
                  </a:lnTo>
                  <a:lnTo>
                    <a:pt x="2604" y="1212"/>
                  </a:lnTo>
                  <a:lnTo>
                    <a:pt x="2624" y="1250"/>
                  </a:lnTo>
                  <a:lnTo>
                    <a:pt x="2641" y="1289"/>
                  </a:lnTo>
                  <a:lnTo>
                    <a:pt x="2656" y="1327"/>
                  </a:lnTo>
                  <a:lnTo>
                    <a:pt x="2671" y="1368"/>
                  </a:lnTo>
                  <a:lnTo>
                    <a:pt x="2683" y="1407"/>
                  </a:lnTo>
                  <a:lnTo>
                    <a:pt x="2695" y="1446"/>
                  </a:lnTo>
                  <a:lnTo>
                    <a:pt x="2708" y="1415"/>
                  </a:lnTo>
                  <a:lnTo>
                    <a:pt x="2719" y="1384"/>
                  </a:lnTo>
                  <a:lnTo>
                    <a:pt x="2730" y="1351"/>
                  </a:lnTo>
                  <a:lnTo>
                    <a:pt x="2738" y="1319"/>
                  </a:lnTo>
                  <a:lnTo>
                    <a:pt x="2743" y="1286"/>
                  </a:lnTo>
                  <a:lnTo>
                    <a:pt x="2748" y="1254"/>
                  </a:lnTo>
                  <a:lnTo>
                    <a:pt x="2751" y="1220"/>
                  </a:lnTo>
                  <a:lnTo>
                    <a:pt x="2753" y="1186"/>
                  </a:lnTo>
                  <a:lnTo>
                    <a:pt x="2753" y="1186"/>
                  </a:lnTo>
                  <a:lnTo>
                    <a:pt x="2741" y="1151"/>
                  </a:lnTo>
                  <a:lnTo>
                    <a:pt x="2730" y="1118"/>
                  </a:lnTo>
                  <a:lnTo>
                    <a:pt x="2716" y="1084"/>
                  </a:lnTo>
                  <a:lnTo>
                    <a:pt x="2701" y="1051"/>
                  </a:lnTo>
                  <a:lnTo>
                    <a:pt x="2685" y="1019"/>
                  </a:lnTo>
                  <a:lnTo>
                    <a:pt x="2667" y="986"/>
                  </a:lnTo>
                  <a:lnTo>
                    <a:pt x="2649" y="955"/>
                  </a:lnTo>
                  <a:lnTo>
                    <a:pt x="2629" y="924"/>
                  </a:lnTo>
                  <a:lnTo>
                    <a:pt x="2626" y="952"/>
                  </a:lnTo>
                  <a:lnTo>
                    <a:pt x="2621" y="979"/>
                  </a:lnTo>
                  <a:lnTo>
                    <a:pt x="2616" y="1006"/>
                  </a:lnTo>
                  <a:lnTo>
                    <a:pt x="2607" y="1032"/>
                  </a:lnTo>
                  <a:lnTo>
                    <a:pt x="2598" y="1059"/>
                  </a:lnTo>
                  <a:lnTo>
                    <a:pt x="2588" y="1085"/>
                  </a:lnTo>
                  <a:lnTo>
                    <a:pt x="2576" y="1111"/>
                  </a:lnTo>
                  <a:lnTo>
                    <a:pt x="2563" y="1137"/>
                  </a:lnTo>
                  <a:close/>
                  <a:moveTo>
                    <a:pt x="2705" y="1489"/>
                  </a:moveTo>
                  <a:lnTo>
                    <a:pt x="2712" y="1527"/>
                  </a:lnTo>
                  <a:lnTo>
                    <a:pt x="2719" y="1566"/>
                  </a:lnTo>
                  <a:lnTo>
                    <a:pt x="2724" y="1605"/>
                  </a:lnTo>
                  <a:lnTo>
                    <a:pt x="2726" y="1644"/>
                  </a:lnTo>
                  <a:lnTo>
                    <a:pt x="2727" y="1683"/>
                  </a:lnTo>
                  <a:lnTo>
                    <a:pt x="2727" y="1722"/>
                  </a:lnTo>
                  <a:lnTo>
                    <a:pt x="2725" y="1762"/>
                  </a:lnTo>
                  <a:lnTo>
                    <a:pt x="2722" y="1801"/>
                  </a:lnTo>
                  <a:lnTo>
                    <a:pt x="2731" y="1779"/>
                  </a:lnTo>
                  <a:lnTo>
                    <a:pt x="2739" y="1757"/>
                  </a:lnTo>
                  <a:lnTo>
                    <a:pt x="2746" y="1735"/>
                  </a:lnTo>
                  <a:lnTo>
                    <a:pt x="2753" y="1713"/>
                  </a:lnTo>
                  <a:lnTo>
                    <a:pt x="2753" y="1713"/>
                  </a:lnTo>
                  <a:lnTo>
                    <a:pt x="2761" y="1679"/>
                  </a:lnTo>
                  <a:lnTo>
                    <a:pt x="2766" y="1643"/>
                  </a:lnTo>
                  <a:lnTo>
                    <a:pt x="2772" y="1608"/>
                  </a:lnTo>
                  <a:lnTo>
                    <a:pt x="2777" y="1572"/>
                  </a:lnTo>
                  <a:lnTo>
                    <a:pt x="2781" y="1536"/>
                  </a:lnTo>
                  <a:lnTo>
                    <a:pt x="2784" y="1499"/>
                  </a:lnTo>
                  <a:lnTo>
                    <a:pt x="2786" y="1463"/>
                  </a:lnTo>
                  <a:lnTo>
                    <a:pt x="2787" y="1426"/>
                  </a:lnTo>
                  <a:lnTo>
                    <a:pt x="2787" y="1426"/>
                  </a:lnTo>
                  <a:lnTo>
                    <a:pt x="2786" y="1388"/>
                  </a:lnTo>
                  <a:lnTo>
                    <a:pt x="2783" y="1350"/>
                  </a:lnTo>
                  <a:lnTo>
                    <a:pt x="2779" y="1312"/>
                  </a:lnTo>
                  <a:lnTo>
                    <a:pt x="2773" y="1275"/>
                  </a:lnTo>
                  <a:lnTo>
                    <a:pt x="2769" y="1303"/>
                  </a:lnTo>
                  <a:lnTo>
                    <a:pt x="2763" y="1331"/>
                  </a:lnTo>
                  <a:lnTo>
                    <a:pt x="2756" y="1357"/>
                  </a:lnTo>
                  <a:lnTo>
                    <a:pt x="2748" y="1385"/>
                  </a:lnTo>
                  <a:lnTo>
                    <a:pt x="2739" y="1410"/>
                  </a:lnTo>
                  <a:lnTo>
                    <a:pt x="2728" y="1437"/>
                  </a:lnTo>
                  <a:lnTo>
                    <a:pt x="2717" y="1463"/>
                  </a:lnTo>
                  <a:lnTo>
                    <a:pt x="2705" y="1489"/>
                  </a:lnTo>
                  <a:close/>
                  <a:moveTo>
                    <a:pt x="2397" y="2356"/>
                  </a:moveTo>
                  <a:lnTo>
                    <a:pt x="2414" y="2331"/>
                  </a:lnTo>
                  <a:lnTo>
                    <a:pt x="2430" y="2304"/>
                  </a:lnTo>
                  <a:lnTo>
                    <a:pt x="2445" y="2277"/>
                  </a:lnTo>
                  <a:lnTo>
                    <a:pt x="2458" y="2249"/>
                  </a:lnTo>
                  <a:lnTo>
                    <a:pt x="2470" y="2220"/>
                  </a:lnTo>
                  <a:lnTo>
                    <a:pt x="2481" y="2191"/>
                  </a:lnTo>
                  <a:lnTo>
                    <a:pt x="2490" y="2161"/>
                  </a:lnTo>
                  <a:lnTo>
                    <a:pt x="2497" y="2131"/>
                  </a:lnTo>
                  <a:lnTo>
                    <a:pt x="2475" y="2150"/>
                  </a:lnTo>
                  <a:lnTo>
                    <a:pt x="2451" y="2168"/>
                  </a:lnTo>
                  <a:lnTo>
                    <a:pt x="2428" y="2186"/>
                  </a:lnTo>
                  <a:lnTo>
                    <a:pt x="2402" y="2203"/>
                  </a:lnTo>
                  <a:lnTo>
                    <a:pt x="2377" y="2220"/>
                  </a:lnTo>
                  <a:lnTo>
                    <a:pt x="2351" y="2236"/>
                  </a:lnTo>
                  <a:lnTo>
                    <a:pt x="2324" y="2252"/>
                  </a:lnTo>
                  <a:lnTo>
                    <a:pt x="2298" y="2267"/>
                  </a:lnTo>
                  <a:lnTo>
                    <a:pt x="2278" y="2278"/>
                  </a:lnTo>
                  <a:lnTo>
                    <a:pt x="2258" y="2288"/>
                  </a:lnTo>
                  <a:lnTo>
                    <a:pt x="2238" y="2299"/>
                  </a:lnTo>
                  <a:lnTo>
                    <a:pt x="2217" y="2308"/>
                  </a:lnTo>
                  <a:lnTo>
                    <a:pt x="2213" y="2338"/>
                  </a:lnTo>
                  <a:lnTo>
                    <a:pt x="2210" y="2367"/>
                  </a:lnTo>
                  <a:lnTo>
                    <a:pt x="2204" y="2393"/>
                  </a:lnTo>
                  <a:lnTo>
                    <a:pt x="2198" y="2421"/>
                  </a:lnTo>
                  <a:lnTo>
                    <a:pt x="2193" y="2446"/>
                  </a:lnTo>
                  <a:lnTo>
                    <a:pt x="2185" y="2470"/>
                  </a:lnTo>
                  <a:lnTo>
                    <a:pt x="2177" y="2493"/>
                  </a:lnTo>
                  <a:lnTo>
                    <a:pt x="2167" y="2515"/>
                  </a:lnTo>
                  <a:lnTo>
                    <a:pt x="2200" y="2498"/>
                  </a:lnTo>
                  <a:lnTo>
                    <a:pt x="2230" y="2479"/>
                  </a:lnTo>
                  <a:lnTo>
                    <a:pt x="2260" y="2461"/>
                  </a:lnTo>
                  <a:lnTo>
                    <a:pt x="2290" y="2441"/>
                  </a:lnTo>
                  <a:lnTo>
                    <a:pt x="2317" y="2421"/>
                  </a:lnTo>
                  <a:lnTo>
                    <a:pt x="2345" y="2400"/>
                  </a:lnTo>
                  <a:lnTo>
                    <a:pt x="2371" y="2378"/>
                  </a:lnTo>
                  <a:lnTo>
                    <a:pt x="2397" y="2356"/>
                  </a:lnTo>
                  <a:close/>
                  <a:moveTo>
                    <a:pt x="2506" y="2088"/>
                  </a:moveTo>
                  <a:lnTo>
                    <a:pt x="2512" y="2047"/>
                  </a:lnTo>
                  <a:lnTo>
                    <a:pt x="2515" y="2007"/>
                  </a:lnTo>
                  <a:lnTo>
                    <a:pt x="2518" y="1966"/>
                  </a:lnTo>
                  <a:lnTo>
                    <a:pt x="2518" y="1923"/>
                  </a:lnTo>
                  <a:lnTo>
                    <a:pt x="2515" y="1880"/>
                  </a:lnTo>
                  <a:lnTo>
                    <a:pt x="2512" y="1837"/>
                  </a:lnTo>
                  <a:lnTo>
                    <a:pt x="2506" y="1793"/>
                  </a:lnTo>
                  <a:lnTo>
                    <a:pt x="2498" y="1749"/>
                  </a:lnTo>
                  <a:lnTo>
                    <a:pt x="2469" y="1773"/>
                  </a:lnTo>
                  <a:lnTo>
                    <a:pt x="2439" y="1797"/>
                  </a:lnTo>
                  <a:lnTo>
                    <a:pt x="2408" y="1822"/>
                  </a:lnTo>
                  <a:lnTo>
                    <a:pt x="2376" y="1843"/>
                  </a:lnTo>
                  <a:lnTo>
                    <a:pt x="2336" y="1869"/>
                  </a:lnTo>
                  <a:lnTo>
                    <a:pt x="2295" y="1894"/>
                  </a:lnTo>
                  <a:lnTo>
                    <a:pt x="2253" y="1917"/>
                  </a:lnTo>
                  <a:lnTo>
                    <a:pt x="2209" y="1939"/>
                  </a:lnTo>
                  <a:lnTo>
                    <a:pt x="2212" y="1971"/>
                  </a:lnTo>
                  <a:lnTo>
                    <a:pt x="2216" y="2004"/>
                  </a:lnTo>
                  <a:lnTo>
                    <a:pt x="2219" y="2035"/>
                  </a:lnTo>
                  <a:lnTo>
                    <a:pt x="2220" y="2066"/>
                  </a:lnTo>
                  <a:lnTo>
                    <a:pt x="2223" y="2097"/>
                  </a:lnTo>
                  <a:lnTo>
                    <a:pt x="2224" y="2127"/>
                  </a:lnTo>
                  <a:lnTo>
                    <a:pt x="2224" y="2157"/>
                  </a:lnTo>
                  <a:lnTo>
                    <a:pt x="2224" y="2186"/>
                  </a:lnTo>
                  <a:lnTo>
                    <a:pt x="2224" y="2209"/>
                  </a:lnTo>
                  <a:lnTo>
                    <a:pt x="2223" y="2232"/>
                  </a:lnTo>
                  <a:lnTo>
                    <a:pt x="2222" y="2255"/>
                  </a:lnTo>
                  <a:lnTo>
                    <a:pt x="2220" y="2277"/>
                  </a:lnTo>
                  <a:lnTo>
                    <a:pt x="2237" y="2269"/>
                  </a:lnTo>
                  <a:lnTo>
                    <a:pt x="2253" y="2261"/>
                  </a:lnTo>
                  <a:lnTo>
                    <a:pt x="2269" y="2252"/>
                  </a:lnTo>
                  <a:lnTo>
                    <a:pt x="2284" y="2243"/>
                  </a:lnTo>
                  <a:lnTo>
                    <a:pt x="2315" y="2226"/>
                  </a:lnTo>
                  <a:lnTo>
                    <a:pt x="2345" y="2208"/>
                  </a:lnTo>
                  <a:lnTo>
                    <a:pt x="2374" y="2189"/>
                  </a:lnTo>
                  <a:lnTo>
                    <a:pt x="2402" y="2169"/>
                  </a:lnTo>
                  <a:lnTo>
                    <a:pt x="2430" y="2150"/>
                  </a:lnTo>
                  <a:lnTo>
                    <a:pt x="2457" y="2130"/>
                  </a:lnTo>
                  <a:lnTo>
                    <a:pt x="2482" y="2110"/>
                  </a:lnTo>
                  <a:lnTo>
                    <a:pt x="2506" y="2088"/>
                  </a:lnTo>
                  <a:close/>
                  <a:moveTo>
                    <a:pt x="2492" y="1718"/>
                  </a:moveTo>
                  <a:lnTo>
                    <a:pt x="2486" y="1694"/>
                  </a:lnTo>
                  <a:lnTo>
                    <a:pt x="2481" y="1669"/>
                  </a:lnTo>
                  <a:lnTo>
                    <a:pt x="2475" y="1645"/>
                  </a:lnTo>
                  <a:lnTo>
                    <a:pt x="2468" y="1621"/>
                  </a:lnTo>
                  <a:lnTo>
                    <a:pt x="2461" y="1597"/>
                  </a:lnTo>
                  <a:lnTo>
                    <a:pt x="2453" y="1573"/>
                  </a:lnTo>
                  <a:lnTo>
                    <a:pt x="2445" y="1549"/>
                  </a:lnTo>
                  <a:lnTo>
                    <a:pt x="2437" y="1524"/>
                  </a:lnTo>
                  <a:lnTo>
                    <a:pt x="2422" y="1484"/>
                  </a:lnTo>
                  <a:lnTo>
                    <a:pt x="2406" y="1443"/>
                  </a:lnTo>
                  <a:lnTo>
                    <a:pt x="2387" y="1402"/>
                  </a:lnTo>
                  <a:lnTo>
                    <a:pt x="2369" y="1362"/>
                  </a:lnTo>
                  <a:lnTo>
                    <a:pt x="2346" y="1380"/>
                  </a:lnTo>
                  <a:lnTo>
                    <a:pt x="2322" y="1399"/>
                  </a:lnTo>
                  <a:lnTo>
                    <a:pt x="2296" y="1416"/>
                  </a:lnTo>
                  <a:lnTo>
                    <a:pt x="2271" y="1433"/>
                  </a:lnTo>
                  <a:lnTo>
                    <a:pt x="2235" y="1454"/>
                  </a:lnTo>
                  <a:lnTo>
                    <a:pt x="2198" y="1475"/>
                  </a:lnTo>
                  <a:lnTo>
                    <a:pt x="2159" y="1496"/>
                  </a:lnTo>
                  <a:lnTo>
                    <a:pt x="2120" y="1514"/>
                  </a:lnTo>
                  <a:lnTo>
                    <a:pt x="2128" y="1539"/>
                  </a:lnTo>
                  <a:lnTo>
                    <a:pt x="2135" y="1566"/>
                  </a:lnTo>
                  <a:lnTo>
                    <a:pt x="2142" y="1591"/>
                  </a:lnTo>
                  <a:lnTo>
                    <a:pt x="2148" y="1618"/>
                  </a:lnTo>
                  <a:lnTo>
                    <a:pt x="2157" y="1655"/>
                  </a:lnTo>
                  <a:lnTo>
                    <a:pt x="2166" y="1693"/>
                  </a:lnTo>
                  <a:lnTo>
                    <a:pt x="2174" y="1729"/>
                  </a:lnTo>
                  <a:lnTo>
                    <a:pt x="2181" y="1766"/>
                  </a:lnTo>
                  <a:lnTo>
                    <a:pt x="2188" y="1803"/>
                  </a:lnTo>
                  <a:lnTo>
                    <a:pt x="2195" y="1839"/>
                  </a:lnTo>
                  <a:lnTo>
                    <a:pt x="2200" y="1875"/>
                  </a:lnTo>
                  <a:lnTo>
                    <a:pt x="2205" y="1910"/>
                  </a:lnTo>
                  <a:lnTo>
                    <a:pt x="2246" y="1890"/>
                  </a:lnTo>
                  <a:lnTo>
                    <a:pt x="2285" y="1868"/>
                  </a:lnTo>
                  <a:lnTo>
                    <a:pt x="2323" y="1845"/>
                  </a:lnTo>
                  <a:lnTo>
                    <a:pt x="2360" y="1822"/>
                  </a:lnTo>
                  <a:lnTo>
                    <a:pt x="2395" y="1796"/>
                  </a:lnTo>
                  <a:lnTo>
                    <a:pt x="2429" y="1771"/>
                  </a:lnTo>
                  <a:lnTo>
                    <a:pt x="2461" y="1744"/>
                  </a:lnTo>
                  <a:lnTo>
                    <a:pt x="2492" y="1718"/>
                  </a:lnTo>
                  <a:close/>
                  <a:moveTo>
                    <a:pt x="2357" y="1337"/>
                  </a:moveTo>
                  <a:lnTo>
                    <a:pt x="2332" y="1287"/>
                  </a:lnTo>
                  <a:lnTo>
                    <a:pt x="2306" y="1239"/>
                  </a:lnTo>
                  <a:lnTo>
                    <a:pt x="2278" y="1189"/>
                  </a:lnTo>
                  <a:lnTo>
                    <a:pt x="2248" y="1141"/>
                  </a:lnTo>
                  <a:lnTo>
                    <a:pt x="2218" y="1093"/>
                  </a:lnTo>
                  <a:lnTo>
                    <a:pt x="2186" y="1046"/>
                  </a:lnTo>
                  <a:lnTo>
                    <a:pt x="2152" y="999"/>
                  </a:lnTo>
                  <a:lnTo>
                    <a:pt x="2118" y="953"/>
                  </a:lnTo>
                  <a:lnTo>
                    <a:pt x="2099" y="968"/>
                  </a:lnTo>
                  <a:lnTo>
                    <a:pt x="2082" y="982"/>
                  </a:lnTo>
                  <a:lnTo>
                    <a:pt x="2063" y="994"/>
                  </a:lnTo>
                  <a:lnTo>
                    <a:pt x="2043" y="1007"/>
                  </a:lnTo>
                  <a:lnTo>
                    <a:pt x="2021" y="1021"/>
                  </a:lnTo>
                  <a:lnTo>
                    <a:pt x="1998" y="1035"/>
                  </a:lnTo>
                  <a:lnTo>
                    <a:pt x="1975" y="1047"/>
                  </a:lnTo>
                  <a:lnTo>
                    <a:pt x="1951" y="1060"/>
                  </a:lnTo>
                  <a:lnTo>
                    <a:pt x="1975" y="1112"/>
                  </a:lnTo>
                  <a:lnTo>
                    <a:pt x="1997" y="1165"/>
                  </a:lnTo>
                  <a:lnTo>
                    <a:pt x="2019" y="1218"/>
                  </a:lnTo>
                  <a:lnTo>
                    <a:pt x="2040" y="1272"/>
                  </a:lnTo>
                  <a:lnTo>
                    <a:pt x="2060" y="1326"/>
                  </a:lnTo>
                  <a:lnTo>
                    <a:pt x="2079" y="1379"/>
                  </a:lnTo>
                  <a:lnTo>
                    <a:pt x="2096" y="1433"/>
                  </a:lnTo>
                  <a:lnTo>
                    <a:pt x="2112" y="1487"/>
                  </a:lnTo>
                  <a:lnTo>
                    <a:pt x="2150" y="1469"/>
                  </a:lnTo>
                  <a:lnTo>
                    <a:pt x="2187" y="1451"/>
                  </a:lnTo>
                  <a:lnTo>
                    <a:pt x="2222" y="1431"/>
                  </a:lnTo>
                  <a:lnTo>
                    <a:pt x="2256" y="1410"/>
                  </a:lnTo>
                  <a:lnTo>
                    <a:pt x="2283" y="1392"/>
                  </a:lnTo>
                  <a:lnTo>
                    <a:pt x="2308" y="1375"/>
                  </a:lnTo>
                  <a:lnTo>
                    <a:pt x="2333" y="1356"/>
                  </a:lnTo>
                  <a:lnTo>
                    <a:pt x="2357" y="1337"/>
                  </a:lnTo>
                  <a:close/>
                  <a:moveTo>
                    <a:pt x="2101" y="932"/>
                  </a:moveTo>
                  <a:lnTo>
                    <a:pt x="2066" y="888"/>
                  </a:lnTo>
                  <a:lnTo>
                    <a:pt x="2030" y="846"/>
                  </a:lnTo>
                  <a:lnTo>
                    <a:pt x="1993" y="804"/>
                  </a:lnTo>
                  <a:lnTo>
                    <a:pt x="1955" y="764"/>
                  </a:lnTo>
                  <a:lnTo>
                    <a:pt x="1916" y="724"/>
                  </a:lnTo>
                  <a:lnTo>
                    <a:pt x="1877" y="686"/>
                  </a:lnTo>
                  <a:lnTo>
                    <a:pt x="1837" y="648"/>
                  </a:lnTo>
                  <a:lnTo>
                    <a:pt x="1795" y="612"/>
                  </a:lnTo>
                  <a:lnTo>
                    <a:pt x="1784" y="622"/>
                  </a:lnTo>
                  <a:lnTo>
                    <a:pt x="1772" y="631"/>
                  </a:lnTo>
                  <a:lnTo>
                    <a:pt x="1760" y="641"/>
                  </a:lnTo>
                  <a:lnTo>
                    <a:pt x="1746" y="650"/>
                  </a:lnTo>
                  <a:lnTo>
                    <a:pt x="1735" y="657"/>
                  </a:lnTo>
                  <a:lnTo>
                    <a:pt x="1724" y="664"/>
                  </a:lnTo>
                  <a:lnTo>
                    <a:pt x="1752" y="704"/>
                  </a:lnTo>
                  <a:lnTo>
                    <a:pt x="1778" y="744"/>
                  </a:lnTo>
                  <a:lnTo>
                    <a:pt x="1805" y="786"/>
                  </a:lnTo>
                  <a:lnTo>
                    <a:pt x="1830" y="828"/>
                  </a:lnTo>
                  <a:lnTo>
                    <a:pt x="1854" y="871"/>
                  </a:lnTo>
                  <a:lnTo>
                    <a:pt x="1878" y="915"/>
                  </a:lnTo>
                  <a:lnTo>
                    <a:pt x="1901" y="959"/>
                  </a:lnTo>
                  <a:lnTo>
                    <a:pt x="1924" y="1004"/>
                  </a:lnTo>
                  <a:lnTo>
                    <a:pt x="1931" y="1019"/>
                  </a:lnTo>
                  <a:lnTo>
                    <a:pt x="1939" y="1035"/>
                  </a:lnTo>
                  <a:lnTo>
                    <a:pt x="1962" y="1023"/>
                  </a:lnTo>
                  <a:lnTo>
                    <a:pt x="1985" y="1010"/>
                  </a:lnTo>
                  <a:lnTo>
                    <a:pt x="2007" y="998"/>
                  </a:lnTo>
                  <a:lnTo>
                    <a:pt x="2028" y="985"/>
                  </a:lnTo>
                  <a:lnTo>
                    <a:pt x="2048" y="971"/>
                  </a:lnTo>
                  <a:lnTo>
                    <a:pt x="2066" y="959"/>
                  </a:lnTo>
                  <a:lnTo>
                    <a:pt x="2083" y="946"/>
                  </a:lnTo>
                  <a:lnTo>
                    <a:pt x="2101" y="932"/>
                  </a:lnTo>
                  <a:close/>
                  <a:moveTo>
                    <a:pt x="1775" y="593"/>
                  </a:moveTo>
                  <a:lnTo>
                    <a:pt x="1753" y="576"/>
                  </a:lnTo>
                  <a:lnTo>
                    <a:pt x="1731" y="558"/>
                  </a:lnTo>
                  <a:lnTo>
                    <a:pt x="1709" y="540"/>
                  </a:lnTo>
                  <a:lnTo>
                    <a:pt x="1686" y="524"/>
                  </a:lnTo>
                  <a:lnTo>
                    <a:pt x="1664" y="507"/>
                  </a:lnTo>
                  <a:lnTo>
                    <a:pt x="1641" y="491"/>
                  </a:lnTo>
                  <a:lnTo>
                    <a:pt x="1619" y="476"/>
                  </a:lnTo>
                  <a:lnTo>
                    <a:pt x="1596" y="460"/>
                  </a:lnTo>
                  <a:lnTo>
                    <a:pt x="1572" y="445"/>
                  </a:lnTo>
                  <a:lnTo>
                    <a:pt x="1549" y="430"/>
                  </a:lnTo>
                  <a:lnTo>
                    <a:pt x="1525" y="416"/>
                  </a:lnTo>
                  <a:lnTo>
                    <a:pt x="1502" y="402"/>
                  </a:lnTo>
                  <a:lnTo>
                    <a:pt x="1529" y="429"/>
                  </a:lnTo>
                  <a:lnTo>
                    <a:pt x="1556" y="456"/>
                  </a:lnTo>
                  <a:lnTo>
                    <a:pt x="1582" y="485"/>
                  </a:lnTo>
                  <a:lnTo>
                    <a:pt x="1609" y="515"/>
                  </a:lnTo>
                  <a:lnTo>
                    <a:pt x="1634" y="546"/>
                  </a:lnTo>
                  <a:lnTo>
                    <a:pt x="1659" y="577"/>
                  </a:lnTo>
                  <a:lnTo>
                    <a:pt x="1684" y="610"/>
                  </a:lnTo>
                  <a:lnTo>
                    <a:pt x="1709" y="642"/>
                  </a:lnTo>
                  <a:lnTo>
                    <a:pt x="1720" y="635"/>
                  </a:lnTo>
                  <a:lnTo>
                    <a:pt x="1731" y="628"/>
                  </a:lnTo>
                  <a:lnTo>
                    <a:pt x="1742" y="620"/>
                  </a:lnTo>
                  <a:lnTo>
                    <a:pt x="1754" y="611"/>
                  </a:lnTo>
                  <a:lnTo>
                    <a:pt x="1764" y="603"/>
                  </a:lnTo>
                  <a:lnTo>
                    <a:pt x="1775" y="593"/>
                  </a:lnTo>
                  <a:close/>
                  <a:moveTo>
                    <a:pt x="634" y="265"/>
                  </a:moveTo>
                  <a:lnTo>
                    <a:pt x="643" y="262"/>
                  </a:lnTo>
                  <a:lnTo>
                    <a:pt x="653" y="258"/>
                  </a:lnTo>
                  <a:lnTo>
                    <a:pt x="662" y="255"/>
                  </a:lnTo>
                  <a:lnTo>
                    <a:pt x="671" y="251"/>
                  </a:lnTo>
                  <a:lnTo>
                    <a:pt x="682" y="242"/>
                  </a:lnTo>
                  <a:lnTo>
                    <a:pt x="693" y="232"/>
                  </a:lnTo>
                  <a:lnTo>
                    <a:pt x="704" y="222"/>
                  </a:lnTo>
                  <a:lnTo>
                    <a:pt x="717" y="213"/>
                  </a:lnTo>
                  <a:lnTo>
                    <a:pt x="695" y="226"/>
                  </a:lnTo>
                  <a:lnTo>
                    <a:pt x="674" y="239"/>
                  </a:lnTo>
                  <a:lnTo>
                    <a:pt x="654" y="251"/>
                  </a:lnTo>
                  <a:lnTo>
                    <a:pt x="634" y="265"/>
                  </a:lnTo>
                  <a:close/>
                  <a:moveTo>
                    <a:pt x="738" y="232"/>
                  </a:moveTo>
                  <a:lnTo>
                    <a:pt x="773" y="224"/>
                  </a:lnTo>
                  <a:lnTo>
                    <a:pt x="809" y="217"/>
                  </a:lnTo>
                  <a:lnTo>
                    <a:pt x="845" y="212"/>
                  </a:lnTo>
                  <a:lnTo>
                    <a:pt x="882" y="210"/>
                  </a:lnTo>
                  <a:lnTo>
                    <a:pt x="917" y="207"/>
                  </a:lnTo>
                  <a:lnTo>
                    <a:pt x="954" y="207"/>
                  </a:lnTo>
                  <a:lnTo>
                    <a:pt x="991" y="209"/>
                  </a:lnTo>
                  <a:lnTo>
                    <a:pt x="1028" y="212"/>
                  </a:lnTo>
                  <a:lnTo>
                    <a:pt x="1037" y="204"/>
                  </a:lnTo>
                  <a:lnTo>
                    <a:pt x="1048" y="196"/>
                  </a:lnTo>
                  <a:lnTo>
                    <a:pt x="1058" y="188"/>
                  </a:lnTo>
                  <a:lnTo>
                    <a:pt x="1068" y="181"/>
                  </a:lnTo>
                  <a:lnTo>
                    <a:pt x="1074" y="176"/>
                  </a:lnTo>
                  <a:lnTo>
                    <a:pt x="1081" y="173"/>
                  </a:lnTo>
                  <a:lnTo>
                    <a:pt x="1058" y="166"/>
                  </a:lnTo>
                  <a:lnTo>
                    <a:pt x="1035" y="160"/>
                  </a:lnTo>
                  <a:lnTo>
                    <a:pt x="1012" y="154"/>
                  </a:lnTo>
                  <a:lnTo>
                    <a:pt x="988" y="150"/>
                  </a:lnTo>
                  <a:lnTo>
                    <a:pt x="965" y="146"/>
                  </a:lnTo>
                  <a:lnTo>
                    <a:pt x="941" y="143"/>
                  </a:lnTo>
                  <a:lnTo>
                    <a:pt x="916" y="141"/>
                  </a:lnTo>
                  <a:lnTo>
                    <a:pt x="892" y="139"/>
                  </a:lnTo>
                  <a:lnTo>
                    <a:pt x="864" y="153"/>
                  </a:lnTo>
                  <a:lnTo>
                    <a:pt x="838" y="167"/>
                  </a:lnTo>
                  <a:lnTo>
                    <a:pt x="811" y="182"/>
                  </a:lnTo>
                  <a:lnTo>
                    <a:pt x="786" y="197"/>
                  </a:lnTo>
                  <a:lnTo>
                    <a:pt x="773" y="206"/>
                  </a:lnTo>
                  <a:lnTo>
                    <a:pt x="762" y="214"/>
                  </a:lnTo>
                  <a:lnTo>
                    <a:pt x="749" y="222"/>
                  </a:lnTo>
                  <a:lnTo>
                    <a:pt x="738" y="232"/>
                  </a:lnTo>
                  <a:close/>
                  <a:moveTo>
                    <a:pt x="1065" y="217"/>
                  </a:moveTo>
                  <a:lnTo>
                    <a:pt x="1095" y="221"/>
                  </a:lnTo>
                  <a:lnTo>
                    <a:pt x="1125" y="227"/>
                  </a:lnTo>
                  <a:lnTo>
                    <a:pt x="1155" y="233"/>
                  </a:lnTo>
                  <a:lnTo>
                    <a:pt x="1184" y="241"/>
                  </a:lnTo>
                  <a:lnTo>
                    <a:pt x="1214" y="249"/>
                  </a:lnTo>
                  <a:lnTo>
                    <a:pt x="1243" y="257"/>
                  </a:lnTo>
                  <a:lnTo>
                    <a:pt x="1272" y="267"/>
                  </a:lnTo>
                  <a:lnTo>
                    <a:pt x="1302" y="278"/>
                  </a:lnTo>
                  <a:lnTo>
                    <a:pt x="1279" y="264"/>
                  </a:lnTo>
                  <a:lnTo>
                    <a:pt x="1256" y="250"/>
                  </a:lnTo>
                  <a:lnTo>
                    <a:pt x="1233" y="237"/>
                  </a:lnTo>
                  <a:lnTo>
                    <a:pt x="1210" y="225"/>
                  </a:lnTo>
                  <a:lnTo>
                    <a:pt x="1187" y="214"/>
                  </a:lnTo>
                  <a:lnTo>
                    <a:pt x="1163" y="203"/>
                  </a:lnTo>
                  <a:lnTo>
                    <a:pt x="1140" y="194"/>
                  </a:lnTo>
                  <a:lnTo>
                    <a:pt x="1116" y="184"/>
                  </a:lnTo>
                  <a:lnTo>
                    <a:pt x="1099" y="194"/>
                  </a:lnTo>
                  <a:lnTo>
                    <a:pt x="1083" y="204"/>
                  </a:lnTo>
                  <a:lnTo>
                    <a:pt x="1074" y="210"/>
                  </a:lnTo>
                  <a:lnTo>
                    <a:pt x="1065" y="217"/>
                  </a:lnTo>
                  <a:close/>
                  <a:moveTo>
                    <a:pt x="2037" y="2635"/>
                  </a:moveTo>
                  <a:lnTo>
                    <a:pt x="2053" y="2625"/>
                  </a:lnTo>
                  <a:lnTo>
                    <a:pt x="2069" y="2612"/>
                  </a:lnTo>
                  <a:lnTo>
                    <a:pt x="2084" y="2597"/>
                  </a:lnTo>
                  <a:lnTo>
                    <a:pt x="2099" y="2581"/>
                  </a:lnTo>
                  <a:lnTo>
                    <a:pt x="2083" y="2588"/>
                  </a:lnTo>
                  <a:lnTo>
                    <a:pt x="2067" y="2595"/>
                  </a:lnTo>
                  <a:lnTo>
                    <a:pt x="2036" y="2607"/>
                  </a:lnTo>
                  <a:lnTo>
                    <a:pt x="2004" y="2620"/>
                  </a:lnTo>
                  <a:lnTo>
                    <a:pt x="1972" y="2631"/>
                  </a:lnTo>
                  <a:lnTo>
                    <a:pt x="1939" y="2643"/>
                  </a:lnTo>
                  <a:lnTo>
                    <a:pt x="1906" y="2653"/>
                  </a:lnTo>
                  <a:lnTo>
                    <a:pt x="1872" y="2663"/>
                  </a:lnTo>
                  <a:lnTo>
                    <a:pt x="1839" y="2672"/>
                  </a:lnTo>
                  <a:lnTo>
                    <a:pt x="1805" y="2681"/>
                  </a:lnTo>
                  <a:lnTo>
                    <a:pt x="1798" y="2696"/>
                  </a:lnTo>
                  <a:lnTo>
                    <a:pt x="1790" y="2711"/>
                  </a:lnTo>
                  <a:lnTo>
                    <a:pt x="1781" y="2726"/>
                  </a:lnTo>
                  <a:lnTo>
                    <a:pt x="1773" y="2739"/>
                  </a:lnTo>
                  <a:lnTo>
                    <a:pt x="1808" y="2728"/>
                  </a:lnTo>
                  <a:lnTo>
                    <a:pt x="1841" y="2718"/>
                  </a:lnTo>
                  <a:lnTo>
                    <a:pt x="1875" y="2706"/>
                  </a:lnTo>
                  <a:lnTo>
                    <a:pt x="1908" y="2694"/>
                  </a:lnTo>
                  <a:lnTo>
                    <a:pt x="1940" y="2680"/>
                  </a:lnTo>
                  <a:lnTo>
                    <a:pt x="1974" y="2666"/>
                  </a:lnTo>
                  <a:lnTo>
                    <a:pt x="2005" y="2651"/>
                  </a:lnTo>
                  <a:lnTo>
                    <a:pt x="2037" y="2635"/>
                  </a:lnTo>
                  <a:close/>
                  <a:moveTo>
                    <a:pt x="2128" y="2536"/>
                  </a:moveTo>
                  <a:lnTo>
                    <a:pt x="2139" y="2515"/>
                  </a:lnTo>
                  <a:lnTo>
                    <a:pt x="2149" y="2491"/>
                  </a:lnTo>
                  <a:lnTo>
                    <a:pt x="2158" y="2467"/>
                  </a:lnTo>
                  <a:lnTo>
                    <a:pt x="2166" y="2440"/>
                  </a:lnTo>
                  <a:lnTo>
                    <a:pt x="2173" y="2413"/>
                  </a:lnTo>
                  <a:lnTo>
                    <a:pt x="2179" y="2384"/>
                  </a:lnTo>
                  <a:lnTo>
                    <a:pt x="2185" y="2353"/>
                  </a:lnTo>
                  <a:lnTo>
                    <a:pt x="2188" y="2322"/>
                  </a:lnTo>
                  <a:lnTo>
                    <a:pt x="2150" y="2339"/>
                  </a:lnTo>
                  <a:lnTo>
                    <a:pt x="2110" y="2355"/>
                  </a:lnTo>
                  <a:lnTo>
                    <a:pt x="2068" y="2370"/>
                  </a:lnTo>
                  <a:lnTo>
                    <a:pt x="2027" y="2384"/>
                  </a:lnTo>
                  <a:lnTo>
                    <a:pt x="1984" y="2398"/>
                  </a:lnTo>
                  <a:lnTo>
                    <a:pt x="1942" y="2410"/>
                  </a:lnTo>
                  <a:lnTo>
                    <a:pt x="1898" y="2422"/>
                  </a:lnTo>
                  <a:lnTo>
                    <a:pt x="1853" y="2432"/>
                  </a:lnTo>
                  <a:lnTo>
                    <a:pt x="1851" y="2463"/>
                  </a:lnTo>
                  <a:lnTo>
                    <a:pt x="1847" y="2494"/>
                  </a:lnTo>
                  <a:lnTo>
                    <a:pt x="1844" y="2523"/>
                  </a:lnTo>
                  <a:lnTo>
                    <a:pt x="1839" y="2551"/>
                  </a:lnTo>
                  <a:lnTo>
                    <a:pt x="1834" y="2577"/>
                  </a:lnTo>
                  <a:lnTo>
                    <a:pt x="1829" y="2603"/>
                  </a:lnTo>
                  <a:lnTo>
                    <a:pt x="1822" y="2627"/>
                  </a:lnTo>
                  <a:lnTo>
                    <a:pt x="1816" y="2650"/>
                  </a:lnTo>
                  <a:lnTo>
                    <a:pt x="1847" y="2642"/>
                  </a:lnTo>
                  <a:lnTo>
                    <a:pt x="1878" y="2633"/>
                  </a:lnTo>
                  <a:lnTo>
                    <a:pt x="1909" y="2623"/>
                  </a:lnTo>
                  <a:lnTo>
                    <a:pt x="1939" y="2614"/>
                  </a:lnTo>
                  <a:lnTo>
                    <a:pt x="1969" y="2604"/>
                  </a:lnTo>
                  <a:lnTo>
                    <a:pt x="1998" y="2593"/>
                  </a:lnTo>
                  <a:lnTo>
                    <a:pt x="2027" y="2582"/>
                  </a:lnTo>
                  <a:lnTo>
                    <a:pt x="2056" y="2569"/>
                  </a:lnTo>
                  <a:lnTo>
                    <a:pt x="2074" y="2561"/>
                  </a:lnTo>
                  <a:lnTo>
                    <a:pt x="2093" y="2553"/>
                  </a:lnTo>
                  <a:lnTo>
                    <a:pt x="2110" y="2545"/>
                  </a:lnTo>
                  <a:lnTo>
                    <a:pt x="2128" y="2536"/>
                  </a:lnTo>
                  <a:close/>
                  <a:moveTo>
                    <a:pt x="2192" y="2290"/>
                  </a:moveTo>
                  <a:lnTo>
                    <a:pt x="2194" y="2265"/>
                  </a:lnTo>
                  <a:lnTo>
                    <a:pt x="2195" y="2239"/>
                  </a:lnTo>
                  <a:lnTo>
                    <a:pt x="2196" y="2212"/>
                  </a:lnTo>
                  <a:lnTo>
                    <a:pt x="2197" y="2186"/>
                  </a:lnTo>
                  <a:lnTo>
                    <a:pt x="2197" y="2158"/>
                  </a:lnTo>
                  <a:lnTo>
                    <a:pt x="2196" y="2129"/>
                  </a:lnTo>
                  <a:lnTo>
                    <a:pt x="2195" y="2102"/>
                  </a:lnTo>
                  <a:lnTo>
                    <a:pt x="2194" y="2072"/>
                  </a:lnTo>
                  <a:lnTo>
                    <a:pt x="2192" y="2043"/>
                  </a:lnTo>
                  <a:lnTo>
                    <a:pt x="2189" y="2013"/>
                  </a:lnTo>
                  <a:lnTo>
                    <a:pt x="2187" y="1983"/>
                  </a:lnTo>
                  <a:lnTo>
                    <a:pt x="2184" y="1952"/>
                  </a:lnTo>
                  <a:lnTo>
                    <a:pt x="2144" y="1969"/>
                  </a:lnTo>
                  <a:lnTo>
                    <a:pt x="2104" y="1985"/>
                  </a:lnTo>
                  <a:lnTo>
                    <a:pt x="2064" y="2001"/>
                  </a:lnTo>
                  <a:lnTo>
                    <a:pt x="2022" y="2015"/>
                  </a:lnTo>
                  <a:lnTo>
                    <a:pt x="1981" y="2029"/>
                  </a:lnTo>
                  <a:lnTo>
                    <a:pt x="1937" y="2042"/>
                  </a:lnTo>
                  <a:lnTo>
                    <a:pt x="1893" y="2054"/>
                  </a:lnTo>
                  <a:lnTo>
                    <a:pt x="1849" y="2065"/>
                  </a:lnTo>
                  <a:lnTo>
                    <a:pt x="1852" y="2106"/>
                  </a:lnTo>
                  <a:lnTo>
                    <a:pt x="1854" y="2145"/>
                  </a:lnTo>
                  <a:lnTo>
                    <a:pt x="1855" y="2184"/>
                  </a:lnTo>
                  <a:lnTo>
                    <a:pt x="1856" y="2224"/>
                  </a:lnTo>
                  <a:lnTo>
                    <a:pt x="1858" y="2262"/>
                  </a:lnTo>
                  <a:lnTo>
                    <a:pt x="1858" y="2297"/>
                  </a:lnTo>
                  <a:lnTo>
                    <a:pt x="1858" y="2333"/>
                  </a:lnTo>
                  <a:lnTo>
                    <a:pt x="1856" y="2369"/>
                  </a:lnTo>
                  <a:lnTo>
                    <a:pt x="1856" y="2377"/>
                  </a:lnTo>
                  <a:lnTo>
                    <a:pt x="1855" y="2386"/>
                  </a:lnTo>
                  <a:lnTo>
                    <a:pt x="1855" y="2395"/>
                  </a:lnTo>
                  <a:lnTo>
                    <a:pt x="1855" y="2403"/>
                  </a:lnTo>
                  <a:lnTo>
                    <a:pt x="1900" y="2393"/>
                  </a:lnTo>
                  <a:lnTo>
                    <a:pt x="1944" y="2381"/>
                  </a:lnTo>
                  <a:lnTo>
                    <a:pt x="1988" y="2369"/>
                  </a:lnTo>
                  <a:lnTo>
                    <a:pt x="2030" y="2355"/>
                  </a:lnTo>
                  <a:lnTo>
                    <a:pt x="2072" y="2340"/>
                  </a:lnTo>
                  <a:lnTo>
                    <a:pt x="2113" y="2324"/>
                  </a:lnTo>
                  <a:lnTo>
                    <a:pt x="2152" y="2308"/>
                  </a:lnTo>
                  <a:lnTo>
                    <a:pt x="2192" y="2290"/>
                  </a:lnTo>
                  <a:close/>
                  <a:moveTo>
                    <a:pt x="2179" y="1923"/>
                  </a:moveTo>
                  <a:lnTo>
                    <a:pt x="2174" y="1887"/>
                  </a:lnTo>
                  <a:lnTo>
                    <a:pt x="2169" y="1850"/>
                  </a:lnTo>
                  <a:lnTo>
                    <a:pt x="2163" y="1813"/>
                  </a:lnTo>
                  <a:lnTo>
                    <a:pt x="2156" y="1775"/>
                  </a:lnTo>
                  <a:lnTo>
                    <a:pt x="2148" y="1739"/>
                  </a:lnTo>
                  <a:lnTo>
                    <a:pt x="2140" y="1701"/>
                  </a:lnTo>
                  <a:lnTo>
                    <a:pt x="2131" y="1663"/>
                  </a:lnTo>
                  <a:lnTo>
                    <a:pt x="2121" y="1623"/>
                  </a:lnTo>
                  <a:lnTo>
                    <a:pt x="2116" y="1599"/>
                  </a:lnTo>
                  <a:lnTo>
                    <a:pt x="2109" y="1575"/>
                  </a:lnTo>
                  <a:lnTo>
                    <a:pt x="2102" y="1550"/>
                  </a:lnTo>
                  <a:lnTo>
                    <a:pt x="2095" y="1525"/>
                  </a:lnTo>
                  <a:lnTo>
                    <a:pt x="2060" y="1539"/>
                  </a:lnTo>
                  <a:lnTo>
                    <a:pt x="2025" y="1553"/>
                  </a:lnTo>
                  <a:lnTo>
                    <a:pt x="1989" y="1567"/>
                  </a:lnTo>
                  <a:lnTo>
                    <a:pt x="1952" y="1578"/>
                  </a:lnTo>
                  <a:lnTo>
                    <a:pt x="1914" y="1590"/>
                  </a:lnTo>
                  <a:lnTo>
                    <a:pt x="1875" y="1602"/>
                  </a:lnTo>
                  <a:lnTo>
                    <a:pt x="1836" y="1611"/>
                  </a:lnTo>
                  <a:lnTo>
                    <a:pt x="1796" y="1620"/>
                  </a:lnTo>
                  <a:lnTo>
                    <a:pt x="1805" y="1674"/>
                  </a:lnTo>
                  <a:lnTo>
                    <a:pt x="1813" y="1727"/>
                  </a:lnTo>
                  <a:lnTo>
                    <a:pt x="1819" y="1781"/>
                  </a:lnTo>
                  <a:lnTo>
                    <a:pt x="1826" y="1833"/>
                  </a:lnTo>
                  <a:lnTo>
                    <a:pt x="1832" y="1885"/>
                  </a:lnTo>
                  <a:lnTo>
                    <a:pt x="1838" y="1937"/>
                  </a:lnTo>
                  <a:lnTo>
                    <a:pt x="1843" y="1987"/>
                  </a:lnTo>
                  <a:lnTo>
                    <a:pt x="1847" y="2037"/>
                  </a:lnTo>
                  <a:lnTo>
                    <a:pt x="1891" y="2027"/>
                  </a:lnTo>
                  <a:lnTo>
                    <a:pt x="1935" y="2014"/>
                  </a:lnTo>
                  <a:lnTo>
                    <a:pt x="1977" y="2001"/>
                  </a:lnTo>
                  <a:lnTo>
                    <a:pt x="2020" y="1987"/>
                  </a:lnTo>
                  <a:lnTo>
                    <a:pt x="2061" y="1972"/>
                  </a:lnTo>
                  <a:lnTo>
                    <a:pt x="2102" y="1958"/>
                  </a:lnTo>
                  <a:lnTo>
                    <a:pt x="2141" y="1940"/>
                  </a:lnTo>
                  <a:lnTo>
                    <a:pt x="2179" y="1923"/>
                  </a:lnTo>
                  <a:close/>
                  <a:moveTo>
                    <a:pt x="2088" y="1499"/>
                  </a:moveTo>
                  <a:lnTo>
                    <a:pt x="2071" y="1445"/>
                  </a:lnTo>
                  <a:lnTo>
                    <a:pt x="2053" y="1391"/>
                  </a:lnTo>
                  <a:lnTo>
                    <a:pt x="2035" y="1338"/>
                  </a:lnTo>
                  <a:lnTo>
                    <a:pt x="2015" y="1284"/>
                  </a:lnTo>
                  <a:lnTo>
                    <a:pt x="1995" y="1229"/>
                  </a:lnTo>
                  <a:lnTo>
                    <a:pt x="1973" y="1176"/>
                  </a:lnTo>
                  <a:lnTo>
                    <a:pt x="1950" y="1123"/>
                  </a:lnTo>
                  <a:lnTo>
                    <a:pt x="1927" y="1072"/>
                  </a:lnTo>
                  <a:lnTo>
                    <a:pt x="1900" y="1083"/>
                  </a:lnTo>
                  <a:lnTo>
                    <a:pt x="1874" y="1093"/>
                  </a:lnTo>
                  <a:lnTo>
                    <a:pt x="1846" y="1104"/>
                  </a:lnTo>
                  <a:lnTo>
                    <a:pt x="1818" y="1113"/>
                  </a:lnTo>
                  <a:lnTo>
                    <a:pt x="1790" y="1122"/>
                  </a:lnTo>
                  <a:lnTo>
                    <a:pt x="1761" y="1131"/>
                  </a:lnTo>
                  <a:lnTo>
                    <a:pt x="1731" y="1138"/>
                  </a:lnTo>
                  <a:lnTo>
                    <a:pt x="1701" y="1146"/>
                  </a:lnTo>
                  <a:lnTo>
                    <a:pt x="1703" y="1158"/>
                  </a:lnTo>
                  <a:lnTo>
                    <a:pt x="1707" y="1169"/>
                  </a:lnTo>
                  <a:lnTo>
                    <a:pt x="1709" y="1182"/>
                  </a:lnTo>
                  <a:lnTo>
                    <a:pt x="1712" y="1194"/>
                  </a:lnTo>
                  <a:lnTo>
                    <a:pt x="1724" y="1243"/>
                  </a:lnTo>
                  <a:lnTo>
                    <a:pt x="1734" y="1293"/>
                  </a:lnTo>
                  <a:lnTo>
                    <a:pt x="1745" y="1343"/>
                  </a:lnTo>
                  <a:lnTo>
                    <a:pt x="1755" y="1393"/>
                  </a:lnTo>
                  <a:lnTo>
                    <a:pt x="1765" y="1444"/>
                  </a:lnTo>
                  <a:lnTo>
                    <a:pt x="1775" y="1493"/>
                  </a:lnTo>
                  <a:lnTo>
                    <a:pt x="1784" y="1543"/>
                  </a:lnTo>
                  <a:lnTo>
                    <a:pt x="1792" y="1592"/>
                  </a:lnTo>
                  <a:lnTo>
                    <a:pt x="1831" y="1584"/>
                  </a:lnTo>
                  <a:lnTo>
                    <a:pt x="1870" y="1574"/>
                  </a:lnTo>
                  <a:lnTo>
                    <a:pt x="1908" y="1563"/>
                  </a:lnTo>
                  <a:lnTo>
                    <a:pt x="1945" y="1552"/>
                  </a:lnTo>
                  <a:lnTo>
                    <a:pt x="1982" y="1540"/>
                  </a:lnTo>
                  <a:lnTo>
                    <a:pt x="2018" y="1527"/>
                  </a:lnTo>
                  <a:lnTo>
                    <a:pt x="2053" y="1513"/>
                  </a:lnTo>
                  <a:lnTo>
                    <a:pt x="2088" y="1499"/>
                  </a:lnTo>
                  <a:close/>
                  <a:moveTo>
                    <a:pt x="1914" y="1046"/>
                  </a:moveTo>
                  <a:lnTo>
                    <a:pt x="1907" y="1031"/>
                  </a:lnTo>
                  <a:lnTo>
                    <a:pt x="1899" y="1015"/>
                  </a:lnTo>
                  <a:lnTo>
                    <a:pt x="1877" y="970"/>
                  </a:lnTo>
                  <a:lnTo>
                    <a:pt x="1854" y="926"/>
                  </a:lnTo>
                  <a:lnTo>
                    <a:pt x="1830" y="884"/>
                  </a:lnTo>
                  <a:lnTo>
                    <a:pt x="1806" y="841"/>
                  </a:lnTo>
                  <a:lnTo>
                    <a:pt x="1780" y="798"/>
                  </a:lnTo>
                  <a:lnTo>
                    <a:pt x="1754" y="757"/>
                  </a:lnTo>
                  <a:lnTo>
                    <a:pt x="1727" y="717"/>
                  </a:lnTo>
                  <a:lnTo>
                    <a:pt x="1701" y="678"/>
                  </a:lnTo>
                  <a:lnTo>
                    <a:pt x="1672" y="691"/>
                  </a:lnTo>
                  <a:lnTo>
                    <a:pt x="1643" y="703"/>
                  </a:lnTo>
                  <a:lnTo>
                    <a:pt x="1612" y="714"/>
                  </a:lnTo>
                  <a:lnTo>
                    <a:pt x="1580" y="724"/>
                  </a:lnTo>
                  <a:lnTo>
                    <a:pt x="1596" y="771"/>
                  </a:lnTo>
                  <a:lnTo>
                    <a:pt x="1611" y="818"/>
                  </a:lnTo>
                  <a:lnTo>
                    <a:pt x="1626" y="866"/>
                  </a:lnTo>
                  <a:lnTo>
                    <a:pt x="1640" y="916"/>
                  </a:lnTo>
                  <a:lnTo>
                    <a:pt x="1654" y="966"/>
                  </a:lnTo>
                  <a:lnTo>
                    <a:pt x="1667" y="1016"/>
                  </a:lnTo>
                  <a:lnTo>
                    <a:pt x="1681" y="1068"/>
                  </a:lnTo>
                  <a:lnTo>
                    <a:pt x="1694" y="1120"/>
                  </a:lnTo>
                  <a:lnTo>
                    <a:pt x="1724" y="1113"/>
                  </a:lnTo>
                  <a:lnTo>
                    <a:pt x="1753" y="1105"/>
                  </a:lnTo>
                  <a:lnTo>
                    <a:pt x="1781" y="1097"/>
                  </a:lnTo>
                  <a:lnTo>
                    <a:pt x="1809" y="1088"/>
                  </a:lnTo>
                  <a:lnTo>
                    <a:pt x="1836" y="1078"/>
                  </a:lnTo>
                  <a:lnTo>
                    <a:pt x="1863" y="1068"/>
                  </a:lnTo>
                  <a:lnTo>
                    <a:pt x="1889" y="1058"/>
                  </a:lnTo>
                  <a:lnTo>
                    <a:pt x="1914" y="1046"/>
                  </a:lnTo>
                  <a:close/>
                  <a:moveTo>
                    <a:pt x="1685" y="654"/>
                  </a:moveTo>
                  <a:lnTo>
                    <a:pt x="1657" y="619"/>
                  </a:lnTo>
                  <a:lnTo>
                    <a:pt x="1629" y="582"/>
                  </a:lnTo>
                  <a:lnTo>
                    <a:pt x="1601" y="547"/>
                  </a:lnTo>
                  <a:lnTo>
                    <a:pt x="1572" y="514"/>
                  </a:lnTo>
                  <a:lnTo>
                    <a:pt x="1542" y="482"/>
                  </a:lnTo>
                  <a:lnTo>
                    <a:pt x="1511" y="449"/>
                  </a:lnTo>
                  <a:lnTo>
                    <a:pt x="1481" y="419"/>
                  </a:lnTo>
                  <a:lnTo>
                    <a:pt x="1449" y="391"/>
                  </a:lnTo>
                  <a:lnTo>
                    <a:pt x="1465" y="425"/>
                  </a:lnTo>
                  <a:lnTo>
                    <a:pt x="1481" y="461"/>
                  </a:lnTo>
                  <a:lnTo>
                    <a:pt x="1497" y="498"/>
                  </a:lnTo>
                  <a:lnTo>
                    <a:pt x="1512" y="536"/>
                  </a:lnTo>
                  <a:lnTo>
                    <a:pt x="1527" y="575"/>
                  </a:lnTo>
                  <a:lnTo>
                    <a:pt x="1542" y="614"/>
                  </a:lnTo>
                  <a:lnTo>
                    <a:pt x="1557" y="656"/>
                  </a:lnTo>
                  <a:lnTo>
                    <a:pt x="1572" y="697"/>
                  </a:lnTo>
                  <a:lnTo>
                    <a:pt x="1602" y="689"/>
                  </a:lnTo>
                  <a:lnTo>
                    <a:pt x="1631" y="679"/>
                  </a:lnTo>
                  <a:lnTo>
                    <a:pt x="1658" y="667"/>
                  </a:lnTo>
                  <a:lnTo>
                    <a:pt x="1685" y="654"/>
                  </a:lnTo>
                  <a:close/>
                  <a:moveTo>
                    <a:pt x="946" y="116"/>
                  </a:moveTo>
                  <a:lnTo>
                    <a:pt x="967" y="119"/>
                  </a:lnTo>
                  <a:lnTo>
                    <a:pt x="989" y="122"/>
                  </a:lnTo>
                  <a:lnTo>
                    <a:pt x="1010" y="127"/>
                  </a:lnTo>
                  <a:lnTo>
                    <a:pt x="1030" y="130"/>
                  </a:lnTo>
                  <a:lnTo>
                    <a:pt x="1072" y="142"/>
                  </a:lnTo>
                  <a:lnTo>
                    <a:pt x="1113" y="154"/>
                  </a:lnTo>
                  <a:lnTo>
                    <a:pt x="1140" y="142"/>
                  </a:lnTo>
                  <a:lnTo>
                    <a:pt x="1169" y="129"/>
                  </a:lnTo>
                  <a:lnTo>
                    <a:pt x="1197" y="119"/>
                  </a:lnTo>
                  <a:lnTo>
                    <a:pt x="1229" y="110"/>
                  </a:lnTo>
                  <a:lnTo>
                    <a:pt x="1217" y="99"/>
                  </a:lnTo>
                  <a:lnTo>
                    <a:pt x="1204" y="91"/>
                  </a:lnTo>
                  <a:lnTo>
                    <a:pt x="1193" y="83"/>
                  </a:lnTo>
                  <a:lnTo>
                    <a:pt x="1181" y="76"/>
                  </a:lnTo>
                  <a:lnTo>
                    <a:pt x="1169" y="70"/>
                  </a:lnTo>
                  <a:lnTo>
                    <a:pt x="1157" y="66"/>
                  </a:lnTo>
                  <a:lnTo>
                    <a:pt x="1146" y="62"/>
                  </a:lnTo>
                  <a:lnTo>
                    <a:pt x="1134" y="60"/>
                  </a:lnTo>
                  <a:lnTo>
                    <a:pt x="1109" y="66"/>
                  </a:lnTo>
                  <a:lnTo>
                    <a:pt x="1085" y="72"/>
                  </a:lnTo>
                  <a:lnTo>
                    <a:pt x="1060" y="77"/>
                  </a:lnTo>
                  <a:lnTo>
                    <a:pt x="1037" y="84"/>
                  </a:lnTo>
                  <a:lnTo>
                    <a:pt x="1013" y="92"/>
                  </a:lnTo>
                  <a:lnTo>
                    <a:pt x="990" y="99"/>
                  </a:lnTo>
                  <a:lnTo>
                    <a:pt x="968" y="107"/>
                  </a:lnTo>
                  <a:lnTo>
                    <a:pt x="946" y="116"/>
                  </a:lnTo>
                  <a:close/>
                  <a:moveTo>
                    <a:pt x="1148" y="167"/>
                  </a:moveTo>
                  <a:lnTo>
                    <a:pt x="1177" y="179"/>
                  </a:lnTo>
                  <a:lnTo>
                    <a:pt x="1204" y="191"/>
                  </a:lnTo>
                  <a:lnTo>
                    <a:pt x="1232" y="205"/>
                  </a:lnTo>
                  <a:lnTo>
                    <a:pt x="1258" y="220"/>
                  </a:lnTo>
                  <a:lnTo>
                    <a:pt x="1286" y="235"/>
                  </a:lnTo>
                  <a:lnTo>
                    <a:pt x="1313" y="252"/>
                  </a:lnTo>
                  <a:lnTo>
                    <a:pt x="1339" y="270"/>
                  </a:lnTo>
                  <a:lnTo>
                    <a:pt x="1364" y="288"/>
                  </a:lnTo>
                  <a:lnTo>
                    <a:pt x="1351" y="264"/>
                  </a:lnTo>
                  <a:lnTo>
                    <a:pt x="1336" y="241"/>
                  </a:lnTo>
                  <a:lnTo>
                    <a:pt x="1322" y="219"/>
                  </a:lnTo>
                  <a:lnTo>
                    <a:pt x="1307" y="198"/>
                  </a:lnTo>
                  <a:lnTo>
                    <a:pt x="1293" y="180"/>
                  </a:lnTo>
                  <a:lnTo>
                    <a:pt x="1279" y="163"/>
                  </a:lnTo>
                  <a:lnTo>
                    <a:pt x="1265" y="146"/>
                  </a:lnTo>
                  <a:lnTo>
                    <a:pt x="1252" y="131"/>
                  </a:lnTo>
                  <a:lnTo>
                    <a:pt x="1225" y="139"/>
                  </a:lnTo>
                  <a:lnTo>
                    <a:pt x="1199" y="148"/>
                  </a:lnTo>
                  <a:lnTo>
                    <a:pt x="1173" y="157"/>
                  </a:lnTo>
                  <a:lnTo>
                    <a:pt x="1148" y="167"/>
                  </a:lnTo>
                  <a:close/>
                  <a:moveTo>
                    <a:pt x="2147" y="2558"/>
                  </a:moveTo>
                  <a:lnTo>
                    <a:pt x="2140" y="2569"/>
                  </a:lnTo>
                  <a:lnTo>
                    <a:pt x="2132" y="2582"/>
                  </a:lnTo>
                  <a:lnTo>
                    <a:pt x="2163" y="2562"/>
                  </a:lnTo>
                  <a:lnTo>
                    <a:pt x="2194" y="2542"/>
                  </a:lnTo>
                  <a:lnTo>
                    <a:pt x="2224" y="2520"/>
                  </a:lnTo>
                  <a:lnTo>
                    <a:pt x="2253" y="2498"/>
                  </a:lnTo>
                  <a:lnTo>
                    <a:pt x="2227" y="2513"/>
                  </a:lnTo>
                  <a:lnTo>
                    <a:pt x="2201" y="2528"/>
                  </a:lnTo>
                  <a:lnTo>
                    <a:pt x="2174" y="2543"/>
                  </a:lnTo>
                  <a:lnTo>
                    <a:pt x="2147" y="2558"/>
                  </a:lnTo>
                  <a:close/>
                  <a:moveTo>
                    <a:pt x="2042" y="2664"/>
                  </a:moveTo>
                  <a:lnTo>
                    <a:pt x="2038" y="2666"/>
                  </a:lnTo>
                  <a:lnTo>
                    <a:pt x="2038" y="2666"/>
                  </a:lnTo>
                  <a:lnTo>
                    <a:pt x="2003" y="2683"/>
                  </a:lnTo>
                  <a:lnTo>
                    <a:pt x="1966" y="2699"/>
                  </a:lnTo>
                  <a:lnTo>
                    <a:pt x="1929" y="2714"/>
                  </a:lnTo>
                  <a:lnTo>
                    <a:pt x="1891" y="2729"/>
                  </a:lnTo>
                  <a:lnTo>
                    <a:pt x="1853" y="2742"/>
                  </a:lnTo>
                  <a:lnTo>
                    <a:pt x="1815" y="2755"/>
                  </a:lnTo>
                  <a:lnTo>
                    <a:pt x="1776" y="2766"/>
                  </a:lnTo>
                  <a:lnTo>
                    <a:pt x="1737" y="2776"/>
                  </a:lnTo>
                  <a:lnTo>
                    <a:pt x="1697" y="2785"/>
                  </a:lnTo>
                  <a:lnTo>
                    <a:pt x="1657" y="2793"/>
                  </a:lnTo>
                  <a:lnTo>
                    <a:pt x="1616" y="2800"/>
                  </a:lnTo>
                  <a:lnTo>
                    <a:pt x="1575" y="2804"/>
                  </a:lnTo>
                  <a:lnTo>
                    <a:pt x="1534" y="2809"/>
                  </a:lnTo>
                  <a:lnTo>
                    <a:pt x="1492" y="2812"/>
                  </a:lnTo>
                  <a:lnTo>
                    <a:pt x="1450" y="2814"/>
                  </a:lnTo>
                  <a:lnTo>
                    <a:pt x="1407" y="2815"/>
                  </a:lnTo>
                  <a:lnTo>
                    <a:pt x="1364" y="2814"/>
                  </a:lnTo>
                  <a:lnTo>
                    <a:pt x="1323" y="2812"/>
                  </a:lnTo>
                  <a:lnTo>
                    <a:pt x="1282" y="2809"/>
                  </a:lnTo>
                  <a:lnTo>
                    <a:pt x="1240" y="2804"/>
                  </a:lnTo>
                  <a:lnTo>
                    <a:pt x="1199" y="2800"/>
                  </a:lnTo>
                  <a:lnTo>
                    <a:pt x="1158" y="2793"/>
                  </a:lnTo>
                  <a:lnTo>
                    <a:pt x="1118" y="2785"/>
                  </a:lnTo>
                  <a:lnTo>
                    <a:pt x="1078" y="2776"/>
                  </a:lnTo>
                  <a:lnTo>
                    <a:pt x="1038" y="2766"/>
                  </a:lnTo>
                  <a:lnTo>
                    <a:pt x="999" y="2755"/>
                  </a:lnTo>
                  <a:lnTo>
                    <a:pt x="961" y="2742"/>
                  </a:lnTo>
                  <a:lnTo>
                    <a:pt x="923" y="2729"/>
                  </a:lnTo>
                  <a:lnTo>
                    <a:pt x="885" y="2714"/>
                  </a:lnTo>
                  <a:lnTo>
                    <a:pt x="848" y="2699"/>
                  </a:lnTo>
                  <a:lnTo>
                    <a:pt x="813" y="2683"/>
                  </a:lnTo>
                  <a:lnTo>
                    <a:pt x="777" y="2666"/>
                  </a:lnTo>
                  <a:lnTo>
                    <a:pt x="777" y="2666"/>
                  </a:lnTo>
                  <a:lnTo>
                    <a:pt x="773" y="2664"/>
                  </a:lnTo>
                  <a:lnTo>
                    <a:pt x="724" y="2637"/>
                  </a:lnTo>
                  <a:lnTo>
                    <a:pt x="676" y="2610"/>
                  </a:lnTo>
                  <a:lnTo>
                    <a:pt x="628" y="2580"/>
                  </a:lnTo>
                  <a:lnTo>
                    <a:pt x="582" y="2547"/>
                  </a:lnTo>
                  <a:lnTo>
                    <a:pt x="537" y="2514"/>
                  </a:lnTo>
                  <a:lnTo>
                    <a:pt x="495" y="2478"/>
                  </a:lnTo>
                  <a:lnTo>
                    <a:pt x="453" y="2441"/>
                  </a:lnTo>
                  <a:lnTo>
                    <a:pt x="413" y="2402"/>
                  </a:lnTo>
                  <a:lnTo>
                    <a:pt x="378" y="2367"/>
                  </a:lnTo>
                  <a:lnTo>
                    <a:pt x="345" y="2331"/>
                  </a:lnTo>
                  <a:lnTo>
                    <a:pt x="314" y="2293"/>
                  </a:lnTo>
                  <a:lnTo>
                    <a:pt x="283" y="2254"/>
                  </a:lnTo>
                  <a:lnTo>
                    <a:pt x="254" y="2213"/>
                  </a:lnTo>
                  <a:lnTo>
                    <a:pt x="226" y="2173"/>
                  </a:lnTo>
                  <a:lnTo>
                    <a:pt x="200" y="2130"/>
                  </a:lnTo>
                  <a:lnTo>
                    <a:pt x="176" y="2088"/>
                  </a:lnTo>
                  <a:lnTo>
                    <a:pt x="153" y="2044"/>
                  </a:lnTo>
                  <a:lnTo>
                    <a:pt x="131" y="1999"/>
                  </a:lnTo>
                  <a:lnTo>
                    <a:pt x="110" y="1953"/>
                  </a:lnTo>
                  <a:lnTo>
                    <a:pt x="91" y="1907"/>
                  </a:lnTo>
                  <a:lnTo>
                    <a:pt x="74" y="1860"/>
                  </a:lnTo>
                  <a:lnTo>
                    <a:pt x="59" y="1811"/>
                  </a:lnTo>
                  <a:lnTo>
                    <a:pt x="45" y="1762"/>
                  </a:lnTo>
                  <a:lnTo>
                    <a:pt x="34" y="1712"/>
                  </a:lnTo>
                  <a:lnTo>
                    <a:pt x="30" y="1701"/>
                  </a:lnTo>
                  <a:lnTo>
                    <a:pt x="28" y="1689"/>
                  </a:lnTo>
                  <a:lnTo>
                    <a:pt x="28" y="1689"/>
                  </a:lnTo>
                  <a:lnTo>
                    <a:pt x="22" y="1655"/>
                  </a:lnTo>
                  <a:lnTo>
                    <a:pt x="17" y="1620"/>
                  </a:lnTo>
                  <a:lnTo>
                    <a:pt x="12" y="1585"/>
                  </a:lnTo>
                  <a:lnTo>
                    <a:pt x="7" y="1551"/>
                  </a:lnTo>
                  <a:lnTo>
                    <a:pt x="4" y="1515"/>
                  </a:lnTo>
                  <a:lnTo>
                    <a:pt x="2" y="1479"/>
                  </a:lnTo>
                  <a:lnTo>
                    <a:pt x="0" y="1444"/>
                  </a:lnTo>
                  <a:lnTo>
                    <a:pt x="0" y="1408"/>
                  </a:lnTo>
                  <a:lnTo>
                    <a:pt x="0" y="1371"/>
                  </a:lnTo>
                  <a:lnTo>
                    <a:pt x="3" y="1335"/>
                  </a:lnTo>
                  <a:lnTo>
                    <a:pt x="4" y="1300"/>
                  </a:lnTo>
                  <a:lnTo>
                    <a:pt x="7" y="1264"/>
                  </a:lnTo>
                  <a:lnTo>
                    <a:pt x="12" y="1228"/>
                  </a:lnTo>
                  <a:lnTo>
                    <a:pt x="17" y="1194"/>
                  </a:lnTo>
                  <a:lnTo>
                    <a:pt x="22" y="1159"/>
                  </a:lnTo>
                  <a:lnTo>
                    <a:pt x="29" y="1125"/>
                  </a:lnTo>
                  <a:lnTo>
                    <a:pt x="36" y="1090"/>
                  </a:lnTo>
                  <a:lnTo>
                    <a:pt x="44" y="1057"/>
                  </a:lnTo>
                  <a:lnTo>
                    <a:pt x="53" y="1022"/>
                  </a:lnTo>
                  <a:lnTo>
                    <a:pt x="64" y="990"/>
                  </a:lnTo>
                  <a:lnTo>
                    <a:pt x="74" y="956"/>
                  </a:lnTo>
                  <a:lnTo>
                    <a:pt x="86" y="924"/>
                  </a:lnTo>
                  <a:lnTo>
                    <a:pt x="98" y="892"/>
                  </a:lnTo>
                  <a:lnTo>
                    <a:pt x="111" y="860"/>
                  </a:lnTo>
                  <a:lnTo>
                    <a:pt x="125" y="828"/>
                  </a:lnTo>
                  <a:lnTo>
                    <a:pt x="139" y="797"/>
                  </a:lnTo>
                  <a:lnTo>
                    <a:pt x="155" y="767"/>
                  </a:lnTo>
                  <a:lnTo>
                    <a:pt x="170" y="737"/>
                  </a:lnTo>
                  <a:lnTo>
                    <a:pt x="187" y="707"/>
                  </a:lnTo>
                  <a:lnTo>
                    <a:pt x="204" y="679"/>
                  </a:lnTo>
                  <a:lnTo>
                    <a:pt x="222" y="650"/>
                  </a:lnTo>
                  <a:lnTo>
                    <a:pt x="241" y="621"/>
                  </a:lnTo>
                  <a:lnTo>
                    <a:pt x="260" y="593"/>
                  </a:lnTo>
                  <a:lnTo>
                    <a:pt x="280" y="566"/>
                  </a:lnTo>
                  <a:lnTo>
                    <a:pt x="300" y="539"/>
                  </a:lnTo>
                  <a:lnTo>
                    <a:pt x="322" y="513"/>
                  </a:lnTo>
                  <a:lnTo>
                    <a:pt x="344" y="487"/>
                  </a:lnTo>
                  <a:lnTo>
                    <a:pt x="366" y="462"/>
                  </a:lnTo>
                  <a:lnTo>
                    <a:pt x="389" y="437"/>
                  </a:lnTo>
                  <a:lnTo>
                    <a:pt x="413" y="413"/>
                  </a:lnTo>
                  <a:lnTo>
                    <a:pt x="437" y="389"/>
                  </a:lnTo>
                  <a:lnTo>
                    <a:pt x="461" y="366"/>
                  </a:lnTo>
                  <a:lnTo>
                    <a:pt x="487" y="343"/>
                  </a:lnTo>
                  <a:lnTo>
                    <a:pt x="512" y="322"/>
                  </a:lnTo>
                  <a:lnTo>
                    <a:pt x="538" y="301"/>
                  </a:lnTo>
                  <a:lnTo>
                    <a:pt x="566" y="280"/>
                  </a:lnTo>
                  <a:lnTo>
                    <a:pt x="593" y="260"/>
                  </a:lnTo>
                  <a:lnTo>
                    <a:pt x="620" y="241"/>
                  </a:lnTo>
                  <a:lnTo>
                    <a:pt x="649" y="222"/>
                  </a:lnTo>
                  <a:lnTo>
                    <a:pt x="678" y="204"/>
                  </a:lnTo>
                  <a:lnTo>
                    <a:pt x="707" y="187"/>
                  </a:lnTo>
                  <a:lnTo>
                    <a:pt x="737" y="171"/>
                  </a:lnTo>
                  <a:lnTo>
                    <a:pt x="767" y="154"/>
                  </a:lnTo>
                  <a:lnTo>
                    <a:pt x="798" y="139"/>
                  </a:lnTo>
                  <a:lnTo>
                    <a:pt x="829" y="125"/>
                  </a:lnTo>
                  <a:lnTo>
                    <a:pt x="860" y="111"/>
                  </a:lnTo>
                  <a:lnTo>
                    <a:pt x="891" y="98"/>
                  </a:lnTo>
                  <a:lnTo>
                    <a:pt x="923" y="86"/>
                  </a:lnTo>
                  <a:lnTo>
                    <a:pt x="957" y="75"/>
                  </a:lnTo>
                  <a:lnTo>
                    <a:pt x="989" y="63"/>
                  </a:lnTo>
                  <a:lnTo>
                    <a:pt x="1022" y="54"/>
                  </a:lnTo>
                  <a:lnTo>
                    <a:pt x="1056" y="45"/>
                  </a:lnTo>
                  <a:lnTo>
                    <a:pt x="1089" y="37"/>
                  </a:lnTo>
                  <a:lnTo>
                    <a:pt x="1124" y="29"/>
                  </a:lnTo>
                  <a:lnTo>
                    <a:pt x="1158" y="23"/>
                  </a:lnTo>
                  <a:lnTo>
                    <a:pt x="1193" y="17"/>
                  </a:lnTo>
                  <a:lnTo>
                    <a:pt x="1229" y="12"/>
                  </a:lnTo>
                  <a:lnTo>
                    <a:pt x="1263" y="8"/>
                  </a:lnTo>
                  <a:lnTo>
                    <a:pt x="1299" y="5"/>
                  </a:lnTo>
                  <a:lnTo>
                    <a:pt x="1334" y="2"/>
                  </a:lnTo>
                  <a:lnTo>
                    <a:pt x="1371" y="1"/>
                  </a:lnTo>
                  <a:lnTo>
                    <a:pt x="1407" y="0"/>
                  </a:lnTo>
                  <a:lnTo>
                    <a:pt x="1444" y="1"/>
                  </a:lnTo>
                  <a:lnTo>
                    <a:pt x="1480" y="2"/>
                  </a:lnTo>
                  <a:lnTo>
                    <a:pt x="1515" y="5"/>
                  </a:lnTo>
                  <a:lnTo>
                    <a:pt x="1551" y="8"/>
                  </a:lnTo>
                  <a:lnTo>
                    <a:pt x="1587" y="12"/>
                  </a:lnTo>
                  <a:lnTo>
                    <a:pt x="1621" y="17"/>
                  </a:lnTo>
                  <a:lnTo>
                    <a:pt x="1656" y="23"/>
                  </a:lnTo>
                  <a:lnTo>
                    <a:pt x="1690" y="29"/>
                  </a:lnTo>
                  <a:lnTo>
                    <a:pt x="1725" y="37"/>
                  </a:lnTo>
                  <a:lnTo>
                    <a:pt x="1758" y="45"/>
                  </a:lnTo>
                  <a:lnTo>
                    <a:pt x="1793" y="54"/>
                  </a:lnTo>
                  <a:lnTo>
                    <a:pt x="1825" y="63"/>
                  </a:lnTo>
                  <a:lnTo>
                    <a:pt x="1859" y="75"/>
                  </a:lnTo>
                  <a:lnTo>
                    <a:pt x="1891" y="86"/>
                  </a:lnTo>
                  <a:lnTo>
                    <a:pt x="1923" y="98"/>
                  </a:lnTo>
                  <a:lnTo>
                    <a:pt x="1955" y="111"/>
                  </a:lnTo>
                  <a:lnTo>
                    <a:pt x="1987" y="125"/>
                  </a:lnTo>
                  <a:lnTo>
                    <a:pt x="2018" y="139"/>
                  </a:lnTo>
                  <a:lnTo>
                    <a:pt x="2048" y="154"/>
                  </a:lnTo>
                  <a:lnTo>
                    <a:pt x="2078" y="171"/>
                  </a:lnTo>
                  <a:lnTo>
                    <a:pt x="2107" y="187"/>
                  </a:lnTo>
                  <a:lnTo>
                    <a:pt x="2136" y="204"/>
                  </a:lnTo>
                  <a:lnTo>
                    <a:pt x="2165" y="222"/>
                  </a:lnTo>
                  <a:lnTo>
                    <a:pt x="2194" y="241"/>
                  </a:lnTo>
                  <a:lnTo>
                    <a:pt x="2222" y="260"/>
                  </a:lnTo>
                  <a:lnTo>
                    <a:pt x="2249" y="280"/>
                  </a:lnTo>
                  <a:lnTo>
                    <a:pt x="2276" y="301"/>
                  </a:lnTo>
                  <a:lnTo>
                    <a:pt x="2302" y="322"/>
                  </a:lnTo>
                  <a:lnTo>
                    <a:pt x="2328" y="343"/>
                  </a:lnTo>
                  <a:lnTo>
                    <a:pt x="2353" y="366"/>
                  </a:lnTo>
                  <a:lnTo>
                    <a:pt x="2378" y="389"/>
                  </a:lnTo>
                  <a:lnTo>
                    <a:pt x="2402" y="413"/>
                  </a:lnTo>
                  <a:lnTo>
                    <a:pt x="2425" y="437"/>
                  </a:lnTo>
                  <a:lnTo>
                    <a:pt x="2448" y="462"/>
                  </a:lnTo>
                  <a:lnTo>
                    <a:pt x="2472" y="487"/>
                  </a:lnTo>
                  <a:lnTo>
                    <a:pt x="2493" y="513"/>
                  </a:lnTo>
                  <a:lnTo>
                    <a:pt x="2514" y="539"/>
                  </a:lnTo>
                  <a:lnTo>
                    <a:pt x="2535" y="566"/>
                  </a:lnTo>
                  <a:lnTo>
                    <a:pt x="2554" y="593"/>
                  </a:lnTo>
                  <a:lnTo>
                    <a:pt x="2574" y="621"/>
                  </a:lnTo>
                  <a:lnTo>
                    <a:pt x="2592" y="650"/>
                  </a:lnTo>
                  <a:lnTo>
                    <a:pt x="2611" y="679"/>
                  </a:lnTo>
                  <a:lnTo>
                    <a:pt x="2628" y="707"/>
                  </a:lnTo>
                  <a:lnTo>
                    <a:pt x="2644" y="737"/>
                  </a:lnTo>
                  <a:lnTo>
                    <a:pt x="2660" y="767"/>
                  </a:lnTo>
                  <a:lnTo>
                    <a:pt x="2675" y="797"/>
                  </a:lnTo>
                  <a:lnTo>
                    <a:pt x="2690" y="828"/>
                  </a:lnTo>
                  <a:lnTo>
                    <a:pt x="2704" y="860"/>
                  </a:lnTo>
                  <a:lnTo>
                    <a:pt x="2717" y="892"/>
                  </a:lnTo>
                  <a:lnTo>
                    <a:pt x="2728" y="924"/>
                  </a:lnTo>
                  <a:lnTo>
                    <a:pt x="2740" y="956"/>
                  </a:lnTo>
                  <a:lnTo>
                    <a:pt x="2751" y="990"/>
                  </a:lnTo>
                  <a:lnTo>
                    <a:pt x="2761" y="1022"/>
                  </a:lnTo>
                  <a:lnTo>
                    <a:pt x="2770" y="1057"/>
                  </a:lnTo>
                  <a:lnTo>
                    <a:pt x="2778" y="1090"/>
                  </a:lnTo>
                  <a:lnTo>
                    <a:pt x="2786" y="1125"/>
                  </a:lnTo>
                  <a:lnTo>
                    <a:pt x="2792" y="1159"/>
                  </a:lnTo>
                  <a:lnTo>
                    <a:pt x="2798" y="1194"/>
                  </a:lnTo>
                  <a:lnTo>
                    <a:pt x="2803" y="1228"/>
                  </a:lnTo>
                  <a:lnTo>
                    <a:pt x="2807" y="1264"/>
                  </a:lnTo>
                  <a:lnTo>
                    <a:pt x="2810" y="1300"/>
                  </a:lnTo>
                  <a:lnTo>
                    <a:pt x="2813" y="1335"/>
                  </a:lnTo>
                  <a:lnTo>
                    <a:pt x="2814" y="1371"/>
                  </a:lnTo>
                  <a:lnTo>
                    <a:pt x="2815" y="1408"/>
                  </a:lnTo>
                  <a:lnTo>
                    <a:pt x="2814" y="1444"/>
                  </a:lnTo>
                  <a:lnTo>
                    <a:pt x="2813" y="1481"/>
                  </a:lnTo>
                  <a:lnTo>
                    <a:pt x="2810" y="1516"/>
                  </a:lnTo>
                  <a:lnTo>
                    <a:pt x="2807" y="1552"/>
                  </a:lnTo>
                  <a:lnTo>
                    <a:pt x="2803" y="1587"/>
                  </a:lnTo>
                  <a:lnTo>
                    <a:pt x="2798" y="1622"/>
                  </a:lnTo>
                  <a:lnTo>
                    <a:pt x="2792" y="1657"/>
                  </a:lnTo>
                  <a:lnTo>
                    <a:pt x="2786" y="1691"/>
                  </a:lnTo>
                  <a:lnTo>
                    <a:pt x="2778" y="1726"/>
                  </a:lnTo>
                  <a:lnTo>
                    <a:pt x="2770" y="1759"/>
                  </a:lnTo>
                  <a:lnTo>
                    <a:pt x="2761" y="1793"/>
                  </a:lnTo>
                  <a:lnTo>
                    <a:pt x="2751" y="1826"/>
                  </a:lnTo>
                  <a:lnTo>
                    <a:pt x="2740" y="1858"/>
                  </a:lnTo>
                  <a:lnTo>
                    <a:pt x="2728" y="1892"/>
                  </a:lnTo>
                  <a:lnTo>
                    <a:pt x="2717" y="1924"/>
                  </a:lnTo>
                  <a:lnTo>
                    <a:pt x="2704" y="1955"/>
                  </a:lnTo>
                  <a:lnTo>
                    <a:pt x="2690" y="1986"/>
                  </a:lnTo>
                  <a:lnTo>
                    <a:pt x="2675" y="2017"/>
                  </a:lnTo>
                  <a:lnTo>
                    <a:pt x="2660" y="2049"/>
                  </a:lnTo>
                  <a:lnTo>
                    <a:pt x="2644" y="2078"/>
                  </a:lnTo>
                  <a:lnTo>
                    <a:pt x="2628" y="2108"/>
                  </a:lnTo>
                  <a:lnTo>
                    <a:pt x="2611" y="2137"/>
                  </a:lnTo>
                  <a:lnTo>
                    <a:pt x="2592" y="2166"/>
                  </a:lnTo>
                  <a:lnTo>
                    <a:pt x="2574" y="2195"/>
                  </a:lnTo>
                  <a:lnTo>
                    <a:pt x="2554" y="2222"/>
                  </a:lnTo>
                  <a:lnTo>
                    <a:pt x="2535" y="2249"/>
                  </a:lnTo>
                  <a:lnTo>
                    <a:pt x="2514" y="2277"/>
                  </a:lnTo>
                  <a:lnTo>
                    <a:pt x="2493" y="2303"/>
                  </a:lnTo>
                  <a:lnTo>
                    <a:pt x="2472" y="2328"/>
                  </a:lnTo>
                  <a:lnTo>
                    <a:pt x="2448" y="2354"/>
                  </a:lnTo>
                  <a:lnTo>
                    <a:pt x="2425" y="2378"/>
                  </a:lnTo>
                  <a:lnTo>
                    <a:pt x="2402" y="2402"/>
                  </a:lnTo>
                  <a:lnTo>
                    <a:pt x="2362" y="2441"/>
                  </a:lnTo>
                  <a:lnTo>
                    <a:pt x="2321" y="2478"/>
                  </a:lnTo>
                  <a:lnTo>
                    <a:pt x="2277" y="2514"/>
                  </a:lnTo>
                  <a:lnTo>
                    <a:pt x="2233" y="2547"/>
                  </a:lnTo>
                  <a:lnTo>
                    <a:pt x="2187" y="2580"/>
                  </a:lnTo>
                  <a:lnTo>
                    <a:pt x="2140" y="2610"/>
                  </a:lnTo>
                  <a:lnTo>
                    <a:pt x="2091" y="2637"/>
                  </a:lnTo>
                  <a:lnTo>
                    <a:pt x="2042" y="2664"/>
                  </a:lnTo>
                  <a:close/>
                  <a:moveTo>
                    <a:pt x="1724" y="2750"/>
                  </a:moveTo>
                  <a:lnTo>
                    <a:pt x="1731" y="2746"/>
                  </a:lnTo>
                  <a:lnTo>
                    <a:pt x="1738" y="2739"/>
                  </a:lnTo>
                  <a:lnTo>
                    <a:pt x="1743" y="2732"/>
                  </a:lnTo>
                  <a:lnTo>
                    <a:pt x="1749" y="2725"/>
                  </a:lnTo>
                  <a:lnTo>
                    <a:pt x="1761" y="2708"/>
                  </a:lnTo>
                  <a:lnTo>
                    <a:pt x="1771" y="2688"/>
                  </a:lnTo>
                  <a:lnTo>
                    <a:pt x="1730" y="2696"/>
                  </a:lnTo>
                  <a:lnTo>
                    <a:pt x="1687" y="2703"/>
                  </a:lnTo>
                  <a:lnTo>
                    <a:pt x="1644" y="2710"/>
                  </a:lnTo>
                  <a:lnTo>
                    <a:pt x="1601" y="2714"/>
                  </a:lnTo>
                  <a:lnTo>
                    <a:pt x="1556" y="2719"/>
                  </a:lnTo>
                  <a:lnTo>
                    <a:pt x="1512" y="2723"/>
                  </a:lnTo>
                  <a:lnTo>
                    <a:pt x="1467" y="2725"/>
                  </a:lnTo>
                  <a:lnTo>
                    <a:pt x="1421" y="2725"/>
                  </a:lnTo>
                  <a:lnTo>
                    <a:pt x="1421" y="2787"/>
                  </a:lnTo>
                  <a:lnTo>
                    <a:pt x="1460" y="2786"/>
                  </a:lnTo>
                  <a:lnTo>
                    <a:pt x="1498" y="2785"/>
                  </a:lnTo>
                  <a:lnTo>
                    <a:pt x="1537" y="2781"/>
                  </a:lnTo>
                  <a:lnTo>
                    <a:pt x="1575" y="2777"/>
                  </a:lnTo>
                  <a:lnTo>
                    <a:pt x="1613" y="2772"/>
                  </a:lnTo>
                  <a:lnTo>
                    <a:pt x="1650" y="2766"/>
                  </a:lnTo>
                  <a:lnTo>
                    <a:pt x="1687" y="2758"/>
                  </a:lnTo>
                  <a:lnTo>
                    <a:pt x="1724" y="2750"/>
                  </a:lnTo>
                  <a:close/>
                  <a:moveTo>
                    <a:pt x="1785" y="2657"/>
                  </a:moveTo>
                  <a:lnTo>
                    <a:pt x="1792" y="2635"/>
                  </a:lnTo>
                  <a:lnTo>
                    <a:pt x="1799" y="2612"/>
                  </a:lnTo>
                  <a:lnTo>
                    <a:pt x="1805" y="2587"/>
                  </a:lnTo>
                  <a:lnTo>
                    <a:pt x="1810" y="2560"/>
                  </a:lnTo>
                  <a:lnTo>
                    <a:pt x="1815" y="2531"/>
                  </a:lnTo>
                  <a:lnTo>
                    <a:pt x="1818" y="2501"/>
                  </a:lnTo>
                  <a:lnTo>
                    <a:pt x="1822" y="2471"/>
                  </a:lnTo>
                  <a:lnTo>
                    <a:pt x="1825" y="2438"/>
                  </a:lnTo>
                  <a:lnTo>
                    <a:pt x="1777" y="2448"/>
                  </a:lnTo>
                  <a:lnTo>
                    <a:pt x="1727" y="2456"/>
                  </a:lnTo>
                  <a:lnTo>
                    <a:pt x="1678" y="2463"/>
                  </a:lnTo>
                  <a:lnTo>
                    <a:pt x="1628" y="2469"/>
                  </a:lnTo>
                  <a:lnTo>
                    <a:pt x="1576" y="2474"/>
                  </a:lnTo>
                  <a:lnTo>
                    <a:pt x="1526" y="2477"/>
                  </a:lnTo>
                  <a:lnTo>
                    <a:pt x="1474" y="2479"/>
                  </a:lnTo>
                  <a:lnTo>
                    <a:pt x="1421" y="2481"/>
                  </a:lnTo>
                  <a:lnTo>
                    <a:pt x="1421" y="2698"/>
                  </a:lnTo>
                  <a:lnTo>
                    <a:pt x="1468" y="2697"/>
                  </a:lnTo>
                  <a:lnTo>
                    <a:pt x="1515" y="2695"/>
                  </a:lnTo>
                  <a:lnTo>
                    <a:pt x="1561" y="2691"/>
                  </a:lnTo>
                  <a:lnTo>
                    <a:pt x="1608" y="2687"/>
                  </a:lnTo>
                  <a:lnTo>
                    <a:pt x="1652" y="2681"/>
                  </a:lnTo>
                  <a:lnTo>
                    <a:pt x="1697" y="2674"/>
                  </a:lnTo>
                  <a:lnTo>
                    <a:pt x="1741" y="2666"/>
                  </a:lnTo>
                  <a:lnTo>
                    <a:pt x="1785" y="2657"/>
                  </a:lnTo>
                  <a:close/>
                  <a:moveTo>
                    <a:pt x="1826" y="2410"/>
                  </a:moveTo>
                  <a:lnTo>
                    <a:pt x="1828" y="2400"/>
                  </a:lnTo>
                  <a:lnTo>
                    <a:pt x="1828" y="2390"/>
                  </a:lnTo>
                  <a:lnTo>
                    <a:pt x="1829" y="2378"/>
                  </a:lnTo>
                  <a:lnTo>
                    <a:pt x="1829" y="2368"/>
                  </a:lnTo>
                  <a:lnTo>
                    <a:pt x="1830" y="2333"/>
                  </a:lnTo>
                  <a:lnTo>
                    <a:pt x="1830" y="2299"/>
                  </a:lnTo>
                  <a:lnTo>
                    <a:pt x="1830" y="2263"/>
                  </a:lnTo>
                  <a:lnTo>
                    <a:pt x="1830" y="2226"/>
                  </a:lnTo>
                  <a:lnTo>
                    <a:pt x="1829" y="2188"/>
                  </a:lnTo>
                  <a:lnTo>
                    <a:pt x="1826" y="2150"/>
                  </a:lnTo>
                  <a:lnTo>
                    <a:pt x="1825" y="2111"/>
                  </a:lnTo>
                  <a:lnTo>
                    <a:pt x="1822" y="2070"/>
                  </a:lnTo>
                  <a:lnTo>
                    <a:pt x="1775" y="2081"/>
                  </a:lnTo>
                  <a:lnTo>
                    <a:pt x="1726" y="2089"/>
                  </a:lnTo>
                  <a:lnTo>
                    <a:pt x="1677" y="2096"/>
                  </a:lnTo>
                  <a:lnTo>
                    <a:pt x="1626" y="2103"/>
                  </a:lnTo>
                  <a:lnTo>
                    <a:pt x="1576" y="2107"/>
                  </a:lnTo>
                  <a:lnTo>
                    <a:pt x="1525" y="2111"/>
                  </a:lnTo>
                  <a:lnTo>
                    <a:pt x="1473" y="2113"/>
                  </a:lnTo>
                  <a:lnTo>
                    <a:pt x="1421" y="2114"/>
                  </a:lnTo>
                  <a:lnTo>
                    <a:pt x="1421" y="2453"/>
                  </a:lnTo>
                  <a:lnTo>
                    <a:pt x="1474" y="2453"/>
                  </a:lnTo>
                  <a:lnTo>
                    <a:pt x="1526" y="2451"/>
                  </a:lnTo>
                  <a:lnTo>
                    <a:pt x="1578" y="2446"/>
                  </a:lnTo>
                  <a:lnTo>
                    <a:pt x="1629" y="2441"/>
                  </a:lnTo>
                  <a:lnTo>
                    <a:pt x="1679" y="2436"/>
                  </a:lnTo>
                  <a:lnTo>
                    <a:pt x="1730" y="2429"/>
                  </a:lnTo>
                  <a:lnTo>
                    <a:pt x="1778" y="2420"/>
                  </a:lnTo>
                  <a:lnTo>
                    <a:pt x="1826" y="2410"/>
                  </a:lnTo>
                  <a:close/>
                  <a:moveTo>
                    <a:pt x="1821" y="2043"/>
                  </a:moveTo>
                  <a:lnTo>
                    <a:pt x="1816" y="1993"/>
                  </a:lnTo>
                  <a:lnTo>
                    <a:pt x="1811" y="1943"/>
                  </a:lnTo>
                  <a:lnTo>
                    <a:pt x="1806" y="1892"/>
                  </a:lnTo>
                  <a:lnTo>
                    <a:pt x="1800" y="1839"/>
                  </a:lnTo>
                  <a:lnTo>
                    <a:pt x="1793" y="1787"/>
                  </a:lnTo>
                  <a:lnTo>
                    <a:pt x="1786" y="1733"/>
                  </a:lnTo>
                  <a:lnTo>
                    <a:pt x="1778" y="1680"/>
                  </a:lnTo>
                  <a:lnTo>
                    <a:pt x="1769" y="1626"/>
                  </a:lnTo>
                  <a:lnTo>
                    <a:pt x="1727" y="1633"/>
                  </a:lnTo>
                  <a:lnTo>
                    <a:pt x="1686" y="1640"/>
                  </a:lnTo>
                  <a:lnTo>
                    <a:pt x="1642" y="1645"/>
                  </a:lnTo>
                  <a:lnTo>
                    <a:pt x="1599" y="1651"/>
                  </a:lnTo>
                  <a:lnTo>
                    <a:pt x="1556" y="1655"/>
                  </a:lnTo>
                  <a:lnTo>
                    <a:pt x="1511" y="1658"/>
                  </a:lnTo>
                  <a:lnTo>
                    <a:pt x="1466" y="1659"/>
                  </a:lnTo>
                  <a:lnTo>
                    <a:pt x="1421" y="1660"/>
                  </a:lnTo>
                  <a:lnTo>
                    <a:pt x="1421" y="2087"/>
                  </a:lnTo>
                  <a:lnTo>
                    <a:pt x="1473" y="2085"/>
                  </a:lnTo>
                  <a:lnTo>
                    <a:pt x="1525" y="2083"/>
                  </a:lnTo>
                  <a:lnTo>
                    <a:pt x="1575" y="2080"/>
                  </a:lnTo>
                  <a:lnTo>
                    <a:pt x="1626" y="2075"/>
                  </a:lnTo>
                  <a:lnTo>
                    <a:pt x="1675" y="2068"/>
                  </a:lnTo>
                  <a:lnTo>
                    <a:pt x="1724" y="2061"/>
                  </a:lnTo>
                  <a:lnTo>
                    <a:pt x="1772" y="2053"/>
                  </a:lnTo>
                  <a:lnTo>
                    <a:pt x="1821" y="2043"/>
                  </a:lnTo>
                  <a:close/>
                  <a:moveTo>
                    <a:pt x="1765" y="1598"/>
                  </a:moveTo>
                  <a:lnTo>
                    <a:pt x="1756" y="1549"/>
                  </a:lnTo>
                  <a:lnTo>
                    <a:pt x="1748" y="1499"/>
                  </a:lnTo>
                  <a:lnTo>
                    <a:pt x="1739" y="1449"/>
                  </a:lnTo>
                  <a:lnTo>
                    <a:pt x="1728" y="1399"/>
                  </a:lnTo>
                  <a:lnTo>
                    <a:pt x="1718" y="1349"/>
                  </a:lnTo>
                  <a:lnTo>
                    <a:pt x="1708" y="1300"/>
                  </a:lnTo>
                  <a:lnTo>
                    <a:pt x="1697" y="1250"/>
                  </a:lnTo>
                  <a:lnTo>
                    <a:pt x="1686" y="1201"/>
                  </a:lnTo>
                  <a:lnTo>
                    <a:pt x="1682" y="1188"/>
                  </a:lnTo>
                  <a:lnTo>
                    <a:pt x="1680" y="1175"/>
                  </a:lnTo>
                  <a:lnTo>
                    <a:pt x="1677" y="1164"/>
                  </a:lnTo>
                  <a:lnTo>
                    <a:pt x="1674" y="1151"/>
                  </a:lnTo>
                  <a:lnTo>
                    <a:pt x="1643" y="1157"/>
                  </a:lnTo>
                  <a:lnTo>
                    <a:pt x="1613" y="1163"/>
                  </a:lnTo>
                  <a:lnTo>
                    <a:pt x="1582" y="1166"/>
                  </a:lnTo>
                  <a:lnTo>
                    <a:pt x="1550" y="1171"/>
                  </a:lnTo>
                  <a:lnTo>
                    <a:pt x="1519" y="1173"/>
                  </a:lnTo>
                  <a:lnTo>
                    <a:pt x="1487" y="1175"/>
                  </a:lnTo>
                  <a:lnTo>
                    <a:pt x="1454" y="1176"/>
                  </a:lnTo>
                  <a:lnTo>
                    <a:pt x="1421" y="1178"/>
                  </a:lnTo>
                  <a:lnTo>
                    <a:pt x="1421" y="1633"/>
                  </a:lnTo>
                  <a:lnTo>
                    <a:pt x="1466" y="1631"/>
                  </a:lnTo>
                  <a:lnTo>
                    <a:pt x="1510" y="1630"/>
                  </a:lnTo>
                  <a:lnTo>
                    <a:pt x="1553" y="1627"/>
                  </a:lnTo>
                  <a:lnTo>
                    <a:pt x="1597" y="1623"/>
                  </a:lnTo>
                  <a:lnTo>
                    <a:pt x="1640" y="1619"/>
                  </a:lnTo>
                  <a:lnTo>
                    <a:pt x="1682" y="1613"/>
                  </a:lnTo>
                  <a:lnTo>
                    <a:pt x="1724" y="1606"/>
                  </a:lnTo>
                  <a:lnTo>
                    <a:pt x="1765" y="1598"/>
                  </a:lnTo>
                  <a:close/>
                  <a:moveTo>
                    <a:pt x="1545" y="704"/>
                  </a:moveTo>
                  <a:lnTo>
                    <a:pt x="1530" y="661"/>
                  </a:lnTo>
                  <a:lnTo>
                    <a:pt x="1515" y="620"/>
                  </a:lnTo>
                  <a:lnTo>
                    <a:pt x="1500" y="580"/>
                  </a:lnTo>
                  <a:lnTo>
                    <a:pt x="1484" y="540"/>
                  </a:lnTo>
                  <a:lnTo>
                    <a:pt x="1469" y="502"/>
                  </a:lnTo>
                  <a:lnTo>
                    <a:pt x="1453" y="466"/>
                  </a:lnTo>
                  <a:lnTo>
                    <a:pt x="1437" y="430"/>
                  </a:lnTo>
                  <a:lnTo>
                    <a:pt x="1421" y="395"/>
                  </a:lnTo>
                  <a:lnTo>
                    <a:pt x="1421" y="718"/>
                  </a:lnTo>
                  <a:lnTo>
                    <a:pt x="1453" y="717"/>
                  </a:lnTo>
                  <a:lnTo>
                    <a:pt x="1484" y="713"/>
                  </a:lnTo>
                  <a:lnTo>
                    <a:pt x="1515" y="710"/>
                  </a:lnTo>
                  <a:lnTo>
                    <a:pt x="1545" y="704"/>
                  </a:lnTo>
                  <a:close/>
                  <a:moveTo>
                    <a:pt x="1188" y="50"/>
                  </a:moveTo>
                  <a:lnTo>
                    <a:pt x="1207" y="60"/>
                  </a:lnTo>
                  <a:lnTo>
                    <a:pt x="1225" y="72"/>
                  </a:lnTo>
                  <a:lnTo>
                    <a:pt x="1242" y="85"/>
                  </a:lnTo>
                  <a:lnTo>
                    <a:pt x="1261" y="101"/>
                  </a:lnTo>
                  <a:lnTo>
                    <a:pt x="1293" y="96"/>
                  </a:lnTo>
                  <a:lnTo>
                    <a:pt x="1325" y="91"/>
                  </a:lnTo>
                  <a:lnTo>
                    <a:pt x="1359" y="88"/>
                  </a:lnTo>
                  <a:lnTo>
                    <a:pt x="1393" y="86"/>
                  </a:lnTo>
                  <a:lnTo>
                    <a:pt x="1393" y="32"/>
                  </a:lnTo>
                  <a:lnTo>
                    <a:pt x="1367" y="32"/>
                  </a:lnTo>
                  <a:lnTo>
                    <a:pt x="1341" y="33"/>
                  </a:lnTo>
                  <a:lnTo>
                    <a:pt x="1315" y="35"/>
                  </a:lnTo>
                  <a:lnTo>
                    <a:pt x="1290" y="37"/>
                  </a:lnTo>
                  <a:lnTo>
                    <a:pt x="1264" y="39"/>
                  </a:lnTo>
                  <a:lnTo>
                    <a:pt x="1239" y="43"/>
                  </a:lnTo>
                  <a:lnTo>
                    <a:pt x="1214" y="46"/>
                  </a:lnTo>
                  <a:lnTo>
                    <a:pt x="1188" y="50"/>
                  </a:lnTo>
                  <a:close/>
                  <a:moveTo>
                    <a:pt x="1283" y="125"/>
                  </a:moveTo>
                  <a:lnTo>
                    <a:pt x="1295" y="138"/>
                  </a:lnTo>
                  <a:lnTo>
                    <a:pt x="1307" y="152"/>
                  </a:lnTo>
                  <a:lnTo>
                    <a:pt x="1318" y="167"/>
                  </a:lnTo>
                  <a:lnTo>
                    <a:pt x="1330" y="182"/>
                  </a:lnTo>
                  <a:lnTo>
                    <a:pt x="1346" y="205"/>
                  </a:lnTo>
                  <a:lnTo>
                    <a:pt x="1362" y="230"/>
                  </a:lnTo>
                  <a:lnTo>
                    <a:pt x="1378" y="256"/>
                  </a:lnTo>
                  <a:lnTo>
                    <a:pt x="1393" y="283"/>
                  </a:lnTo>
                  <a:lnTo>
                    <a:pt x="1393" y="113"/>
                  </a:lnTo>
                  <a:lnTo>
                    <a:pt x="1366" y="114"/>
                  </a:lnTo>
                  <a:lnTo>
                    <a:pt x="1337" y="116"/>
                  </a:lnTo>
                  <a:lnTo>
                    <a:pt x="1310" y="120"/>
                  </a:lnTo>
                  <a:lnTo>
                    <a:pt x="1283" y="125"/>
                  </a:lnTo>
                  <a:close/>
                  <a:moveTo>
                    <a:pt x="2281" y="559"/>
                  </a:moveTo>
                  <a:lnTo>
                    <a:pt x="2279" y="544"/>
                  </a:lnTo>
                  <a:lnTo>
                    <a:pt x="2277" y="530"/>
                  </a:lnTo>
                  <a:lnTo>
                    <a:pt x="2275" y="515"/>
                  </a:lnTo>
                  <a:lnTo>
                    <a:pt x="2271" y="501"/>
                  </a:lnTo>
                  <a:lnTo>
                    <a:pt x="2263" y="474"/>
                  </a:lnTo>
                  <a:lnTo>
                    <a:pt x="2253" y="446"/>
                  </a:lnTo>
                  <a:lnTo>
                    <a:pt x="2230" y="434"/>
                  </a:lnTo>
                  <a:lnTo>
                    <a:pt x="2207" y="423"/>
                  </a:lnTo>
                  <a:lnTo>
                    <a:pt x="2184" y="413"/>
                  </a:lnTo>
                  <a:lnTo>
                    <a:pt x="2160" y="403"/>
                  </a:lnTo>
                  <a:lnTo>
                    <a:pt x="2113" y="386"/>
                  </a:lnTo>
                  <a:lnTo>
                    <a:pt x="2066" y="370"/>
                  </a:lnTo>
                  <a:lnTo>
                    <a:pt x="2019" y="356"/>
                  </a:lnTo>
                  <a:lnTo>
                    <a:pt x="1970" y="345"/>
                  </a:lnTo>
                  <a:lnTo>
                    <a:pt x="1922" y="335"/>
                  </a:lnTo>
                  <a:lnTo>
                    <a:pt x="1872" y="328"/>
                  </a:lnTo>
                  <a:lnTo>
                    <a:pt x="1878" y="343"/>
                  </a:lnTo>
                  <a:lnTo>
                    <a:pt x="1883" y="358"/>
                  </a:lnTo>
                  <a:lnTo>
                    <a:pt x="1885" y="373"/>
                  </a:lnTo>
                  <a:lnTo>
                    <a:pt x="1887" y="389"/>
                  </a:lnTo>
                  <a:lnTo>
                    <a:pt x="1942" y="406"/>
                  </a:lnTo>
                  <a:lnTo>
                    <a:pt x="1993" y="423"/>
                  </a:lnTo>
                  <a:lnTo>
                    <a:pt x="2045" y="441"/>
                  </a:lnTo>
                  <a:lnTo>
                    <a:pt x="2095" y="462"/>
                  </a:lnTo>
                  <a:lnTo>
                    <a:pt x="2143" y="484"/>
                  </a:lnTo>
                  <a:lnTo>
                    <a:pt x="2190" y="508"/>
                  </a:lnTo>
                  <a:lnTo>
                    <a:pt x="2237" y="532"/>
                  </a:lnTo>
                  <a:lnTo>
                    <a:pt x="2281" y="559"/>
                  </a:lnTo>
                  <a:close/>
                  <a:moveTo>
                    <a:pt x="1279" y="356"/>
                  </a:moveTo>
                  <a:lnTo>
                    <a:pt x="1237" y="360"/>
                  </a:lnTo>
                  <a:lnTo>
                    <a:pt x="1195" y="364"/>
                  </a:lnTo>
                  <a:lnTo>
                    <a:pt x="1154" y="370"/>
                  </a:lnTo>
                  <a:lnTo>
                    <a:pt x="1112" y="376"/>
                  </a:lnTo>
                  <a:lnTo>
                    <a:pt x="1072" y="384"/>
                  </a:lnTo>
                  <a:lnTo>
                    <a:pt x="1032" y="392"/>
                  </a:lnTo>
                  <a:lnTo>
                    <a:pt x="991" y="401"/>
                  </a:lnTo>
                  <a:lnTo>
                    <a:pt x="952" y="410"/>
                  </a:lnTo>
                  <a:lnTo>
                    <a:pt x="952" y="416"/>
                  </a:lnTo>
                  <a:lnTo>
                    <a:pt x="953" y="433"/>
                  </a:lnTo>
                  <a:lnTo>
                    <a:pt x="955" y="451"/>
                  </a:lnTo>
                  <a:lnTo>
                    <a:pt x="959" y="467"/>
                  </a:lnTo>
                  <a:lnTo>
                    <a:pt x="964" y="484"/>
                  </a:lnTo>
                  <a:lnTo>
                    <a:pt x="1003" y="464"/>
                  </a:lnTo>
                  <a:lnTo>
                    <a:pt x="1041" y="446"/>
                  </a:lnTo>
                  <a:lnTo>
                    <a:pt x="1080" y="429"/>
                  </a:lnTo>
                  <a:lnTo>
                    <a:pt x="1119" y="413"/>
                  </a:lnTo>
                  <a:lnTo>
                    <a:pt x="1159" y="396"/>
                  </a:lnTo>
                  <a:lnTo>
                    <a:pt x="1199" y="381"/>
                  </a:lnTo>
                  <a:lnTo>
                    <a:pt x="1239" y="369"/>
                  </a:lnTo>
                  <a:lnTo>
                    <a:pt x="1279" y="356"/>
                  </a:lnTo>
                  <a:close/>
                  <a:moveTo>
                    <a:pt x="926" y="418"/>
                  </a:moveTo>
                  <a:lnTo>
                    <a:pt x="871" y="434"/>
                  </a:lnTo>
                  <a:lnTo>
                    <a:pt x="820" y="452"/>
                  </a:lnTo>
                  <a:lnTo>
                    <a:pt x="768" y="471"/>
                  </a:lnTo>
                  <a:lnTo>
                    <a:pt x="718" y="493"/>
                  </a:lnTo>
                  <a:lnTo>
                    <a:pt x="670" y="515"/>
                  </a:lnTo>
                  <a:lnTo>
                    <a:pt x="623" y="539"/>
                  </a:lnTo>
                  <a:lnTo>
                    <a:pt x="576" y="565"/>
                  </a:lnTo>
                  <a:lnTo>
                    <a:pt x="533" y="592"/>
                  </a:lnTo>
                  <a:lnTo>
                    <a:pt x="533" y="613"/>
                  </a:lnTo>
                  <a:lnTo>
                    <a:pt x="535" y="634"/>
                  </a:lnTo>
                  <a:lnTo>
                    <a:pt x="538" y="654"/>
                  </a:lnTo>
                  <a:lnTo>
                    <a:pt x="542" y="675"/>
                  </a:lnTo>
                  <a:lnTo>
                    <a:pt x="548" y="695"/>
                  </a:lnTo>
                  <a:lnTo>
                    <a:pt x="555" y="716"/>
                  </a:lnTo>
                  <a:lnTo>
                    <a:pt x="562" y="735"/>
                  </a:lnTo>
                  <a:lnTo>
                    <a:pt x="571" y="755"/>
                  </a:lnTo>
                  <a:lnTo>
                    <a:pt x="593" y="735"/>
                  </a:lnTo>
                  <a:lnTo>
                    <a:pt x="614" y="717"/>
                  </a:lnTo>
                  <a:lnTo>
                    <a:pt x="636" y="698"/>
                  </a:lnTo>
                  <a:lnTo>
                    <a:pt x="659" y="680"/>
                  </a:lnTo>
                  <a:lnTo>
                    <a:pt x="681" y="663"/>
                  </a:lnTo>
                  <a:lnTo>
                    <a:pt x="706" y="645"/>
                  </a:lnTo>
                  <a:lnTo>
                    <a:pt x="729" y="628"/>
                  </a:lnTo>
                  <a:lnTo>
                    <a:pt x="753" y="611"/>
                  </a:lnTo>
                  <a:lnTo>
                    <a:pt x="775" y="596"/>
                  </a:lnTo>
                  <a:lnTo>
                    <a:pt x="798" y="581"/>
                  </a:lnTo>
                  <a:lnTo>
                    <a:pt x="821" y="566"/>
                  </a:lnTo>
                  <a:lnTo>
                    <a:pt x="844" y="551"/>
                  </a:lnTo>
                  <a:lnTo>
                    <a:pt x="868" y="537"/>
                  </a:lnTo>
                  <a:lnTo>
                    <a:pt x="892" y="523"/>
                  </a:lnTo>
                  <a:lnTo>
                    <a:pt x="915" y="509"/>
                  </a:lnTo>
                  <a:lnTo>
                    <a:pt x="939" y="497"/>
                  </a:lnTo>
                  <a:lnTo>
                    <a:pt x="934" y="477"/>
                  </a:lnTo>
                  <a:lnTo>
                    <a:pt x="929" y="457"/>
                  </a:lnTo>
                  <a:lnTo>
                    <a:pt x="927" y="438"/>
                  </a:lnTo>
                  <a:lnTo>
                    <a:pt x="926" y="418"/>
                  </a:lnTo>
                  <a:close/>
                  <a:moveTo>
                    <a:pt x="505" y="610"/>
                  </a:moveTo>
                  <a:lnTo>
                    <a:pt x="485" y="623"/>
                  </a:lnTo>
                  <a:lnTo>
                    <a:pt x="466" y="637"/>
                  </a:lnTo>
                  <a:lnTo>
                    <a:pt x="447" y="651"/>
                  </a:lnTo>
                  <a:lnTo>
                    <a:pt x="428" y="665"/>
                  </a:lnTo>
                  <a:lnTo>
                    <a:pt x="397" y="690"/>
                  </a:lnTo>
                  <a:lnTo>
                    <a:pt x="367" y="717"/>
                  </a:lnTo>
                  <a:lnTo>
                    <a:pt x="338" y="743"/>
                  </a:lnTo>
                  <a:lnTo>
                    <a:pt x="310" y="771"/>
                  </a:lnTo>
                  <a:lnTo>
                    <a:pt x="284" y="798"/>
                  </a:lnTo>
                  <a:lnTo>
                    <a:pt x="259" y="828"/>
                  </a:lnTo>
                  <a:lnTo>
                    <a:pt x="234" y="857"/>
                  </a:lnTo>
                  <a:lnTo>
                    <a:pt x="210" y="888"/>
                  </a:lnTo>
                  <a:lnTo>
                    <a:pt x="212" y="917"/>
                  </a:lnTo>
                  <a:lnTo>
                    <a:pt x="216" y="945"/>
                  </a:lnTo>
                  <a:lnTo>
                    <a:pt x="221" y="974"/>
                  </a:lnTo>
                  <a:lnTo>
                    <a:pt x="226" y="1001"/>
                  </a:lnTo>
                  <a:lnTo>
                    <a:pt x="234" y="1029"/>
                  </a:lnTo>
                  <a:lnTo>
                    <a:pt x="245" y="1057"/>
                  </a:lnTo>
                  <a:lnTo>
                    <a:pt x="255" y="1083"/>
                  </a:lnTo>
                  <a:lnTo>
                    <a:pt x="269" y="1110"/>
                  </a:lnTo>
                  <a:lnTo>
                    <a:pt x="275" y="1099"/>
                  </a:lnTo>
                  <a:lnTo>
                    <a:pt x="282" y="1089"/>
                  </a:lnTo>
                  <a:lnTo>
                    <a:pt x="288" y="1078"/>
                  </a:lnTo>
                  <a:lnTo>
                    <a:pt x="295" y="1068"/>
                  </a:lnTo>
                  <a:lnTo>
                    <a:pt x="322" y="1029"/>
                  </a:lnTo>
                  <a:lnTo>
                    <a:pt x="351" y="990"/>
                  </a:lnTo>
                  <a:lnTo>
                    <a:pt x="381" y="952"/>
                  </a:lnTo>
                  <a:lnTo>
                    <a:pt x="412" y="915"/>
                  </a:lnTo>
                  <a:lnTo>
                    <a:pt x="445" y="878"/>
                  </a:lnTo>
                  <a:lnTo>
                    <a:pt x="479" y="842"/>
                  </a:lnTo>
                  <a:lnTo>
                    <a:pt x="513" y="808"/>
                  </a:lnTo>
                  <a:lnTo>
                    <a:pt x="549" y="773"/>
                  </a:lnTo>
                  <a:lnTo>
                    <a:pt x="540" y="754"/>
                  </a:lnTo>
                  <a:lnTo>
                    <a:pt x="532" y="734"/>
                  </a:lnTo>
                  <a:lnTo>
                    <a:pt x="525" y="714"/>
                  </a:lnTo>
                  <a:lnTo>
                    <a:pt x="519" y="694"/>
                  </a:lnTo>
                  <a:lnTo>
                    <a:pt x="514" y="673"/>
                  </a:lnTo>
                  <a:lnTo>
                    <a:pt x="510" y="652"/>
                  </a:lnTo>
                  <a:lnTo>
                    <a:pt x="507" y="631"/>
                  </a:lnTo>
                  <a:lnTo>
                    <a:pt x="505" y="610"/>
                  </a:lnTo>
                  <a:close/>
                  <a:moveTo>
                    <a:pt x="185" y="924"/>
                  </a:moveTo>
                  <a:lnTo>
                    <a:pt x="165" y="955"/>
                  </a:lnTo>
                  <a:lnTo>
                    <a:pt x="147" y="986"/>
                  </a:lnTo>
                  <a:lnTo>
                    <a:pt x="130" y="1019"/>
                  </a:lnTo>
                  <a:lnTo>
                    <a:pt x="113" y="1051"/>
                  </a:lnTo>
                  <a:lnTo>
                    <a:pt x="98" y="1084"/>
                  </a:lnTo>
                  <a:lnTo>
                    <a:pt x="86" y="1118"/>
                  </a:lnTo>
                  <a:lnTo>
                    <a:pt x="73" y="1152"/>
                  </a:lnTo>
                  <a:lnTo>
                    <a:pt x="63" y="1187"/>
                  </a:lnTo>
                  <a:lnTo>
                    <a:pt x="64" y="1220"/>
                  </a:lnTo>
                  <a:lnTo>
                    <a:pt x="66" y="1254"/>
                  </a:lnTo>
                  <a:lnTo>
                    <a:pt x="71" y="1287"/>
                  </a:lnTo>
                  <a:lnTo>
                    <a:pt x="78" y="1319"/>
                  </a:lnTo>
                  <a:lnTo>
                    <a:pt x="86" y="1351"/>
                  </a:lnTo>
                  <a:lnTo>
                    <a:pt x="95" y="1384"/>
                  </a:lnTo>
                  <a:lnTo>
                    <a:pt x="106" y="1415"/>
                  </a:lnTo>
                  <a:lnTo>
                    <a:pt x="120" y="1446"/>
                  </a:lnTo>
                  <a:lnTo>
                    <a:pt x="131" y="1407"/>
                  </a:lnTo>
                  <a:lnTo>
                    <a:pt x="144" y="1368"/>
                  </a:lnTo>
                  <a:lnTo>
                    <a:pt x="158" y="1327"/>
                  </a:lnTo>
                  <a:lnTo>
                    <a:pt x="174" y="1289"/>
                  </a:lnTo>
                  <a:lnTo>
                    <a:pt x="192" y="1250"/>
                  </a:lnTo>
                  <a:lnTo>
                    <a:pt x="210" y="1212"/>
                  </a:lnTo>
                  <a:lnTo>
                    <a:pt x="231" y="1174"/>
                  </a:lnTo>
                  <a:lnTo>
                    <a:pt x="252" y="1137"/>
                  </a:lnTo>
                  <a:lnTo>
                    <a:pt x="239" y="1112"/>
                  </a:lnTo>
                  <a:lnTo>
                    <a:pt x="226" y="1085"/>
                  </a:lnTo>
                  <a:lnTo>
                    <a:pt x="216" y="1059"/>
                  </a:lnTo>
                  <a:lnTo>
                    <a:pt x="208" y="1034"/>
                  </a:lnTo>
                  <a:lnTo>
                    <a:pt x="200" y="1006"/>
                  </a:lnTo>
                  <a:lnTo>
                    <a:pt x="193" y="979"/>
                  </a:lnTo>
                  <a:lnTo>
                    <a:pt x="188" y="952"/>
                  </a:lnTo>
                  <a:lnTo>
                    <a:pt x="185" y="924"/>
                  </a:lnTo>
                  <a:close/>
                  <a:moveTo>
                    <a:pt x="42" y="1277"/>
                  </a:moveTo>
                  <a:lnTo>
                    <a:pt x="36" y="1313"/>
                  </a:lnTo>
                  <a:lnTo>
                    <a:pt x="32" y="1350"/>
                  </a:lnTo>
                  <a:lnTo>
                    <a:pt x="29" y="1388"/>
                  </a:lnTo>
                  <a:lnTo>
                    <a:pt x="28" y="1426"/>
                  </a:lnTo>
                  <a:lnTo>
                    <a:pt x="28" y="1426"/>
                  </a:lnTo>
                  <a:lnTo>
                    <a:pt x="29" y="1462"/>
                  </a:lnTo>
                  <a:lnTo>
                    <a:pt x="30" y="1498"/>
                  </a:lnTo>
                  <a:lnTo>
                    <a:pt x="34" y="1534"/>
                  </a:lnTo>
                  <a:lnTo>
                    <a:pt x="37" y="1569"/>
                  </a:lnTo>
                  <a:lnTo>
                    <a:pt x="42" y="1605"/>
                  </a:lnTo>
                  <a:lnTo>
                    <a:pt x="48" y="1640"/>
                  </a:lnTo>
                  <a:lnTo>
                    <a:pt x="53" y="1674"/>
                  </a:lnTo>
                  <a:lnTo>
                    <a:pt x="60" y="1709"/>
                  </a:lnTo>
                  <a:lnTo>
                    <a:pt x="67" y="1732"/>
                  </a:lnTo>
                  <a:lnTo>
                    <a:pt x="75" y="1756"/>
                  </a:lnTo>
                  <a:lnTo>
                    <a:pt x="83" y="1778"/>
                  </a:lnTo>
                  <a:lnTo>
                    <a:pt x="93" y="1801"/>
                  </a:lnTo>
                  <a:lnTo>
                    <a:pt x="89" y="1762"/>
                  </a:lnTo>
                  <a:lnTo>
                    <a:pt x="87" y="1722"/>
                  </a:lnTo>
                  <a:lnTo>
                    <a:pt x="87" y="1683"/>
                  </a:lnTo>
                  <a:lnTo>
                    <a:pt x="88" y="1644"/>
                  </a:lnTo>
                  <a:lnTo>
                    <a:pt x="91" y="1605"/>
                  </a:lnTo>
                  <a:lnTo>
                    <a:pt x="96" y="1566"/>
                  </a:lnTo>
                  <a:lnTo>
                    <a:pt x="102" y="1527"/>
                  </a:lnTo>
                  <a:lnTo>
                    <a:pt x="110" y="1489"/>
                  </a:lnTo>
                  <a:lnTo>
                    <a:pt x="97" y="1463"/>
                  </a:lnTo>
                  <a:lnTo>
                    <a:pt x="86" y="1437"/>
                  </a:lnTo>
                  <a:lnTo>
                    <a:pt x="75" y="1411"/>
                  </a:lnTo>
                  <a:lnTo>
                    <a:pt x="67" y="1385"/>
                  </a:lnTo>
                  <a:lnTo>
                    <a:pt x="59" y="1358"/>
                  </a:lnTo>
                  <a:lnTo>
                    <a:pt x="52" y="1331"/>
                  </a:lnTo>
                  <a:lnTo>
                    <a:pt x="47" y="1304"/>
                  </a:lnTo>
                  <a:lnTo>
                    <a:pt x="42" y="1277"/>
                  </a:lnTo>
                  <a:close/>
                  <a:moveTo>
                    <a:pt x="1540" y="328"/>
                  </a:moveTo>
                  <a:lnTo>
                    <a:pt x="1581" y="332"/>
                  </a:lnTo>
                  <a:lnTo>
                    <a:pt x="1622" y="336"/>
                  </a:lnTo>
                  <a:lnTo>
                    <a:pt x="1663" y="342"/>
                  </a:lnTo>
                  <a:lnTo>
                    <a:pt x="1703" y="348"/>
                  </a:lnTo>
                  <a:lnTo>
                    <a:pt x="1743" y="355"/>
                  </a:lnTo>
                  <a:lnTo>
                    <a:pt x="1783" y="363"/>
                  </a:lnTo>
                  <a:lnTo>
                    <a:pt x="1821" y="372"/>
                  </a:lnTo>
                  <a:lnTo>
                    <a:pt x="1859" y="381"/>
                  </a:lnTo>
                  <a:lnTo>
                    <a:pt x="1856" y="366"/>
                  </a:lnTo>
                  <a:lnTo>
                    <a:pt x="1852" y="353"/>
                  </a:lnTo>
                  <a:lnTo>
                    <a:pt x="1847" y="339"/>
                  </a:lnTo>
                  <a:lnTo>
                    <a:pt x="1841" y="325"/>
                  </a:lnTo>
                  <a:lnTo>
                    <a:pt x="1803" y="322"/>
                  </a:lnTo>
                  <a:lnTo>
                    <a:pt x="1766" y="319"/>
                  </a:lnTo>
                  <a:lnTo>
                    <a:pt x="1728" y="318"/>
                  </a:lnTo>
                  <a:lnTo>
                    <a:pt x="1690" y="318"/>
                  </a:lnTo>
                  <a:lnTo>
                    <a:pt x="1654" y="319"/>
                  </a:lnTo>
                  <a:lnTo>
                    <a:pt x="1616" y="322"/>
                  </a:lnTo>
                  <a:lnTo>
                    <a:pt x="1578" y="325"/>
                  </a:lnTo>
                  <a:lnTo>
                    <a:pt x="1540" y="328"/>
                  </a:lnTo>
                  <a:close/>
                  <a:moveTo>
                    <a:pt x="2309" y="577"/>
                  </a:moveTo>
                  <a:lnTo>
                    <a:pt x="2333" y="593"/>
                  </a:lnTo>
                  <a:lnTo>
                    <a:pt x="2357" y="610"/>
                  </a:lnTo>
                  <a:lnTo>
                    <a:pt x="2381" y="627"/>
                  </a:lnTo>
                  <a:lnTo>
                    <a:pt x="2404" y="644"/>
                  </a:lnTo>
                  <a:lnTo>
                    <a:pt x="2431" y="666"/>
                  </a:lnTo>
                  <a:lnTo>
                    <a:pt x="2459" y="689"/>
                  </a:lnTo>
                  <a:lnTo>
                    <a:pt x="2484" y="713"/>
                  </a:lnTo>
                  <a:lnTo>
                    <a:pt x="2510" y="737"/>
                  </a:lnTo>
                  <a:lnTo>
                    <a:pt x="2535" y="763"/>
                  </a:lnTo>
                  <a:lnTo>
                    <a:pt x="2558" y="788"/>
                  </a:lnTo>
                  <a:lnTo>
                    <a:pt x="2581" y="815"/>
                  </a:lnTo>
                  <a:lnTo>
                    <a:pt x="2603" y="841"/>
                  </a:lnTo>
                  <a:lnTo>
                    <a:pt x="2601" y="824"/>
                  </a:lnTo>
                  <a:lnTo>
                    <a:pt x="2598" y="807"/>
                  </a:lnTo>
                  <a:lnTo>
                    <a:pt x="2596" y="789"/>
                  </a:lnTo>
                  <a:lnTo>
                    <a:pt x="2592" y="772"/>
                  </a:lnTo>
                  <a:lnTo>
                    <a:pt x="2588" y="755"/>
                  </a:lnTo>
                  <a:lnTo>
                    <a:pt x="2583" y="739"/>
                  </a:lnTo>
                  <a:lnTo>
                    <a:pt x="2579" y="721"/>
                  </a:lnTo>
                  <a:lnTo>
                    <a:pt x="2573" y="705"/>
                  </a:lnTo>
                  <a:lnTo>
                    <a:pt x="2568" y="694"/>
                  </a:lnTo>
                  <a:lnTo>
                    <a:pt x="2564" y="683"/>
                  </a:lnTo>
                  <a:lnTo>
                    <a:pt x="2531" y="650"/>
                  </a:lnTo>
                  <a:lnTo>
                    <a:pt x="2498" y="619"/>
                  </a:lnTo>
                  <a:lnTo>
                    <a:pt x="2465" y="589"/>
                  </a:lnTo>
                  <a:lnTo>
                    <a:pt x="2431" y="561"/>
                  </a:lnTo>
                  <a:lnTo>
                    <a:pt x="2397" y="535"/>
                  </a:lnTo>
                  <a:lnTo>
                    <a:pt x="2361" y="510"/>
                  </a:lnTo>
                  <a:lnTo>
                    <a:pt x="2325" y="487"/>
                  </a:lnTo>
                  <a:lnTo>
                    <a:pt x="2288" y="466"/>
                  </a:lnTo>
                  <a:lnTo>
                    <a:pt x="2296" y="493"/>
                  </a:lnTo>
                  <a:lnTo>
                    <a:pt x="2303" y="521"/>
                  </a:lnTo>
                  <a:lnTo>
                    <a:pt x="2307" y="548"/>
                  </a:lnTo>
                  <a:lnTo>
                    <a:pt x="2309" y="577"/>
                  </a:lnTo>
                  <a:close/>
                  <a:moveTo>
                    <a:pt x="2632" y="879"/>
                  </a:moveTo>
                  <a:lnTo>
                    <a:pt x="2648" y="902"/>
                  </a:lnTo>
                  <a:lnTo>
                    <a:pt x="2664" y="926"/>
                  </a:lnTo>
                  <a:lnTo>
                    <a:pt x="2678" y="951"/>
                  </a:lnTo>
                  <a:lnTo>
                    <a:pt x="2693" y="975"/>
                  </a:lnTo>
                  <a:lnTo>
                    <a:pt x="2707" y="999"/>
                  </a:lnTo>
                  <a:lnTo>
                    <a:pt x="2719" y="1024"/>
                  </a:lnTo>
                  <a:lnTo>
                    <a:pt x="2731" y="1050"/>
                  </a:lnTo>
                  <a:lnTo>
                    <a:pt x="2742" y="1075"/>
                  </a:lnTo>
                  <a:lnTo>
                    <a:pt x="2739" y="1060"/>
                  </a:lnTo>
                  <a:lnTo>
                    <a:pt x="2735" y="1045"/>
                  </a:lnTo>
                  <a:lnTo>
                    <a:pt x="2732" y="1029"/>
                  </a:lnTo>
                  <a:lnTo>
                    <a:pt x="2727" y="1014"/>
                  </a:lnTo>
                  <a:lnTo>
                    <a:pt x="2730" y="1014"/>
                  </a:lnTo>
                  <a:lnTo>
                    <a:pt x="2718" y="978"/>
                  </a:lnTo>
                  <a:lnTo>
                    <a:pt x="2707" y="942"/>
                  </a:lnTo>
                  <a:lnTo>
                    <a:pt x="2694" y="908"/>
                  </a:lnTo>
                  <a:lnTo>
                    <a:pt x="2680" y="873"/>
                  </a:lnTo>
                  <a:lnTo>
                    <a:pt x="2665" y="840"/>
                  </a:lnTo>
                  <a:lnTo>
                    <a:pt x="2649" y="807"/>
                  </a:lnTo>
                  <a:lnTo>
                    <a:pt x="2633" y="773"/>
                  </a:lnTo>
                  <a:lnTo>
                    <a:pt x="2616" y="741"/>
                  </a:lnTo>
                  <a:lnTo>
                    <a:pt x="2612" y="736"/>
                  </a:lnTo>
                  <a:lnTo>
                    <a:pt x="2616" y="754"/>
                  </a:lnTo>
                  <a:lnTo>
                    <a:pt x="2620" y="771"/>
                  </a:lnTo>
                  <a:lnTo>
                    <a:pt x="2624" y="788"/>
                  </a:lnTo>
                  <a:lnTo>
                    <a:pt x="2626" y="807"/>
                  </a:lnTo>
                  <a:lnTo>
                    <a:pt x="2628" y="824"/>
                  </a:lnTo>
                  <a:lnTo>
                    <a:pt x="2630" y="841"/>
                  </a:lnTo>
                  <a:lnTo>
                    <a:pt x="2632" y="860"/>
                  </a:lnTo>
                  <a:lnTo>
                    <a:pt x="2632" y="878"/>
                  </a:lnTo>
                  <a:lnTo>
                    <a:pt x="2632" y="879"/>
                  </a:lnTo>
                  <a:close/>
                  <a:moveTo>
                    <a:pt x="2233" y="406"/>
                  </a:moveTo>
                  <a:lnTo>
                    <a:pt x="2223" y="388"/>
                  </a:lnTo>
                  <a:lnTo>
                    <a:pt x="2212" y="371"/>
                  </a:lnTo>
                  <a:lnTo>
                    <a:pt x="2200" y="354"/>
                  </a:lnTo>
                  <a:lnTo>
                    <a:pt x="2187" y="338"/>
                  </a:lnTo>
                  <a:lnTo>
                    <a:pt x="2174" y="322"/>
                  </a:lnTo>
                  <a:lnTo>
                    <a:pt x="2160" y="307"/>
                  </a:lnTo>
                  <a:lnTo>
                    <a:pt x="2146" y="290"/>
                  </a:lnTo>
                  <a:lnTo>
                    <a:pt x="2129" y="275"/>
                  </a:lnTo>
                  <a:lnTo>
                    <a:pt x="2091" y="264"/>
                  </a:lnTo>
                  <a:lnTo>
                    <a:pt x="2052" y="254"/>
                  </a:lnTo>
                  <a:lnTo>
                    <a:pt x="2013" y="247"/>
                  </a:lnTo>
                  <a:lnTo>
                    <a:pt x="1973" y="241"/>
                  </a:lnTo>
                  <a:lnTo>
                    <a:pt x="1934" y="237"/>
                  </a:lnTo>
                  <a:lnTo>
                    <a:pt x="1893" y="235"/>
                  </a:lnTo>
                  <a:lnTo>
                    <a:pt x="1854" y="235"/>
                  </a:lnTo>
                  <a:lnTo>
                    <a:pt x="1814" y="237"/>
                  </a:lnTo>
                  <a:lnTo>
                    <a:pt x="1826" y="252"/>
                  </a:lnTo>
                  <a:lnTo>
                    <a:pt x="1838" y="267"/>
                  </a:lnTo>
                  <a:lnTo>
                    <a:pt x="1849" y="282"/>
                  </a:lnTo>
                  <a:lnTo>
                    <a:pt x="1859" y="298"/>
                  </a:lnTo>
                  <a:lnTo>
                    <a:pt x="1907" y="305"/>
                  </a:lnTo>
                  <a:lnTo>
                    <a:pt x="1954" y="313"/>
                  </a:lnTo>
                  <a:lnTo>
                    <a:pt x="2002" y="324"/>
                  </a:lnTo>
                  <a:lnTo>
                    <a:pt x="2049" y="336"/>
                  </a:lnTo>
                  <a:lnTo>
                    <a:pt x="2096" y="350"/>
                  </a:lnTo>
                  <a:lnTo>
                    <a:pt x="2142" y="366"/>
                  </a:lnTo>
                  <a:lnTo>
                    <a:pt x="2188" y="385"/>
                  </a:lnTo>
                  <a:lnTo>
                    <a:pt x="2233" y="406"/>
                  </a:lnTo>
                  <a:close/>
                  <a:moveTo>
                    <a:pt x="1522" y="303"/>
                  </a:moveTo>
                  <a:lnTo>
                    <a:pt x="1560" y="298"/>
                  </a:lnTo>
                  <a:lnTo>
                    <a:pt x="1598" y="295"/>
                  </a:lnTo>
                  <a:lnTo>
                    <a:pt x="1635" y="293"/>
                  </a:lnTo>
                  <a:lnTo>
                    <a:pt x="1673" y="292"/>
                  </a:lnTo>
                  <a:lnTo>
                    <a:pt x="1711" y="290"/>
                  </a:lnTo>
                  <a:lnTo>
                    <a:pt x="1749" y="292"/>
                  </a:lnTo>
                  <a:lnTo>
                    <a:pt x="1787" y="293"/>
                  </a:lnTo>
                  <a:lnTo>
                    <a:pt x="1824" y="295"/>
                  </a:lnTo>
                  <a:lnTo>
                    <a:pt x="1815" y="281"/>
                  </a:lnTo>
                  <a:lnTo>
                    <a:pt x="1803" y="267"/>
                  </a:lnTo>
                  <a:lnTo>
                    <a:pt x="1791" y="254"/>
                  </a:lnTo>
                  <a:lnTo>
                    <a:pt x="1778" y="241"/>
                  </a:lnTo>
                  <a:lnTo>
                    <a:pt x="1746" y="244"/>
                  </a:lnTo>
                  <a:lnTo>
                    <a:pt x="1714" y="250"/>
                  </a:lnTo>
                  <a:lnTo>
                    <a:pt x="1682" y="257"/>
                  </a:lnTo>
                  <a:lnTo>
                    <a:pt x="1650" y="264"/>
                  </a:lnTo>
                  <a:lnTo>
                    <a:pt x="1618" y="272"/>
                  </a:lnTo>
                  <a:lnTo>
                    <a:pt x="1586" y="281"/>
                  </a:lnTo>
                  <a:lnTo>
                    <a:pt x="1553" y="293"/>
                  </a:lnTo>
                  <a:lnTo>
                    <a:pt x="1522" y="303"/>
                  </a:lnTo>
                  <a:close/>
                  <a:moveTo>
                    <a:pt x="2273" y="425"/>
                  </a:moveTo>
                  <a:lnTo>
                    <a:pt x="2306" y="444"/>
                  </a:lnTo>
                  <a:lnTo>
                    <a:pt x="2338" y="462"/>
                  </a:lnTo>
                  <a:lnTo>
                    <a:pt x="2369" y="483"/>
                  </a:lnTo>
                  <a:lnTo>
                    <a:pt x="2400" y="504"/>
                  </a:lnTo>
                  <a:lnTo>
                    <a:pt x="2431" y="527"/>
                  </a:lnTo>
                  <a:lnTo>
                    <a:pt x="2462" y="551"/>
                  </a:lnTo>
                  <a:lnTo>
                    <a:pt x="2492" y="576"/>
                  </a:lnTo>
                  <a:lnTo>
                    <a:pt x="2521" y="603"/>
                  </a:lnTo>
                  <a:lnTo>
                    <a:pt x="2511" y="586"/>
                  </a:lnTo>
                  <a:lnTo>
                    <a:pt x="2500" y="572"/>
                  </a:lnTo>
                  <a:lnTo>
                    <a:pt x="2490" y="557"/>
                  </a:lnTo>
                  <a:lnTo>
                    <a:pt x="2478" y="542"/>
                  </a:lnTo>
                  <a:lnTo>
                    <a:pt x="2480" y="540"/>
                  </a:lnTo>
                  <a:lnTo>
                    <a:pt x="2457" y="512"/>
                  </a:lnTo>
                  <a:lnTo>
                    <a:pt x="2432" y="485"/>
                  </a:lnTo>
                  <a:lnTo>
                    <a:pt x="2408" y="459"/>
                  </a:lnTo>
                  <a:lnTo>
                    <a:pt x="2383" y="432"/>
                  </a:lnTo>
                  <a:lnTo>
                    <a:pt x="2364" y="414"/>
                  </a:lnTo>
                  <a:lnTo>
                    <a:pt x="2345" y="396"/>
                  </a:lnTo>
                  <a:lnTo>
                    <a:pt x="2325" y="378"/>
                  </a:lnTo>
                  <a:lnTo>
                    <a:pt x="2306" y="361"/>
                  </a:lnTo>
                  <a:lnTo>
                    <a:pt x="2306" y="361"/>
                  </a:lnTo>
                  <a:lnTo>
                    <a:pt x="2277" y="343"/>
                  </a:lnTo>
                  <a:lnTo>
                    <a:pt x="2248" y="327"/>
                  </a:lnTo>
                  <a:lnTo>
                    <a:pt x="2219" y="312"/>
                  </a:lnTo>
                  <a:lnTo>
                    <a:pt x="2189" y="298"/>
                  </a:lnTo>
                  <a:lnTo>
                    <a:pt x="2202" y="313"/>
                  </a:lnTo>
                  <a:lnTo>
                    <a:pt x="2215" y="328"/>
                  </a:lnTo>
                  <a:lnTo>
                    <a:pt x="2226" y="345"/>
                  </a:lnTo>
                  <a:lnTo>
                    <a:pt x="2237" y="361"/>
                  </a:lnTo>
                  <a:lnTo>
                    <a:pt x="2247" y="376"/>
                  </a:lnTo>
                  <a:lnTo>
                    <a:pt x="2256" y="393"/>
                  </a:lnTo>
                  <a:lnTo>
                    <a:pt x="2265" y="409"/>
                  </a:lnTo>
                  <a:lnTo>
                    <a:pt x="2273" y="425"/>
                  </a:lnTo>
                  <a:close/>
                  <a:moveTo>
                    <a:pt x="1300" y="378"/>
                  </a:moveTo>
                  <a:lnTo>
                    <a:pt x="1257" y="391"/>
                  </a:lnTo>
                  <a:lnTo>
                    <a:pt x="1216" y="404"/>
                  </a:lnTo>
                  <a:lnTo>
                    <a:pt x="1176" y="419"/>
                  </a:lnTo>
                  <a:lnTo>
                    <a:pt x="1134" y="436"/>
                  </a:lnTo>
                  <a:lnTo>
                    <a:pt x="1094" y="452"/>
                  </a:lnTo>
                  <a:lnTo>
                    <a:pt x="1053" y="470"/>
                  </a:lnTo>
                  <a:lnTo>
                    <a:pt x="1014" y="489"/>
                  </a:lnTo>
                  <a:lnTo>
                    <a:pt x="975" y="508"/>
                  </a:lnTo>
                  <a:lnTo>
                    <a:pt x="984" y="525"/>
                  </a:lnTo>
                  <a:lnTo>
                    <a:pt x="995" y="543"/>
                  </a:lnTo>
                  <a:lnTo>
                    <a:pt x="1007" y="559"/>
                  </a:lnTo>
                  <a:lnTo>
                    <a:pt x="1021" y="575"/>
                  </a:lnTo>
                  <a:lnTo>
                    <a:pt x="1043" y="557"/>
                  </a:lnTo>
                  <a:lnTo>
                    <a:pt x="1065" y="538"/>
                  </a:lnTo>
                  <a:lnTo>
                    <a:pt x="1088" y="520"/>
                  </a:lnTo>
                  <a:lnTo>
                    <a:pt x="1111" y="502"/>
                  </a:lnTo>
                  <a:lnTo>
                    <a:pt x="1134" y="486"/>
                  </a:lnTo>
                  <a:lnTo>
                    <a:pt x="1157" y="469"/>
                  </a:lnTo>
                  <a:lnTo>
                    <a:pt x="1180" y="453"/>
                  </a:lnTo>
                  <a:lnTo>
                    <a:pt x="1203" y="438"/>
                  </a:lnTo>
                  <a:lnTo>
                    <a:pt x="1227" y="422"/>
                  </a:lnTo>
                  <a:lnTo>
                    <a:pt x="1252" y="407"/>
                  </a:lnTo>
                  <a:lnTo>
                    <a:pt x="1276" y="393"/>
                  </a:lnTo>
                  <a:lnTo>
                    <a:pt x="1300" y="378"/>
                  </a:lnTo>
                  <a:close/>
                  <a:moveTo>
                    <a:pt x="951" y="522"/>
                  </a:moveTo>
                  <a:lnTo>
                    <a:pt x="927" y="535"/>
                  </a:lnTo>
                  <a:lnTo>
                    <a:pt x="904" y="547"/>
                  </a:lnTo>
                  <a:lnTo>
                    <a:pt x="881" y="561"/>
                  </a:lnTo>
                  <a:lnTo>
                    <a:pt x="858" y="575"/>
                  </a:lnTo>
                  <a:lnTo>
                    <a:pt x="835" y="589"/>
                  </a:lnTo>
                  <a:lnTo>
                    <a:pt x="813" y="604"/>
                  </a:lnTo>
                  <a:lnTo>
                    <a:pt x="790" y="619"/>
                  </a:lnTo>
                  <a:lnTo>
                    <a:pt x="768" y="634"/>
                  </a:lnTo>
                  <a:lnTo>
                    <a:pt x="744" y="650"/>
                  </a:lnTo>
                  <a:lnTo>
                    <a:pt x="719" y="668"/>
                  </a:lnTo>
                  <a:lnTo>
                    <a:pt x="696" y="686"/>
                  </a:lnTo>
                  <a:lnTo>
                    <a:pt x="673" y="704"/>
                  </a:lnTo>
                  <a:lnTo>
                    <a:pt x="650" y="722"/>
                  </a:lnTo>
                  <a:lnTo>
                    <a:pt x="627" y="741"/>
                  </a:lnTo>
                  <a:lnTo>
                    <a:pt x="605" y="760"/>
                  </a:lnTo>
                  <a:lnTo>
                    <a:pt x="583" y="779"/>
                  </a:lnTo>
                  <a:lnTo>
                    <a:pt x="594" y="797"/>
                  </a:lnTo>
                  <a:lnTo>
                    <a:pt x="605" y="815"/>
                  </a:lnTo>
                  <a:lnTo>
                    <a:pt x="618" y="832"/>
                  </a:lnTo>
                  <a:lnTo>
                    <a:pt x="632" y="849"/>
                  </a:lnTo>
                  <a:lnTo>
                    <a:pt x="646" y="865"/>
                  </a:lnTo>
                  <a:lnTo>
                    <a:pt x="661" y="883"/>
                  </a:lnTo>
                  <a:lnTo>
                    <a:pt x="677" y="898"/>
                  </a:lnTo>
                  <a:lnTo>
                    <a:pt x="693" y="914"/>
                  </a:lnTo>
                  <a:lnTo>
                    <a:pt x="729" y="870"/>
                  </a:lnTo>
                  <a:lnTo>
                    <a:pt x="764" y="827"/>
                  </a:lnTo>
                  <a:lnTo>
                    <a:pt x="801" y="786"/>
                  </a:lnTo>
                  <a:lnTo>
                    <a:pt x="839" y="745"/>
                  </a:lnTo>
                  <a:lnTo>
                    <a:pt x="878" y="705"/>
                  </a:lnTo>
                  <a:lnTo>
                    <a:pt x="919" y="666"/>
                  </a:lnTo>
                  <a:lnTo>
                    <a:pt x="959" y="629"/>
                  </a:lnTo>
                  <a:lnTo>
                    <a:pt x="1000" y="592"/>
                  </a:lnTo>
                  <a:lnTo>
                    <a:pt x="985" y="575"/>
                  </a:lnTo>
                  <a:lnTo>
                    <a:pt x="972" y="558"/>
                  </a:lnTo>
                  <a:lnTo>
                    <a:pt x="960" y="540"/>
                  </a:lnTo>
                  <a:lnTo>
                    <a:pt x="951" y="522"/>
                  </a:lnTo>
                  <a:close/>
                  <a:moveTo>
                    <a:pt x="563" y="798"/>
                  </a:moveTo>
                  <a:lnTo>
                    <a:pt x="528" y="832"/>
                  </a:lnTo>
                  <a:lnTo>
                    <a:pt x="495" y="865"/>
                  </a:lnTo>
                  <a:lnTo>
                    <a:pt x="462" y="900"/>
                  </a:lnTo>
                  <a:lnTo>
                    <a:pt x="430" y="936"/>
                  </a:lnTo>
                  <a:lnTo>
                    <a:pt x="400" y="971"/>
                  </a:lnTo>
                  <a:lnTo>
                    <a:pt x="371" y="1008"/>
                  </a:lnTo>
                  <a:lnTo>
                    <a:pt x="344" y="1045"/>
                  </a:lnTo>
                  <a:lnTo>
                    <a:pt x="318" y="1083"/>
                  </a:lnTo>
                  <a:lnTo>
                    <a:pt x="309" y="1096"/>
                  </a:lnTo>
                  <a:lnTo>
                    <a:pt x="300" y="1110"/>
                  </a:lnTo>
                  <a:lnTo>
                    <a:pt x="292" y="1123"/>
                  </a:lnTo>
                  <a:lnTo>
                    <a:pt x="284" y="1137"/>
                  </a:lnTo>
                  <a:lnTo>
                    <a:pt x="298" y="1161"/>
                  </a:lnTo>
                  <a:lnTo>
                    <a:pt x="314" y="1184"/>
                  </a:lnTo>
                  <a:lnTo>
                    <a:pt x="332" y="1209"/>
                  </a:lnTo>
                  <a:lnTo>
                    <a:pt x="351" y="1232"/>
                  </a:lnTo>
                  <a:lnTo>
                    <a:pt x="370" y="1254"/>
                  </a:lnTo>
                  <a:lnTo>
                    <a:pt x="391" y="1275"/>
                  </a:lnTo>
                  <a:lnTo>
                    <a:pt x="413" y="1297"/>
                  </a:lnTo>
                  <a:lnTo>
                    <a:pt x="436" y="1318"/>
                  </a:lnTo>
                  <a:lnTo>
                    <a:pt x="461" y="1269"/>
                  </a:lnTo>
                  <a:lnTo>
                    <a:pt x="488" y="1220"/>
                  </a:lnTo>
                  <a:lnTo>
                    <a:pt x="515" y="1172"/>
                  </a:lnTo>
                  <a:lnTo>
                    <a:pt x="545" y="1123"/>
                  </a:lnTo>
                  <a:lnTo>
                    <a:pt x="576" y="1075"/>
                  </a:lnTo>
                  <a:lnTo>
                    <a:pt x="609" y="1028"/>
                  </a:lnTo>
                  <a:lnTo>
                    <a:pt x="642" y="982"/>
                  </a:lnTo>
                  <a:lnTo>
                    <a:pt x="677" y="936"/>
                  </a:lnTo>
                  <a:lnTo>
                    <a:pt x="659" y="919"/>
                  </a:lnTo>
                  <a:lnTo>
                    <a:pt x="643" y="903"/>
                  </a:lnTo>
                  <a:lnTo>
                    <a:pt x="627" y="886"/>
                  </a:lnTo>
                  <a:lnTo>
                    <a:pt x="612" y="870"/>
                  </a:lnTo>
                  <a:lnTo>
                    <a:pt x="600" y="853"/>
                  </a:lnTo>
                  <a:lnTo>
                    <a:pt x="586" y="834"/>
                  </a:lnTo>
                  <a:lnTo>
                    <a:pt x="574" y="817"/>
                  </a:lnTo>
                  <a:lnTo>
                    <a:pt x="563" y="798"/>
                  </a:lnTo>
                  <a:close/>
                  <a:moveTo>
                    <a:pt x="268" y="1164"/>
                  </a:moveTo>
                  <a:lnTo>
                    <a:pt x="246" y="1203"/>
                  </a:lnTo>
                  <a:lnTo>
                    <a:pt x="226" y="1242"/>
                  </a:lnTo>
                  <a:lnTo>
                    <a:pt x="208" y="1281"/>
                  </a:lnTo>
                  <a:lnTo>
                    <a:pt x="191" y="1322"/>
                  </a:lnTo>
                  <a:lnTo>
                    <a:pt x="174" y="1362"/>
                  </a:lnTo>
                  <a:lnTo>
                    <a:pt x="161" y="1402"/>
                  </a:lnTo>
                  <a:lnTo>
                    <a:pt x="149" y="1444"/>
                  </a:lnTo>
                  <a:lnTo>
                    <a:pt x="139" y="1485"/>
                  </a:lnTo>
                  <a:lnTo>
                    <a:pt x="154" y="1513"/>
                  </a:lnTo>
                  <a:lnTo>
                    <a:pt x="171" y="1540"/>
                  </a:lnTo>
                  <a:lnTo>
                    <a:pt x="189" y="1568"/>
                  </a:lnTo>
                  <a:lnTo>
                    <a:pt x="209" y="1595"/>
                  </a:lnTo>
                  <a:lnTo>
                    <a:pt x="230" y="1621"/>
                  </a:lnTo>
                  <a:lnTo>
                    <a:pt x="252" y="1646"/>
                  </a:lnTo>
                  <a:lnTo>
                    <a:pt x="275" y="1672"/>
                  </a:lnTo>
                  <a:lnTo>
                    <a:pt x="299" y="1696"/>
                  </a:lnTo>
                  <a:lnTo>
                    <a:pt x="305" y="1673"/>
                  </a:lnTo>
                  <a:lnTo>
                    <a:pt x="310" y="1651"/>
                  </a:lnTo>
                  <a:lnTo>
                    <a:pt x="316" y="1628"/>
                  </a:lnTo>
                  <a:lnTo>
                    <a:pt x="323" y="1606"/>
                  </a:lnTo>
                  <a:lnTo>
                    <a:pt x="330" y="1583"/>
                  </a:lnTo>
                  <a:lnTo>
                    <a:pt x="337" y="1560"/>
                  </a:lnTo>
                  <a:lnTo>
                    <a:pt x="344" y="1538"/>
                  </a:lnTo>
                  <a:lnTo>
                    <a:pt x="352" y="1515"/>
                  </a:lnTo>
                  <a:lnTo>
                    <a:pt x="368" y="1472"/>
                  </a:lnTo>
                  <a:lnTo>
                    <a:pt x="385" y="1430"/>
                  </a:lnTo>
                  <a:lnTo>
                    <a:pt x="404" y="1386"/>
                  </a:lnTo>
                  <a:lnTo>
                    <a:pt x="423" y="1343"/>
                  </a:lnTo>
                  <a:lnTo>
                    <a:pt x="400" y="1323"/>
                  </a:lnTo>
                  <a:lnTo>
                    <a:pt x="378" y="1302"/>
                  </a:lnTo>
                  <a:lnTo>
                    <a:pt x="356" y="1280"/>
                  </a:lnTo>
                  <a:lnTo>
                    <a:pt x="337" y="1257"/>
                  </a:lnTo>
                  <a:lnTo>
                    <a:pt x="317" y="1235"/>
                  </a:lnTo>
                  <a:lnTo>
                    <a:pt x="300" y="1211"/>
                  </a:lnTo>
                  <a:lnTo>
                    <a:pt x="283" y="1188"/>
                  </a:lnTo>
                  <a:lnTo>
                    <a:pt x="268" y="1164"/>
                  </a:lnTo>
                  <a:close/>
                  <a:moveTo>
                    <a:pt x="131" y="1525"/>
                  </a:moveTo>
                  <a:lnTo>
                    <a:pt x="123" y="1570"/>
                  </a:lnTo>
                  <a:lnTo>
                    <a:pt x="118" y="1614"/>
                  </a:lnTo>
                  <a:lnTo>
                    <a:pt x="115" y="1659"/>
                  </a:lnTo>
                  <a:lnTo>
                    <a:pt x="115" y="1704"/>
                  </a:lnTo>
                  <a:lnTo>
                    <a:pt x="115" y="1726"/>
                  </a:lnTo>
                  <a:lnTo>
                    <a:pt x="116" y="1748"/>
                  </a:lnTo>
                  <a:lnTo>
                    <a:pt x="118" y="1771"/>
                  </a:lnTo>
                  <a:lnTo>
                    <a:pt x="120" y="1793"/>
                  </a:lnTo>
                  <a:lnTo>
                    <a:pt x="123" y="1815"/>
                  </a:lnTo>
                  <a:lnTo>
                    <a:pt x="126" y="1838"/>
                  </a:lnTo>
                  <a:lnTo>
                    <a:pt x="131" y="1860"/>
                  </a:lnTo>
                  <a:lnTo>
                    <a:pt x="135" y="1881"/>
                  </a:lnTo>
                  <a:lnTo>
                    <a:pt x="149" y="1906"/>
                  </a:lnTo>
                  <a:lnTo>
                    <a:pt x="165" y="1928"/>
                  </a:lnTo>
                  <a:lnTo>
                    <a:pt x="181" y="1951"/>
                  </a:lnTo>
                  <a:lnTo>
                    <a:pt x="199" y="1972"/>
                  </a:lnTo>
                  <a:lnTo>
                    <a:pt x="217" y="1994"/>
                  </a:lnTo>
                  <a:lnTo>
                    <a:pt x="235" y="2016"/>
                  </a:lnTo>
                  <a:lnTo>
                    <a:pt x="255" y="2037"/>
                  </a:lnTo>
                  <a:lnTo>
                    <a:pt x="276" y="2058"/>
                  </a:lnTo>
                  <a:lnTo>
                    <a:pt x="272" y="2019"/>
                  </a:lnTo>
                  <a:lnTo>
                    <a:pt x="270" y="1978"/>
                  </a:lnTo>
                  <a:lnTo>
                    <a:pt x="270" y="1938"/>
                  </a:lnTo>
                  <a:lnTo>
                    <a:pt x="271" y="1896"/>
                  </a:lnTo>
                  <a:lnTo>
                    <a:pt x="274" y="1855"/>
                  </a:lnTo>
                  <a:lnTo>
                    <a:pt x="278" y="1812"/>
                  </a:lnTo>
                  <a:lnTo>
                    <a:pt x="285" y="1770"/>
                  </a:lnTo>
                  <a:lnTo>
                    <a:pt x="293" y="1727"/>
                  </a:lnTo>
                  <a:lnTo>
                    <a:pt x="269" y="1704"/>
                  </a:lnTo>
                  <a:lnTo>
                    <a:pt x="246" y="1680"/>
                  </a:lnTo>
                  <a:lnTo>
                    <a:pt x="223" y="1656"/>
                  </a:lnTo>
                  <a:lnTo>
                    <a:pt x="202" y="1630"/>
                  </a:lnTo>
                  <a:lnTo>
                    <a:pt x="182" y="1605"/>
                  </a:lnTo>
                  <a:lnTo>
                    <a:pt x="164" y="1578"/>
                  </a:lnTo>
                  <a:lnTo>
                    <a:pt x="147" y="1553"/>
                  </a:lnTo>
                  <a:lnTo>
                    <a:pt x="131" y="1525"/>
                  </a:lnTo>
                  <a:close/>
                  <a:moveTo>
                    <a:pt x="158" y="1966"/>
                  </a:moveTo>
                  <a:lnTo>
                    <a:pt x="166" y="1989"/>
                  </a:lnTo>
                  <a:lnTo>
                    <a:pt x="174" y="2011"/>
                  </a:lnTo>
                  <a:lnTo>
                    <a:pt x="184" y="2034"/>
                  </a:lnTo>
                  <a:lnTo>
                    <a:pt x="194" y="2055"/>
                  </a:lnTo>
                  <a:lnTo>
                    <a:pt x="204" y="2078"/>
                  </a:lnTo>
                  <a:lnTo>
                    <a:pt x="216" y="2100"/>
                  </a:lnTo>
                  <a:lnTo>
                    <a:pt x="229" y="2122"/>
                  </a:lnTo>
                  <a:lnTo>
                    <a:pt x="241" y="2145"/>
                  </a:lnTo>
                  <a:lnTo>
                    <a:pt x="255" y="2166"/>
                  </a:lnTo>
                  <a:lnTo>
                    <a:pt x="269" y="2187"/>
                  </a:lnTo>
                  <a:lnTo>
                    <a:pt x="283" y="2206"/>
                  </a:lnTo>
                  <a:lnTo>
                    <a:pt x="298" y="2227"/>
                  </a:lnTo>
                  <a:lnTo>
                    <a:pt x="298" y="2226"/>
                  </a:lnTo>
                  <a:lnTo>
                    <a:pt x="308" y="2240"/>
                  </a:lnTo>
                  <a:lnTo>
                    <a:pt x="318" y="2252"/>
                  </a:lnTo>
                  <a:lnTo>
                    <a:pt x="329" y="2265"/>
                  </a:lnTo>
                  <a:lnTo>
                    <a:pt x="339" y="2278"/>
                  </a:lnTo>
                  <a:lnTo>
                    <a:pt x="330" y="2257"/>
                  </a:lnTo>
                  <a:lnTo>
                    <a:pt x="321" y="2235"/>
                  </a:lnTo>
                  <a:lnTo>
                    <a:pt x="313" y="2214"/>
                  </a:lnTo>
                  <a:lnTo>
                    <a:pt x="306" y="2193"/>
                  </a:lnTo>
                  <a:lnTo>
                    <a:pt x="299" y="2171"/>
                  </a:lnTo>
                  <a:lnTo>
                    <a:pt x="293" y="2148"/>
                  </a:lnTo>
                  <a:lnTo>
                    <a:pt x="287" y="2125"/>
                  </a:lnTo>
                  <a:lnTo>
                    <a:pt x="283" y="2102"/>
                  </a:lnTo>
                  <a:lnTo>
                    <a:pt x="248" y="2069"/>
                  </a:lnTo>
                  <a:lnTo>
                    <a:pt x="216" y="2036"/>
                  </a:lnTo>
                  <a:lnTo>
                    <a:pt x="186" y="2001"/>
                  </a:lnTo>
                  <a:lnTo>
                    <a:pt x="158" y="1966"/>
                  </a:lnTo>
                  <a:close/>
                  <a:moveTo>
                    <a:pt x="2078" y="232"/>
                  </a:moveTo>
                  <a:lnTo>
                    <a:pt x="2060" y="219"/>
                  </a:lnTo>
                  <a:lnTo>
                    <a:pt x="2042" y="206"/>
                  </a:lnTo>
                  <a:lnTo>
                    <a:pt x="2023" y="195"/>
                  </a:lnTo>
                  <a:lnTo>
                    <a:pt x="2005" y="182"/>
                  </a:lnTo>
                  <a:lnTo>
                    <a:pt x="1984" y="171"/>
                  </a:lnTo>
                  <a:lnTo>
                    <a:pt x="1965" y="160"/>
                  </a:lnTo>
                  <a:lnTo>
                    <a:pt x="1944" y="150"/>
                  </a:lnTo>
                  <a:lnTo>
                    <a:pt x="1922" y="139"/>
                  </a:lnTo>
                  <a:lnTo>
                    <a:pt x="1898" y="141"/>
                  </a:lnTo>
                  <a:lnTo>
                    <a:pt x="1875" y="143"/>
                  </a:lnTo>
                  <a:lnTo>
                    <a:pt x="1851" y="146"/>
                  </a:lnTo>
                  <a:lnTo>
                    <a:pt x="1826" y="150"/>
                  </a:lnTo>
                  <a:lnTo>
                    <a:pt x="1803" y="154"/>
                  </a:lnTo>
                  <a:lnTo>
                    <a:pt x="1780" y="160"/>
                  </a:lnTo>
                  <a:lnTo>
                    <a:pt x="1757" y="166"/>
                  </a:lnTo>
                  <a:lnTo>
                    <a:pt x="1734" y="173"/>
                  </a:lnTo>
                  <a:lnTo>
                    <a:pt x="1740" y="176"/>
                  </a:lnTo>
                  <a:lnTo>
                    <a:pt x="1746" y="181"/>
                  </a:lnTo>
                  <a:lnTo>
                    <a:pt x="1757" y="188"/>
                  </a:lnTo>
                  <a:lnTo>
                    <a:pt x="1768" y="196"/>
                  </a:lnTo>
                  <a:lnTo>
                    <a:pt x="1777" y="204"/>
                  </a:lnTo>
                  <a:lnTo>
                    <a:pt x="1787" y="212"/>
                  </a:lnTo>
                  <a:lnTo>
                    <a:pt x="1824" y="209"/>
                  </a:lnTo>
                  <a:lnTo>
                    <a:pt x="1861" y="207"/>
                  </a:lnTo>
                  <a:lnTo>
                    <a:pt x="1897" y="207"/>
                  </a:lnTo>
                  <a:lnTo>
                    <a:pt x="1934" y="210"/>
                  </a:lnTo>
                  <a:lnTo>
                    <a:pt x="1969" y="212"/>
                  </a:lnTo>
                  <a:lnTo>
                    <a:pt x="2006" y="218"/>
                  </a:lnTo>
                  <a:lnTo>
                    <a:pt x="2042" y="224"/>
                  </a:lnTo>
                  <a:lnTo>
                    <a:pt x="2078" y="232"/>
                  </a:lnTo>
                  <a:close/>
                  <a:moveTo>
                    <a:pt x="1513" y="278"/>
                  </a:moveTo>
                  <a:lnTo>
                    <a:pt x="1542" y="267"/>
                  </a:lnTo>
                  <a:lnTo>
                    <a:pt x="1572" y="257"/>
                  </a:lnTo>
                  <a:lnTo>
                    <a:pt x="1601" y="249"/>
                  </a:lnTo>
                  <a:lnTo>
                    <a:pt x="1631" y="241"/>
                  </a:lnTo>
                  <a:lnTo>
                    <a:pt x="1661" y="233"/>
                  </a:lnTo>
                  <a:lnTo>
                    <a:pt x="1690" y="227"/>
                  </a:lnTo>
                  <a:lnTo>
                    <a:pt x="1719" y="221"/>
                  </a:lnTo>
                  <a:lnTo>
                    <a:pt x="1749" y="217"/>
                  </a:lnTo>
                  <a:lnTo>
                    <a:pt x="1740" y="210"/>
                  </a:lnTo>
                  <a:lnTo>
                    <a:pt x="1731" y="204"/>
                  </a:lnTo>
                  <a:lnTo>
                    <a:pt x="1716" y="194"/>
                  </a:lnTo>
                  <a:lnTo>
                    <a:pt x="1700" y="184"/>
                  </a:lnTo>
                  <a:lnTo>
                    <a:pt x="1675" y="194"/>
                  </a:lnTo>
                  <a:lnTo>
                    <a:pt x="1651" y="203"/>
                  </a:lnTo>
                  <a:lnTo>
                    <a:pt x="1628" y="214"/>
                  </a:lnTo>
                  <a:lnTo>
                    <a:pt x="1604" y="225"/>
                  </a:lnTo>
                  <a:lnTo>
                    <a:pt x="1581" y="237"/>
                  </a:lnTo>
                  <a:lnTo>
                    <a:pt x="1558" y="250"/>
                  </a:lnTo>
                  <a:lnTo>
                    <a:pt x="1535" y="264"/>
                  </a:lnTo>
                  <a:lnTo>
                    <a:pt x="1513" y="278"/>
                  </a:lnTo>
                  <a:close/>
                  <a:moveTo>
                    <a:pt x="2142" y="251"/>
                  </a:moveTo>
                  <a:lnTo>
                    <a:pt x="2152" y="255"/>
                  </a:lnTo>
                  <a:lnTo>
                    <a:pt x="2162" y="258"/>
                  </a:lnTo>
                  <a:lnTo>
                    <a:pt x="2171" y="262"/>
                  </a:lnTo>
                  <a:lnTo>
                    <a:pt x="2181" y="265"/>
                  </a:lnTo>
                  <a:lnTo>
                    <a:pt x="2159" y="251"/>
                  </a:lnTo>
                  <a:lnTo>
                    <a:pt x="2139" y="237"/>
                  </a:lnTo>
                  <a:lnTo>
                    <a:pt x="2118" y="225"/>
                  </a:lnTo>
                  <a:lnTo>
                    <a:pt x="2096" y="212"/>
                  </a:lnTo>
                  <a:lnTo>
                    <a:pt x="2107" y="221"/>
                  </a:lnTo>
                  <a:lnTo>
                    <a:pt x="2120" y="232"/>
                  </a:lnTo>
                  <a:lnTo>
                    <a:pt x="2132" y="241"/>
                  </a:lnTo>
                  <a:lnTo>
                    <a:pt x="2142" y="251"/>
                  </a:lnTo>
                  <a:close/>
                  <a:moveTo>
                    <a:pt x="1314" y="402"/>
                  </a:moveTo>
                  <a:lnTo>
                    <a:pt x="1290" y="416"/>
                  </a:lnTo>
                  <a:lnTo>
                    <a:pt x="1265" y="430"/>
                  </a:lnTo>
                  <a:lnTo>
                    <a:pt x="1242" y="445"/>
                  </a:lnTo>
                  <a:lnTo>
                    <a:pt x="1219" y="460"/>
                  </a:lnTo>
                  <a:lnTo>
                    <a:pt x="1196" y="476"/>
                  </a:lnTo>
                  <a:lnTo>
                    <a:pt x="1173" y="491"/>
                  </a:lnTo>
                  <a:lnTo>
                    <a:pt x="1150" y="507"/>
                  </a:lnTo>
                  <a:lnTo>
                    <a:pt x="1128" y="524"/>
                  </a:lnTo>
                  <a:lnTo>
                    <a:pt x="1106" y="540"/>
                  </a:lnTo>
                  <a:lnTo>
                    <a:pt x="1085" y="558"/>
                  </a:lnTo>
                  <a:lnTo>
                    <a:pt x="1061" y="576"/>
                  </a:lnTo>
                  <a:lnTo>
                    <a:pt x="1041" y="593"/>
                  </a:lnTo>
                  <a:lnTo>
                    <a:pt x="1050" y="603"/>
                  </a:lnTo>
                  <a:lnTo>
                    <a:pt x="1061" y="611"/>
                  </a:lnTo>
                  <a:lnTo>
                    <a:pt x="1072" y="620"/>
                  </a:lnTo>
                  <a:lnTo>
                    <a:pt x="1083" y="628"/>
                  </a:lnTo>
                  <a:lnTo>
                    <a:pt x="1095" y="635"/>
                  </a:lnTo>
                  <a:lnTo>
                    <a:pt x="1106" y="642"/>
                  </a:lnTo>
                  <a:lnTo>
                    <a:pt x="1131" y="610"/>
                  </a:lnTo>
                  <a:lnTo>
                    <a:pt x="1155" y="577"/>
                  </a:lnTo>
                  <a:lnTo>
                    <a:pt x="1180" y="546"/>
                  </a:lnTo>
                  <a:lnTo>
                    <a:pt x="1207" y="515"/>
                  </a:lnTo>
                  <a:lnTo>
                    <a:pt x="1232" y="485"/>
                  </a:lnTo>
                  <a:lnTo>
                    <a:pt x="1258" y="456"/>
                  </a:lnTo>
                  <a:lnTo>
                    <a:pt x="1286" y="429"/>
                  </a:lnTo>
                  <a:lnTo>
                    <a:pt x="1314" y="402"/>
                  </a:lnTo>
                  <a:close/>
                  <a:moveTo>
                    <a:pt x="1019" y="612"/>
                  </a:moveTo>
                  <a:lnTo>
                    <a:pt x="979" y="648"/>
                  </a:lnTo>
                  <a:lnTo>
                    <a:pt x="938" y="686"/>
                  </a:lnTo>
                  <a:lnTo>
                    <a:pt x="898" y="724"/>
                  </a:lnTo>
                  <a:lnTo>
                    <a:pt x="860" y="764"/>
                  </a:lnTo>
                  <a:lnTo>
                    <a:pt x="822" y="804"/>
                  </a:lnTo>
                  <a:lnTo>
                    <a:pt x="785" y="846"/>
                  </a:lnTo>
                  <a:lnTo>
                    <a:pt x="749" y="888"/>
                  </a:lnTo>
                  <a:lnTo>
                    <a:pt x="714" y="932"/>
                  </a:lnTo>
                  <a:lnTo>
                    <a:pt x="731" y="946"/>
                  </a:lnTo>
                  <a:lnTo>
                    <a:pt x="749" y="959"/>
                  </a:lnTo>
                  <a:lnTo>
                    <a:pt x="768" y="971"/>
                  </a:lnTo>
                  <a:lnTo>
                    <a:pt x="786" y="985"/>
                  </a:lnTo>
                  <a:lnTo>
                    <a:pt x="808" y="998"/>
                  </a:lnTo>
                  <a:lnTo>
                    <a:pt x="830" y="1010"/>
                  </a:lnTo>
                  <a:lnTo>
                    <a:pt x="852" y="1023"/>
                  </a:lnTo>
                  <a:lnTo>
                    <a:pt x="876" y="1035"/>
                  </a:lnTo>
                  <a:lnTo>
                    <a:pt x="883" y="1019"/>
                  </a:lnTo>
                  <a:lnTo>
                    <a:pt x="891" y="1004"/>
                  </a:lnTo>
                  <a:lnTo>
                    <a:pt x="913" y="959"/>
                  </a:lnTo>
                  <a:lnTo>
                    <a:pt x="936" y="915"/>
                  </a:lnTo>
                  <a:lnTo>
                    <a:pt x="960" y="871"/>
                  </a:lnTo>
                  <a:lnTo>
                    <a:pt x="985" y="828"/>
                  </a:lnTo>
                  <a:lnTo>
                    <a:pt x="1011" y="786"/>
                  </a:lnTo>
                  <a:lnTo>
                    <a:pt x="1036" y="744"/>
                  </a:lnTo>
                  <a:lnTo>
                    <a:pt x="1063" y="704"/>
                  </a:lnTo>
                  <a:lnTo>
                    <a:pt x="1090" y="664"/>
                  </a:lnTo>
                  <a:lnTo>
                    <a:pt x="1079" y="657"/>
                  </a:lnTo>
                  <a:lnTo>
                    <a:pt x="1068" y="650"/>
                  </a:lnTo>
                  <a:lnTo>
                    <a:pt x="1056" y="641"/>
                  </a:lnTo>
                  <a:lnTo>
                    <a:pt x="1043" y="631"/>
                  </a:lnTo>
                  <a:lnTo>
                    <a:pt x="1030" y="622"/>
                  </a:lnTo>
                  <a:lnTo>
                    <a:pt x="1019" y="612"/>
                  </a:lnTo>
                  <a:close/>
                  <a:moveTo>
                    <a:pt x="697" y="953"/>
                  </a:moveTo>
                  <a:lnTo>
                    <a:pt x="663" y="999"/>
                  </a:lnTo>
                  <a:lnTo>
                    <a:pt x="629" y="1046"/>
                  </a:lnTo>
                  <a:lnTo>
                    <a:pt x="597" y="1093"/>
                  </a:lnTo>
                  <a:lnTo>
                    <a:pt x="566" y="1141"/>
                  </a:lnTo>
                  <a:lnTo>
                    <a:pt x="537" y="1189"/>
                  </a:lnTo>
                  <a:lnTo>
                    <a:pt x="509" y="1239"/>
                  </a:lnTo>
                  <a:lnTo>
                    <a:pt x="482" y="1287"/>
                  </a:lnTo>
                  <a:lnTo>
                    <a:pt x="458" y="1337"/>
                  </a:lnTo>
                  <a:lnTo>
                    <a:pt x="482" y="1356"/>
                  </a:lnTo>
                  <a:lnTo>
                    <a:pt x="506" y="1375"/>
                  </a:lnTo>
                  <a:lnTo>
                    <a:pt x="532" y="1392"/>
                  </a:lnTo>
                  <a:lnTo>
                    <a:pt x="559" y="1410"/>
                  </a:lnTo>
                  <a:lnTo>
                    <a:pt x="593" y="1431"/>
                  </a:lnTo>
                  <a:lnTo>
                    <a:pt x="628" y="1451"/>
                  </a:lnTo>
                  <a:lnTo>
                    <a:pt x="664" y="1469"/>
                  </a:lnTo>
                  <a:lnTo>
                    <a:pt x="702" y="1487"/>
                  </a:lnTo>
                  <a:lnTo>
                    <a:pt x="718" y="1433"/>
                  </a:lnTo>
                  <a:lnTo>
                    <a:pt x="737" y="1379"/>
                  </a:lnTo>
                  <a:lnTo>
                    <a:pt x="755" y="1326"/>
                  </a:lnTo>
                  <a:lnTo>
                    <a:pt x="775" y="1272"/>
                  </a:lnTo>
                  <a:lnTo>
                    <a:pt x="795" y="1218"/>
                  </a:lnTo>
                  <a:lnTo>
                    <a:pt x="817" y="1165"/>
                  </a:lnTo>
                  <a:lnTo>
                    <a:pt x="840" y="1112"/>
                  </a:lnTo>
                  <a:lnTo>
                    <a:pt x="863" y="1060"/>
                  </a:lnTo>
                  <a:lnTo>
                    <a:pt x="840" y="1047"/>
                  </a:lnTo>
                  <a:lnTo>
                    <a:pt x="816" y="1035"/>
                  </a:lnTo>
                  <a:lnTo>
                    <a:pt x="793" y="1021"/>
                  </a:lnTo>
                  <a:lnTo>
                    <a:pt x="771" y="1007"/>
                  </a:lnTo>
                  <a:lnTo>
                    <a:pt x="752" y="994"/>
                  </a:lnTo>
                  <a:lnTo>
                    <a:pt x="733" y="982"/>
                  </a:lnTo>
                  <a:lnTo>
                    <a:pt x="715" y="968"/>
                  </a:lnTo>
                  <a:lnTo>
                    <a:pt x="697" y="953"/>
                  </a:lnTo>
                  <a:close/>
                  <a:moveTo>
                    <a:pt x="445" y="1362"/>
                  </a:moveTo>
                  <a:lnTo>
                    <a:pt x="427" y="1402"/>
                  </a:lnTo>
                  <a:lnTo>
                    <a:pt x="409" y="1443"/>
                  </a:lnTo>
                  <a:lnTo>
                    <a:pt x="393" y="1484"/>
                  </a:lnTo>
                  <a:lnTo>
                    <a:pt x="378" y="1524"/>
                  </a:lnTo>
                  <a:lnTo>
                    <a:pt x="369" y="1549"/>
                  </a:lnTo>
                  <a:lnTo>
                    <a:pt x="361" y="1573"/>
                  </a:lnTo>
                  <a:lnTo>
                    <a:pt x="354" y="1597"/>
                  </a:lnTo>
                  <a:lnTo>
                    <a:pt x="346" y="1621"/>
                  </a:lnTo>
                  <a:lnTo>
                    <a:pt x="340" y="1645"/>
                  </a:lnTo>
                  <a:lnTo>
                    <a:pt x="333" y="1669"/>
                  </a:lnTo>
                  <a:lnTo>
                    <a:pt x="328" y="1694"/>
                  </a:lnTo>
                  <a:lnTo>
                    <a:pt x="322" y="1718"/>
                  </a:lnTo>
                  <a:lnTo>
                    <a:pt x="353" y="1744"/>
                  </a:lnTo>
                  <a:lnTo>
                    <a:pt x="385" y="1771"/>
                  </a:lnTo>
                  <a:lnTo>
                    <a:pt x="420" y="1796"/>
                  </a:lnTo>
                  <a:lnTo>
                    <a:pt x="454" y="1822"/>
                  </a:lnTo>
                  <a:lnTo>
                    <a:pt x="491" y="1845"/>
                  </a:lnTo>
                  <a:lnTo>
                    <a:pt x="529" y="1868"/>
                  </a:lnTo>
                  <a:lnTo>
                    <a:pt x="568" y="1890"/>
                  </a:lnTo>
                  <a:lnTo>
                    <a:pt x="610" y="1910"/>
                  </a:lnTo>
                  <a:lnTo>
                    <a:pt x="614" y="1875"/>
                  </a:lnTo>
                  <a:lnTo>
                    <a:pt x="620" y="1839"/>
                  </a:lnTo>
                  <a:lnTo>
                    <a:pt x="626" y="1803"/>
                  </a:lnTo>
                  <a:lnTo>
                    <a:pt x="633" y="1766"/>
                  </a:lnTo>
                  <a:lnTo>
                    <a:pt x="641" y="1729"/>
                  </a:lnTo>
                  <a:lnTo>
                    <a:pt x="649" y="1693"/>
                  </a:lnTo>
                  <a:lnTo>
                    <a:pt x="657" y="1655"/>
                  </a:lnTo>
                  <a:lnTo>
                    <a:pt x="666" y="1618"/>
                  </a:lnTo>
                  <a:lnTo>
                    <a:pt x="673" y="1591"/>
                  </a:lnTo>
                  <a:lnTo>
                    <a:pt x="680" y="1566"/>
                  </a:lnTo>
                  <a:lnTo>
                    <a:pt x="687" y="1539"/>
                  </a:lnTo>
                  <a:lnTo>
                    <a:pt x="694" y="1514"/>
                  </a:lnTo>
                  <a:lnTo>
                    <a:pt x="655" y="1496"/>
                  </a:lnTo>
                  <a:lnTo>
                    <a:pt x="617" y="1475"/>
                  </a:lnTo>
                  <a:lnTo>
                    <a:pt x="580" y="1454"/>
                  </a:lnTo>
                  <a:lnTo>
                    <a:pt x="544" y="1433"/>
                  </a:lnTo>
                  <a:lnTo>
                    <a:pt x="518" y="1416"/>
                  </a:lnTo>
                  <a:lnTo>
                    <a:pt x="494" y="1399"/>
                  </a:lnTo>
                  <a:lnTo>
                    <a:pt x="468" y="1380"/>
                  </a:lnTo>
                  <a:lnTo>
                    <a:pt x="445" y="1362"/>
                  </a:lnTo>
                  <a:close/>
                  <a:moveTo>
                    <a:pt x="316" y="1749"/>
                  </a:moveTo>
                  <a:lnTo>
                    <a:pt x="309" y="1793"/>
                  </a:lnTo>
                  <a:lnTo>
                    <a:pt x="303" y="1837"/>
                  </a:lnTo>
                  <a:lnTo>
                    <a:pt x="299" y="1880"/>
                  </a:lnTo>
                  <a:lnTo>
                    <a:pt x="298" y="1923"/>
                  </a:lnTo>
                  <a:lnTo>
                    <a:pt x="297" y="1966"/>
                  </a:lnTo>
                  <a:lnTo>
                    <a:pt x="299" y="2007"/>
                  </a:lnTo>
                  <a:lnTo>
                    <a:pt x="302" y="2047"/>
                  </a:lnTo>
                  <a:lnTo>
                    <a:pt x="308" y="2088"/>
                  </a:lnTo>
                  <a:lnTo>
                    <a:pt x="331" y="2107"/>
                  </a:lnTo>
                  <a:lnTo>
                    <a:pt x="355" y="2127"/>
                  </a:lnTo>
                  <a:lnTo>
                    <a:pt x="379" y="2146"/>
                  </a:lnTo>
                  <a:lnTo>
                    <a:pt x="405" y="2165"/>
                  </a:lnTo>
                  <a:lnTo>
                    <a:pt x="430" y="2182"/>
                  </a:lnTo>
                  <a:lnTo>
                    <a:pt x="457" y="2199"/>
                  </a:lnTo>
                  <a:lnTo>
                    <a:pt x="484" y="2217"/>
                  </a:lnTo>
                  <a:lnTo>
                    <a:pt x="513" y="2233"/>
                  </a:lnTo>
                  <a:lnTo>
                    <a:pt x="533" y="2244"/>
                  </a:lnTo>
                  <a:lnTo>
                    <a:pt x="552" y="2256"/>
                  </a:lnTo>
                  <a:lnTo>
                    <a:pt x="573" y="2266"/>
                  </a:lnTo>
                  <a:lnTo>
                    <a:pt x="594" y="2277"/>
                  </a:lnTo>
                  <a:lnTo>
                    <a:pt x="593" y="2255"/>
                  </a:lnTo>
                  <a:lnTo>
                    <a:pt x="591" y="2232"/>
                  </a:lnTo>
                  <a:lnTo>
                    <a:pt x="590" y="2209"/>
                  </a:lnTo>
                  <a:lnTo>
                    <a:pt x="590" y="2186"/>
                  </a:lnTo>
                  <a:lnTo>
                    <a:pt x="590" y="2157"/>
                  </a:lnTo>
                  <a:lnTo>
                    <a:pt x="591" y="2127"/>
                  </a:lnTo>
                  <a:lnTo>
                    <a:pt x="593" y="2097"/>
                  </a:lnTo>
                  <a:lnTo>
                    <a:pt x="594" y="2066"/>
                  </a:lnTo>
                  <a:lnTo>
                    <a:pt x="596" y="2035"/>
                  </a:lnTo>
                  <a:lnTo>
                    <a:pt x="598" y="2004"/>
                  </a:lnTo>
                  <a:lnTo>
                    <a:pt x="602" y="1971"/>
                  </a:lnTo>
                  <a:lnTo>
                    <a:pt x="605" y="1939"/>
                  </a:lnTo>
                  <a:lnTo>
                    <a:pt x="562" y="1917"/>
                  </a:lnTo>
                  <a:lnTo>
                    <a:pt x="520" y="1894"/>
                  </a:lnTo>
                  <a:lnTo>
                    <a:pt x="479" y="1869"/>
                  </a:lnTo>
                  <a:lnTo>
                    <a:pt x="439" y="1843"/>
                  </a:lnTo>
                  <a:lnTo>
                    <a:pt x="407" y="1822"/>
                  </a:lnTo>
                  <a:lnTo>
                    <a:pt x="375" y="1797"/>
                  </a:lnTo>
                  <a:lnTo>
                    <a:pt x="345" y="1773"/>
                  </a:lnTo>
                  <a:lnTo>
                    <a:pt x="316" y="1749"/>
                  </a:lnTo>
                  <a:close/>
                  <a:moveTo>
                    <a:pt x="317" y="2131"/>
                  </a:moveTo>
                  <a:lnTo>
                    <a:pt x="325" y="2163"/>
                  </a:lnTo>
                  <a:lnTo>
                    <a:pt x="335" y="2193"/>
                  </a:lnTo>
                  <a:lnTo>
                    <a:pt x="345" y="2221"/>
                  </a:lnTo>
                  <a:lnTo>
                    <a:pt x="358" y="2250"/>
                  </a:lnTo>
                  <a:lnTo>
                    <a:pt x="370" y="2279"/>
                  </a:lnTo>
                  <a:lnTo>
                    <a:pt x="385" y="2305"/>
                  </a:lnTo>
                  <a:lnTo>
                    <a:pt x="403" y="2332"/>
                  </a:lnTo>
                  <a:lnTo>
                    <a:pt x="420" y="2358"/>
                  </a:lnTo>
                  <a:lnTo>
                    <a:pt x="445" y="2380"/>
                  </a:lnTo>
                  <a:lnTo>
                    <a:pt x="472" y="2401"/>
                  </a:lnTo>
                  <a:lnTo>
                    <a:pt x="498" y="2422"/>
                  </a:lnTo>
                  <a:lnTo>
                    <a:pt x="527" y="2443"/>
                  </a:lnTo>
                  <a:lnTo>
                    <a:pt x="556" y="2462"/>
                  </a:lnTo>
                  <a:lnTo>
                    <a:pt x="586" y="2481"/>
                  </a:lnTo>
                  <a:lnTo>
                    <a:pt x="616" y="2499"/>
                  </a:lnTo>
                  <a:lnTo>
                    <a:pt x="647" y="2516"/>
                  </a:lnTo>
                  <a:lnTo>
                    <a:pt x="639" y="2494"/>
                  </a:lnTo>
                  <a:lnTo>
                    <a:pt x="629" y="2470"/>
                  </a:lnTo>
                  <a:lnTo>
                    <a:pt x="623" y="2446"/>
                  </a:lnTo>
                  <a:lnTo>
                    <a:pt x="616" y="2421"/>
                  </a:lnTo>
                  <a:lnTo>
                    <a:pt x="610" y="2394"/>
                  </a:lnTo>
                  <a:lnTo>
                    <a:pt x="605" y="2367"/>
                  </a:lnTo>
                  <a:lnTo>
                    <a:pt x="601" y="2338"/>
                  </a:lnTo>
                  <a:lnTo>
                    <a:pt x="597" y="2308"/>
                  </a:lnTo>
                  <a:lnTo>
                    <a:pt x="572" y="2296"/>
                  </a:lnTo>
                  <a:lnTo>
                    <a:pt x="548" y="2284"/>
                  </a:lnTo>
                  <a:lnTo>
                    <a:pt x="522" y="2271"/>
                  </a:lnTo>
                  <a:lnTo>
                    <a:pt x="499" y="2257"/>
                  </a:lnTo>
                  <a:lnTo>
                    <a:pt x="474" y="2243"/>
                  </a:lnTo>
                  <a:lnTo>
                    <a:pt x="450" y="2228"/>
                  </a:lnTo>
                  <a:lnTo>
                    <a:pt x="427" y="2213"/>
                  </a:lnTo>
                  <a:lnTo>
                    <a:pt x="404" y="2197"/>
                  </a:lnTo>
                  <a:lnTo>
                    <a:pt x="382" y="2181"/>
                  </a:lnTo>
                  <a:lnTo>
                    <a:pt x="360" y="2165"/>
                  </a:lnTo>
                  <a:lnTo>
                    <a:pt x="338" y="2149"/>
                  </a:lnTo>
                  <a:lnTo>
                    <a:pt x="317" y="2131"/>
                  </a:lnTo>
                  <a:close/>
                  <a:moveTo>
                    <a:pt x="1869" y="116"/>
                  </a:moveTo>
                  <a:lnTo>
                    <a:pt x="1847" y="107"/>
                  </a:lnTo>
                  <a:lnTo>
                    <a:pt x="1824" y="99"/>
                  </a:lnTo>
                  <a:lnTo>
                    <a:pt x="1801" y="92"/>
                  </a:lnTo>
                  <a:lnTo>
                    <a:pt x="1778" y="84"/>
                  </a:lnTo>
                  <a:lnTo>
                    <a:pt x="1754" y="77"/>
                  </a:lnTo>
                  <a:lnTo>
                    <a:pt x="1730" y="72"/>
                  </a:lnTo>
                  <a:lnTo>
                    <a:pt x="1705" y="66"/>
                  </a:lnTo>
                  <a:lnTo>
                    <a:pt x="1681" y="60"/>
                  </a:lnTo>
                  <a:lnTo>
                    <a:pt x="1669" y="62"/>
                  </a:lnTo>
                  <a:lnTo>
                    <a:pt x="1657" y="66"/>
                  </a:lnTo>
                  <a:lnTo>
                    <a:pt x="1646" y="70"/>
                  </a:lnTo>
                  <a:lnTo>
                    <a:pt x="1634" y="76"/>
                  </a:lnTo>
                  <a:lnTo>
                    <a:pt x="1621" y="83"/>
                  </a:lnTo>
                  <a:lnTo>
                    <a:pt x="1610" y="91"/>
                  </a:lnTo>
                  <a:lnTo>
                    <a:pt x="1598" y="99"/>
                  </a:lnTo>
                  <a:lnTo>
                    <a:pt x="1586" y="110"/>
                  </a:lnTo>
                  <a:lnTo>
                    <a:pt x="1617" y="119"/>
                  </a:lnTo>
                  <a:lnTo>
                    <a:pt x="1647" y="129"/>
                  </a:lnTo>
                  <a:lnTo>
                    <a:pt x="1674" y="142"/>
                  </a:lnTo>
                  <a:lnTo>
                    <a:pt x="1702" y="154"/>
                  </a:lnTo>
                  <a:lnTo>
                    <a:pt x="1742" y="142"/>
                  </a:lnTo>
                  <a:lnTo>
                    <a:pt x="1784" y="130"/>
                  </a:lnTo>
                  <a:lnTo>
                    <a:pt x="1806" y="127"/>
                  </a:lnTo>
                  <a:lnTo>
                    <a:pt x="1826" y="122"/>
                  </a:lnTo>
                  <a:lnTo>
                    <a:pt x="1847" y="119"/>
                  </a:lnTo>
                  <a:lnTo>
                    <a:pt x="1869" y="116"/>
                  </a:lnTo>
                  <a:close/>
                  <a:moveTo>
                    <a:pt x="682" y="2582"/>
                  </a:moveTo>
                  <a:lnTo>
                    <a:pt x="676" y="2570"/>
                  </a:lnTo>
                  <a:lnTo>
                    <a:pt x="667" y="2558"/>
                  </a:lnTo>
                  <a:lnTo>
                    <a:pt x="641" y="2544"/>
                  </a:lnTo>
                  <a:lnTo>
                    <a:pt x="616" y="2530"/>
                  </a:lnTo>
                  <a:lnTo>
                    <a:pt x="589" y="2515"/>
                  </a:lnTo>
                  <a:lnTo>
                    <a:pt x="565" y="2500"/>
                  </a:lnTo>
                  <a:lnTo>
                    <a:pt x="594" y="2521"/>
                  </a:lnTo>
                  <a:lnTo>
                    <a:pt x="623" y="2543"/>
                  </a:lnTo>
                  <a:lnTo>
                    <a:pt x="653" y="2562"/>
                  </a:lnTo>
                  <a:lnTo>
                    <a:pt x="682" y="2582"/>
                  </a:lnTo>
                  <a:close/>
                  <a:moveTo>
                    <a:pt x="1450" y="288"/>
                  </a:moveTo>
                  <a:lnTo>
                    <a:pt x="1476" y="270"/>
                  </a:lnTo>
                  <a:lnTo>
                    <a:pt x="1503" y="252"/>
                  </a:lnTo>
                  <a:lnTo>
                    <a:pt x="1529" y="235"/>
                  </a:lnTo>
                  <a:lnTo>
                    <a:pt x="1556" y="220"/>
                  </a:lnTo>
                  <a:lnTo>
                    <a:pt x="1583" y="205"/>
                  </a:lnTo>
                  <a:lnTo>
                    <a:pt x="1611" y="191"/>
                  </a:lnTo>
                  <a:lnTo>
                    <a:pt x="1639" y="179"/>
                  </a:lnTo>
                  <a:lnTo>
                    <a:pt x="1666" y="167"/>
                  </a:lnTo>
                  <a:lnTo>
                    <a:pt x="1642" y="157"/>
                  </a:lnTo>
                  <a:lnTo>
                    <a:pt x="1617" y="148"/>
                  </a:lnTo>
                  <a:lnTo>
                    <a:pt x="1590" y="139"/>
                  </a:lnTo>
                  <a:lnTo>
                    <a:pt x="1563" y="131"/>
                  </a:lnTo>
                  <a:lnTo>
                    <a:pt x="1549" y="146"/>
                  </a:lnTo>
                  <a:lnTo>
                    <a:pt x="1535" y="163"/>
                  </a:lnTo>
                  <a:lnTo>
                    <a:pt x="1521" y="180"/>
                  </a:lnTo>
                  <a:lnTo>
                    <a:pt x="1507" y="198"/>
                  </a:lnTo>
                  <a:lnTo>
                    <a:pt x="1492" y="219"/>
                  </a:lnTo>
                  <a:lnTo>
                    <a:pt x="1478" y="241"/>
                  </a:lnTo>
                  <a:lnTo>
                    <a:pt x="1464" y="264"/>
                  </a:lnTo>
                  <a:lnTo>
                    <a:pt x="1450" y="288"/>
                  </a:lnTo>
                  <a:close/>
                  <a:moveTo>
                    <a:pt x="1366" y="391"/>
                  </a:moveTo>
                  <a:lnTo>
                    <a:pt x="1334" y="419"/>
                  </a:lnTo>
                  <a:lnTo>
                    <a:pt x="1303" y="449"/>
                  </a:lnTo>
                  <a:lnTo>
                    <a:pt x="1273" y="482"/>
                  </a:lnTo>
                  <a:lnTo>
                    <a:pt x="1243" y="514"/>
                  </a:lnTo>
                  <a:lnTo>
                    <a:pt x="1215" y="547"/>
                  </a:lnTo>
                  <a:lnTo>
                    <a:pt x="1186" y="582"/>
                  </a:lnTo>
                  <a:lnTo>
                    <a:pt x="1158" y="619"/>
                  </a:lnTo>
                  <a:lnTo>
                    <a:pt x="1131" y="654"/>
                  </a:lnTo>
                  <a:lnTo>
                    <a:pt x="1157" y="667"/>
                  </a:lnTo>
                  <a:lnTo>
                    <a:pt x="1185" y="679"/>
                  </a:lnTo>
                  <a:lnTo>
                    <a:pt x="1214" y="689"/>
                  </a:lnTo>
                  <a:lnTo>
                    <a:pt x="1243" y="697"/>
                  </a:lnTo>
                  <a:lnTo>
                    <a:pt x="1257" y="656"/>
                  </a:lnTo>
                  <a:lnTo>
                    <a:pt x="1272" y="614"/>
                  </a:lnTo>
                  <a:lnTo>
                    <a:pt x="1287" y="575"/>
                  </a:lnTo>
                  <a:lnTo>
                    <a:pt x="1303" y="536"/>
                  </a:lnTo>
                  <a:lnTo>
                    <a:pt x="1318" y="498"/>
                  </a:lnTo>
                  <a:lnTo>
                    <a:pt x="1334" y="461"/>
                  </a:lnTo>
                  <a:lnTo>
                    <a:pt x="1349" y="425"/>
                  </a:lnTo>
                  <a:lnTo>
                    <a:pt x="1366" y="391"/>
                  </a:lnTo>
                  <a:close/>
                  <a:moveTo>
                    <a:pt x="1114" y="678"/>
                  </a:moveTo>
                  <a:lnTo>
                    <a:pt x="1087" y="717"/>
                  </a:lnTo>
                  <a:lnTo>
                    <a:pt x="1060" y="757"/>
                  </a:lnTo>
                  <a:lnTo>
                    <a:pt x="1034" y="798"/>
                  </a:lnTo>
                  <a:lnTo>
                    <a:pt x="1010" y="841"/>
                  </a:lnTo>
                  <a:lnTo>
                    <a:pt x="984" y="884"/>
                  </a:lnTo>
                  <a:lnTo>
                    <a:pt x="961" y="926"/>
                  </a:lnTo>
                  <a:lnTo>
                    <a:pt x="938" y="970"/>
                  </a:lnTo>
                  <a:lnTo>
                    <a:pt x="915" y="1015"/>
                  </a:lnTo>
                  <a:lnTo>
                    <a:pt x="908" y="1031"/>
                  </a:lnTo>
                  <a:lnTo>
                    <a:pt x="900" y="1046"/>
                  </a:lnTo>
                  <a:lnTo>
                    <a:pt x="926" y="1058"/>
                  </a:lnTo>
                  <a:lnTo>
                    <a:pt x="952" y="1068"/>
                  </a:lnTo>
                  <a:lnTo>
                    <a:pt x="979" y="1078"/>
                  </a:lnTo>
                  <a:lnTo>
                    <a:pt x="1006" y="1088"/>
                  </a:lnTo>
                  <a:lnTo>
                    <a:pt x="1034" y="1097"/>
                  </a:lnTo>
                  <a:lnTo>
                    <a:pt x="1061" y="1105"/>
                  </a:lnTo>
                  <a:lnTo>
                    <a:pt x="1091" y="1113"/>
                  </a:lnTo>
                  <a:lnTo>
                    <a:pt x="1120" y="1120"/>
                  </a:lnTo>
                  <a:lnTo>
                    <a:pt x="1133" y="1068"/>
                  </a:lnTo>
                  <a:lnTo>
                    <a:pt x="1147" y="1016"/>
                  </a:lnTo>
                  <a:lnTo>
                    <a:pt x="1161" y="966"/>
                  </a:lnTo>
                  <a:lnTo>
                    <a:pt x="1174" y="916"/>
                  </a:lnTo>
                  <a:lnTo>
                    <a:pt x="1189" y="866"/>
                  </a:lnTo>
                  <a:lnTo>
                    <a:pt x="1204" y="818"/>
                  </a:lnTo>
                  <a:lnTo>
                    <a:pt x="1219" y="771"/>
                  </a:lnTo>
                  <a:lnTo>
                    <a:pt x="1234" y="724"/>
                  </a:lnTo>
                  <a:lnTo>
                    <a:pt x="1202" y="714"/>
                  </a:lnTo>
                  <a:lnTo>
                    <a:pt x="1172" y="703"/>
                  </a:lnTo>
                  <a:lnTo>
                    <a:pt x="1142" y="691"/>
                  </a:lnTo>
                  <a:lnTo>
                    <a:pt x="1114" y="678"/>
                  </a:lnTo>
                  <a:close/>
                  <a:moveTo>
                    <a:pt x="889" y="1072"/>
                  </a:moveTo>
                  <a:lnTo>
                    <a:pt x="864" y="1123"/>
                  </a:lnTo>
                  <a:lnTo>
                    <a:pt x="841" y="1176"/>
                  </a:lnTo>
                  <a:lnTo>
                    <a:pt x="821" y="1229"/>
                  </a:lnTo>
                  <a:lnTo>
                    <a:pt x="800" y="1284"/>
                  </a:lnTo>
                  <a:lnTo>
                    <a:pt x="780" y="1338"/>
                  </a:lnTo>
                  <a:lnTo>
                    <a:pt x="761" y="1391"/>
                  </a:lnTo>
                  <a:lnTo>
                    <a:pt x="744" y="1445"/>
                  </a:lnTo>
                  <a:lnTo>
                    <a:pt x="727" y="1499"/>
                  </a:lnTo>
                  <a:lnTo>
                    <a:pt x="762" y="1513"/>
                  </a:lnTo>
                  <a:lnTo>
                    <a:pt x="797" y="1527"/>
                  </a:lnTo>
                  <a:lnTo>
                    <a:pt x="832" y="1540"/>
                  </a:lnTo>
                  <a:lnTo>
                    <a:pt x="869" y="1552"/>
                  </a:lnTo>
                  <a:lnTo>
                    <a:pt x="907" y="1563"/>
                  </a:lnTo>
                  <a:lnTo>
                    <a:pt x="945" y="1574"/>
                  </a:lnTo>
                  <a:lnTo>
                    <a:pt x="983" y="1584"/>
                  </a:lnTo>
                  <a:lnTo>
                    <a:pt x="1022" y="1592"/>
                  </a:lnTo>
                  <a:lnTo>
                    <a:pt x="1032" y="1543"/>
                  </a:lnTo>
                  <a:lnTo>
                    <a:pt x="1041" y="1493"/>
                  </a:lnTo>
                  <a:lnTo>
                    <a:pt x="1050" y="1444"/>
                  </a:lnTo>
                  <a:lnTo>
                    <a:pt x="1059" y="1393"/>
                  </a:lnTo>
                  <a:lnTo>
                    <a:pt x="1070" y="1343"/>
                  </a:lnTo>
                  <a:lnTo>
                    <a:pt x="1080" y="1293"/>
                  </a:lnTo>
                  <a:lnTo>
                    <a:pt x="1091" y="1243"/>
                  </a:lnTo>
                  <a:lnTo>
                    <a:pt x="1103" y="1194"/>
                  </a:lnTo>
                  <a:lnTo>
                    <a:pt x="1105" y="1182"/>
                  </a:lnTo>
                  <a:lnTo>
                    <a:pt x="1108" y="1169"/>
                  </a:lnTo>
                  <a:lnTo>
                    <a:pt x="1111" y="1158"/>
                  </a:lnTo>
                  <a:lnTo>
                    <a:pt x="1114" y="1146"/>
                  </a:lnTo>
                  <a:lnTo>
                    <a:pt x="1083" y="1138"/>
                  </a:lnTo>
                  <a:lnTo>
                    <a:pt x="1055" y="1131"/>
                  </a:lnTo>
                  <a:lnTo>
                    <a:pt x="1025" y="1122"/>
                  </a:lnTo>
                  <a:lnTo>
                    <a:pt x="997" y="1113"/>
                  </a:lnTo>
                  <a:lnTo>
                    <a:pt x="968" y="1104"/>
                  </a:lnTo>
                  <a:lnTo>
                    <a:pt x="942" y="1093"/>
                  </a:lnTo>
                  <a:lnTo>
                    <a:pt x="915" y="1083"/>
                  </a:lnTo>
                  <a:lnTo>
                    <a:pt x="889" y="1072"/>
                  </a:lnTo>
                  <a:close/>
                  <a:moveTo>
                    <a:pt x="719" y="1525"/>
                  </a:moveTo>
                  <a:lnTo>
                    <a:pt x="712" y="1550"/>
                  </a:lnTo>
                  <a:lnTo>
                    <a:pt x="706" y="1575"/>
                  </a:lnTo>
                  <a:lnTo>
                    <a:pt x="700" y="1599"/>
                  </a:lnTo>
                  <a:lnTo>
                    <a:pt x="693" y="1623"/>
                  </a:lnTo>
                  <a:lnTo>
                    <a:pt x="684" y="1663"/>
                  </a:lnTo>
                  <a:lnTo>
                    <a:pt x="674" y="1701"/>
                  </a:lnTo>
                  <a:lnTo>
                    <a:pt x="666" y="1739"/>
                  </a:lnTo>
                  <a:lnTo>
                    <a:pt x="659" y="1775"/>
                  </a:lnTo>
                  <a:lnTo>
                    <a:pt x="653" y="1813"/>
                  </a:lnTo>
                  <a:lnTo>
                    <a:pt x="646" y="1850"/>
                  </a:lnTo>
                  <a:lnTo>
                    <a:pt x="640" y="1887"/>
                  </a:lnTo>
                  <a:lnTo>
                    <a:pt x="635" y="1923"/>
                  </a:lnTo>
                  <a:lnTo>
                    <a:pt x="673" y="1940"/>
                  </a:lnTo>
                  <a:lnTo>
                    <a:pt x="714" y="1958"/>
                  </a:lnTo>
                  <a:lnTo>
                    <a:pt x="754" y="1972"/>
                  </a:lnTo>
                  <a:lnTo>
                    <a:pt x="794" y="1987"/>
                  </a:lnTo>
                  <a:lnTo>
                    <a:pt x="837" y="2001"/>
                  </a:lnTo>
                  <a:lnTo>
                    <a:pt x="879" y="2014"/>
                  </a:lnTo>
                  <a:lnTo>
                    <a:pt x="923" y="2027"/>
                  </a:lnTo>
                  <a:lnTo>
                    <a:pt x="968" y="2037"/>
                  </a:lnTo>
                  <a:lnTo>
                    <a:pt x="972" y="1987"/>
                  </a:lnTo>
                  <a:lnTo>
                    <a:pt x="976" y="1937"/>
                  </a:lnTo>
                  <a:lnTo>
                    <a:pt x="982" y="1885"/>
                  </a:lnTo>
                  <a:lnTo>
                    <a:pt x="988" y="1833"/>
                  </a:lnTo>
                  <a:lnTo>
                    <a:pt x="995" y="1781"/>
                  </a:lnTo>
                  <a:lnTo>
                    <a:pt x="1002" y="1727"/>
                  </a:lnTo>
                  <a:lnTo>
                    <a:pt x="1010" y="1674"/>
                  </a:lnTo>
                  <a:lnTo>
                    <a:pt x="1019" y="1620"/>
                  </a:lnTo>
                  <a:lnTo>
                    <a:pt x="979" y="1611"/>
                  </a:lnTo>
                  <a:lnTo>
                    <a:pt x="939" y="1602"/>
                  </a:lnTo>
                  <a:lnTo>
                    <a:pt x="901" y="1590"/>
                  </a:lnTo>
                  <a:lnTo>
                    <a:pt x="863" y="1578"/>
                  </a:lnTo>
                  <a:lnTo>
                    <a:pt x="826" y="1567"/>
                  </a:lnTo>
                  <a:lnTo>
                    <a:pt x="790" y="1553"/>
                  </a:lnTo>
                  <a:lnTo>
                    <a:pt x="754" y="1539"/>
                  </a:lnTo>
                  <a:lnTo>
                    <a:pt x="719" y="1525"/>
                  </a:lnTo>
                  <a:close/>
                  <a:moveTo>
                    <a:pt x="632" y="1952"/>
                  </a:moveTo>
                  <a:lnTo>
                    <a:pt x="628" y="1983"/>
                  </a:lnTo>
                  <a:lnTo>
                    <a:pt x="625" y="2013"/>
                  </a:lnTo>
                  <a:lnTo>
                    <a:pt x="623" y="2043"/>
                  </a:lnTo>
                  <a:lnTo>
                    <a:pt x="620" y="2072"/>
                  </a:lnTo>
                  <a:lnTo>
                    <a:pt x="619" y="2102"/>
                  </a:lnTo>
                  <a:lnTo>
                    <a:pt x="618" y="2129"/>
                  </a:lnTo>
                  <a:lnTo>
                    <a:pt x="618" y="2158"/>
                  </a:lnTo>
                  <a:lnTo>
                    <a:pt x="618" y="2186"/>
                  </a:lnTo>
                  <a:lnTo>
                    <a:pt x="618" y="2212"/>
                  </a:lnTo>
                  <a:lnTo>
                    <a:pt x="619" y="2239"/>
                  </a:lnTo>
                  <a:lnTo>
                    <a:pt x="620" y="2265"/>
                  </a:lnTo>
                  <a:lnTo>
                    <a:pt x="623" y="2290"/>
                  </a:lnTo>
                  <a:lnTo>
                    <a:pt x="662" y="2308"/>
                  </a:lnTo>
                  <a:lnTo>
                    <a:pt x="702" y="2324"/>
                  </a:lnTo>
                  <a:lnTo>
                    <a:pt x="742" y="2340"/>
                  </a:lnTo>
                  <a:lnTo>
                    <a:pt x="785" y="2355"/>
                  </a:lnTo>
                  <a:lnTo>
                    <a:pt x="828" y="2369"/>
                  </a:lnTo>
                  <a:lnTo>
                    <a:pt x="870" y="2381"/>
                  </a:lnTo>
                  <a:lnTo>
                    <a:pt x="915" y="2393"/>
                  </a:lnTo>
                  <a:lnTo>
                    <a:pt x="960" y="2403"/>
                  </a:lnTo>
                  <a:lnTo>
                    <a:pt x="960" y="2395"/>
                  </a:lnTo>
                  <a:lnTo>
                    <a:pt x="959" y="2386"/>
                  </a:lnTo>
                  <a:lnTo>
                    <a:pt x="959" y="2377"/>
                  </a:lnTo>
                  <a:lnTo>
                    <a:pt x="959" y="2369"/>
                  </a:lnTo>
                  <a:lnTo>
                    <a:pt x="958" y="2333"/>
                  </a:lnTo>
                  <a:lnTo>
                    <a:pt x="957" y="2297"/>
                  </a:lnTo>
                  <a:lnTo>
                    <a:pt x="957" y="2262"/>
                  </a:lnTo>
                  <a:lnTo>
                    <a:pt x="958" y="2224"/>
                  </a:lnTo>
                  <a:lnTo>
                    <a:pt x="959" y="2184"/>
                  </a:lnTo>
                  <a:lnTo>
                    <a:pt x="961" y="2145"/>
                  </a:lnTo>
                  <a:lnTo>
                    <a:pt x="962" y="2106"/>
                  </a:lnTo>
                  <a:lnTo>
                    <a:pt x="966" y="2065"/>
                  </a:lnTo>
                  <a:lnTo>
                    <a:pt x="921" y="2054"/>
                  </a:lnTo>
                  <a:lnTo>
                    <a:pt x="877" y="2042"/>
                  </a:lnTo>
                  <a:lnTo>
                    <a:pt x="835" y="2029"/>
                  </a:lnTo>
                  <a:lnTo>
                    <a:pt x="792" y="2015"/>
                  </a:lnTo>
                  <a:lnTo>
                    <a:pt x="750" y="2001"/>
                  </a:lnTo>
                  <a:lnTo>
                    <a:pt x="710" y="1985"/>
                  </a:lnTo>
                  <a:lnTo>
                    <a:pt x="671" y="1969"/>
                  </a:lnTo>
                  <a:lnTo>
                    <a:pt x="632" y="1952"/>
                  </a:lnTo>
                  <a:close/>
                  <a:moveTo>
                    <a:pt x="626" y="2322"/>
                  </a:moveTo>
                  <a:lnTo>
                    <a:pt x="631" y="2353"/>
                  </a:lnTo>
                  <a:lnTo>
                    <a:pt x="635" y="2384"/>
                  </a:lnTo>
                  <a:lnTo>
                    <a:pt x="642" y="2413"/>
                  </a:lnTo>
                  <a:lnTo>
                    <a:pt x="649" y="2440"/>
                  </a:lnTo>
                  <a:lnTo>
                    <a:pt x="657" y="2467"/>
                  </a:lnTo>
                  <a:lnTo>
                    <a:pt x="666" y="2492"/>
                  </a:lnTo>
                  <a:lnTo>
                    <a:pt x="677" y="2515"/>
                  </a:lnTo>
                  <a:lnTo>
                    <a:pt x="687" y="2537"/>
                  </a:lnTo>
                  <a:lnTo>
                    <a:pt x="706" y="2546"/>
                  </a:lnTo>
                  <a:lnTo>
                    <a:pt x="724" y="2554"/>
                  </a:lnTo>
                  <a:lnTo>
                    <a:pt x="744" y="2564"/>
                  </a:lnTo>
                  <a:lnTo>
                    <a:pt x="762" y="2572"/>
                  </a:lnTo>
                  <a:lnTo>
                    <a:pt x="791" y="2583"/>
                  </a:lnTo>
                  <a:lnTo>
                    <a:pt x="818" y="2595"/>
                  </a:lnTo>
                  <a:lnTo>
                    <a:pt x="848" y="2605"/>
                  </a:lnTo>
                  <a:lnTo>
                    <a:pt x="877" y="2615"/>
                  </a:lnTo>
                  <a:lnTo>
                    <a:pt x="907" y="2625"/>
                  </a:lnTo>
                  <a:lnTo>
                    <a:pt x="937" y="2634"/>
                  </a:lnTo>
                  <a:lnTo>
                    <a:pt x="968" y="2642"/>
                  </a:lnTo>
                  <a:lnTo>
                    <a:pt x="999" y="2650"/>
                  </a:lnTo>
                  <a:lnTo>
                    <a:pt x="992" y="2627"/>
                  </a:lnTo>
                  <a:lnTo>
                    <a:pt x="987" y="2603"/>
                  </a:lnTo>
                  <a:lnTo>
                    <a:pt x="981" y="2577"/>
                  </a:lnTo>
                  <a:lnTo>
                    <a:pt x="976" y="2551"/>
                  </a:lnTo>
                  <a:lnTo>
                    <a:pt x="972" y="2523"/>
                  </a:lnTo>
                  <a:lnTo>
                    <a:pt x="968" y="2494"/>
                  </a:lnTo>
                  <a:lnTo>
                    <a:pt x="965" y="2463"/>
                  </a:lnTo>
                  <a:lnTo>
                    <a:pt x="962" y="2432"/>
                  </a:lnTo>
                  <a:lnTo>
                    <a:pt x="917" y="2422"/>
                  </a:lnTo>
                  <a:lnTo>
                    <a:pt x="874" y="2410"/>
                  </a:lnTo>
                  <a:lnTo>
                    <a:pt x="830" y="2398"/>
                  </a:lnTo>
                  <a:lnTo>
                    <a:pt x="787" y="2384"/>
                  </a:lnTo>
                  <a:lnTo>
                    <a:pt x="746" y="2370"/>
                  </a:lnTo>
                  <a:lnTo>
                    <a:pt x="706" y="2355"/>
                  </a:lnTo>
                  <a:lnTo>
                    <a:pt x="665" y="2339"/>
                  </a:lnTo>
                  <a:lnTo>
                    <a:pt x="626" y="2322"/>
                  </a:lnTo>
                  <a:close/>
                  <a:moveTo>
                    <a:pt x="716" y="2581"/>
                  </a:moveTo>
                  <a:lnTo>
                    <a:pt x="730" y="2597"/>
                  </a:lnTo>
                  <a:lnTo>
                    <a:pt x="745" y="2612"/>
                  </a:lnTo>
                  <a:lnTo>
                    <a:pt x="761" y="2625"/>
                  </a:lnTo>
                  <a:lnTo>
                    <a:pt x="777" y="2635"/>
                  </a:lnTo>
                  <a:lnTo>
                    <a:pt x="809" y="2651"/>
                  </a:lnTo>
                  <a:lnTo>
                    <a:pt x="841" y="2666"/>
                  </a:lnTo>
                  <a:lnTo>
                    <a:pt x="874" y="2680"/>
                  </a:lnTo>
                  <a:lnTo>
                    <a:pt x="906" y="2694"/>
                  </a:lnTo>
                  <a:lnTo>
                    <a:pt x="939" y="2705"/>
                  </a:lnTo>
                  <a:lnTo>
                    <a:pt x="973" y="2718"/>
                  </a:lnTo>
                  <a:lnTo>
                    <a:pt x="1007" y="2728"/>
                  </a:lnTo>
                  <a:lnTo>
                    <a:pt x="1042" y="2739"/>
                  </a:lnTo>
                  <a:lnTo>
                    <a:pt x="1033" y="2726"/>
                  </a:lnTo>
                  <a:lnTo>
                    <a:pt x="1025" y="2712"/>
                  </a:lnTo>
                  <a:lnTo>
                    <a:pt x="1018" y="2697"/>
                  </a:lnTo>
                  <a:lnTo>
                    <a:pt x="1011" y="2681"/>
                  </a:lnTo>
                  <a:lnTo>
                    <a:pt x="976" y="2672"/>
                  </a:lnTo>
                  <a:lnTo>
                    <a:pt x="943" y="2664"/>
                  </a:lnTo>
                  <a:lnTo>
                    <a:pt x="909" y="2653"/>
                  </a:lnTo>
                  <a:lnTo>
                    <a:pt x="877" y="2644"/>
                  </a:lnTo>
                  <a:lnTo>
                    <a:pt x="845" y="2633"/>
                  </a:lnTo>
                  <a:lnTo>
                    <a:pt x="814" y="2621"/>
                  </a:lnTo>
                  <a:lnTo>
                    <a:pt x="783" y="2610"/>
                  </a:lnTo>
                  <a:lnTo>
                    <a:pt x="752" y="2597"/>
                  </a:lnTo>
                  <a:lnTo>
                    <a:pt x="742" y="2592"/>
                  </a:lnTo>
                  <a:lnTo>
                    <a:pt x="733" y="2589"/>
                  </a:lnTo>
                  <a:lnTo>
                    <a:pt x="725" y="2585"/>
                  </a:lnTo>
                  <a:lnTo>
                    <a:pt x="716" y="2581"/>
                  </a:lnTo>
                  <a:close/>
                  <a:moveTo>
                    <a:pt x="1626" y="50"/>
                  </a:moveTo>
                  <a:lnTo>
                    <a:pt x="1601" y="46"/>
                  </a:lnTo>
                  <a:lnTo>
                    <a:pt x="1576" y="43"/>
                  </a:lnTo>
                  <a:lnTo>
                    <a:pt x="1551" y="39"/>
                  </a:lnTo>
                  <a:lnTo>
                    <a:pt x="1526" y="37"/>
                  </a:lnTo>
                  <a:lnTo>
                    <a:pt x="1499" y="35"/>
                  </a:lnTo>
                  <a:lnTo>
                    <a:pt x="1474" y="33"/>
                  </a:lnTo>
                  <a:lnTo>
                    <a:pt x="1447" y="32"/>
                  </a:lnTo>
                  <a:lnTo>
                    <a:pt x="1421" y="32"/>
                  </a:lnTo>
                  <a:lnTo>
                    <a:pt x="1421" y="86"/>
                  </a:lnTo>
                  <a:lnTo>
                    <a:pt x="1455" y="88"/>
                  </a:lnTo>
                  <a:lnTo>
                    <a:pt x="1489" y="91"/>
                  </a:lnTo>
                  <a:lnTo>
                    <a:pt x="1522" y="96"/>
                  </a:lnTo>
                  <a:lnTo>
                    <a:pt x="1555" y="101"/>
                  </a:lnTo>
                  <a:lnTo>
                    <a:pt x="1572" y="85"/>
                  </a:lnTo>
                  <a:lnTo>
                    <a:pt x="1590" y="72"/>
                  </a:lnTo>
                  <a:lnTo>
                    <a:pt x="1608" y="60"/>
                  </a:lnTo>
                  <a:lnTo>
                    <a:pt x="1626" y="50"/>
                  </a:lnTo>
                  <a:close/>
                  <a:moveTo>
                    <a:pt x="1421" y="283"/>
                  </a:moveTo>
                  <a:lnTo>
                    <a:pt x="1437" y="256"/>
                  </a:lnTo>
                  <a:lnTo>
                    <a:pt x="1453" y="230"/>
                  </a:lnTo>
                  <a:lnTo>
                    <a:pt x="1469" y="205"/>
                  </a:lnTo>
                  <a:lnTo>
                    <a:pt x="1485" y="182"/>
                  </a:lnTo>
                  <a:lnTo>
                    <a:pt x="1497" y="167"/>
                  </a:lnTo>
                  <a:lnTo>
                    <a:pt x="1508" y="152"/>
                  </a:lnTo>
                  <a:lnTo>
                    <a:pt x="1520" y="138"/>
                  </a:lnTo>
                  <a:lnTo>
                    <a:pt x="1531" y="125"/>
                  </a:lnTo>
                  <a:lnTo>
                    <a:pt x="1505" y="120"/>
                  </a:lnTo>
                  <a:lnTo>
                    <a:pt x="1477" y="116"/>
                  </a:lnTo>
                  <a:lnTo>
                    <a:pt x="1450" y="114"/>
                  </a:lnTo>
                  <a:lnTo>
                    <a:pt x="1421" y="113"/>
                  </a:lnTo>
                  <a:lnTo>
                    <a:pt x="1421" y="283"/>
                  </a:lnTo>
                  <a:close/>
                  <a:moveTo>
                    <a:pt x="1393" y="395"/>
                  </a:moveTo>
                  <a:lnTo>
                    <a:pt x="1377" y="430"/>
                  </a:lnTo>
                  <a:lnTo>
                    <a:pt x="1361" y="466"/>
                  </a:lnTo>
                  <a:lnTo>
                    <a:pt x="1346" y="502"/>
                  </a:lnTo>
                  <a:lnTo>
                    <a:pt x="1330" y="540"/>
                  </a:lnTo>
                  <a:lnTo>
                    <a:pt x="1315" y="580"/>
                  </a:lnTo>
                  <a:lnTo>
                    <a:pt x="1300" y="620"/>
                  </a:lnTo>
                  <a:lnTo>
                    <a:pt x="1285" y="661"/>
                  </a:lnTo>
                  <a:lnTo>
                    <a:pt x="1270" y="704"/>
                  </a:lnTo>
                  <a:lnTo>
                    <a:pt x="1300" y="710"/>
                  </a:lnTo>
                  <a:lnTo>
                    <a:pt x="1330" y="713"/>
                  </a:lnTo>
                  <a:lnTo>
                    <a:pt x="1362" y="717"/>
                  </a:lnTo>
                  <a:lnTo>
                    <a:pt x="1393" y="718"/>
                  </a:lnTo>
                  <a:lnTo>
                    <a:pt x="1393" y="395"/>
                  </a:lnTo>
                  <a:close/>
                  <a:moveTo>
                    <a:pt x="1261" y="729"/>
                  </a:moveTo>
                  <a:lnTo>
                    <a:pt x="1246" y="777"/>
                  </a:lnTo>
                  <a:lnTo>
                    <a:pt x="1231" y="824"/>
                  </a:lnTo>
                  <a:lnTo>
                    <a:pt x="1216" y="872"/>
                  </a:lnTo>
                  <a:lnTo>
                    <a:pt x="1201" y="922"/>
                  </a:lnTo>
                  <a:lnTo>
                    <a:pt x="1187" y="972"/>
                  </a:lnTo>
                  <a:lnTo>
                    <a:pt x="1173" y="1022"/>
                  </a:lnTo>
                  <a:lnTo>
                    <a:pt x="1161" y="1074"/>
                  </a:lnTo>
                  <a:lnTo>
                    <a:pt x="1147" y="1125"/>
                  </a:lnTo>
                  <a:lnTo>
                    <a:pt x="1177" y="1130"/>
                  </a:lnTo>
                  <a:lnTo>
                    <a:pt x="1207" y="1135"/>
                  </a:lnTo>
                  <a:lnTo>
                    <a:pt x="1237" y="1140"/>
                  </a:lnTo>
                  <a:lnTo>
                    <a:pt x="1268" y="1143"/>
                  </a:lnTo>
                  <a:lnTo>
                    <a:pt x="1299" y="1146"/>
                  </a:lnTo>
                  <a:lnTo>
                    <a:pt x="1330" y="1148"/>
                  </a:lnTo>
                  <a:lnTo>
                    <a:pt x="1362" y="1150"/>
                  </a:lnTo>
                  <a:lnTo>
                    <a:pt x="1393" y="1150"/>
                  </a:lnTo>
                  <a:lnTo>
                    <a:pt x="1393" y="745"/>
                  </a:lnTo>
                  <a:lnTo>
                    <a:pt x="1360" y="743"/>
                  </a:lnTo>
                  <a:lnTo>
                    <a:pt x="1325" y="741"/>
                  </a:lnTo>
                  <a:lnTo>
                    <a:pt x="1293" y="736"/>
                  </a:lnTo>
                  <a:lnTo>
                    <a:pt x="1261" y="729"/>
                  </a:lnTo>
                  <a:close/>
                  <a:moveTo>
                    <a:pt x="1141" y="1151"/>
                  </a:moveTo>
                  <a:lnTo>
                    <a:pt x="1138" y="1164"/>
                  </a:lnTo>
                  <a:lnTo>
                    <a:pt x="1135" y="1175"/>
                  </a:lnTo>
                  <a:lnTo>
                    <a:pt x="1132" y="1188"/>
                  </a:lnTo>
                  <a:lnTo>
                    <a:pt x="1129" y="1201"/>
                  </a:lnTo>
                  <a:lnTo>
                    <a:pt x="1118" y="1250"/>
                  </a:lnTo>
                  <a:lnTo>
                    <a:pt x="1106" y="1300"/>
                  </a:lnTo>
                  <a:lnTo>
                    <a:pt x="1096" y="1349"/>
                  </a:lnTo>
                  <a:lnTo>
                    <a:pt x="1086" y="1399"/>
                  </a:lnTo>
                  <a:lnTo>
                    <a:pt x="1076" y="1449"/>
                  </a:lnTo>
                  <a:lnTo>
                    <a:pt x="1067" y="1499"/>
                  </a:lnTo>
                  <a:lnTo>
                    <a:pt x="1058" y="1549"/>
                  </a:lnTo>
                  <a:lnTo>
                    <a:pt x="1050" y="1598"/>
                  </a:lnTo>
                  <a:lnTo>
                    <a:pt x="1090" y="1606"/>
                  </a:lnTo>
                  <a:lnTo>
                    <a:pt x="1133" y="1613"/>
                  </a:lnTo>
                  <a:lnTo>
                    <a:pt x="1174" y="1619"/>
                  </a:lnTo>
                  <a:lnTo>
                    <a:pt x="1218" y="1623"/>
                  </a:lnTo>
                  <a:lnTo>
                    <a:pt x="1261" y="1627"/>
                  </a:lnTo>
                  <a:lnTo>
                    <a:pt x="1305" y="1630"/>
                  </a:lnTo>
                  <a:lnTo>
                    <a:pt x="1349" y="1631"/>
                  </a:lnTo>
                  <a:lnTo>
                    <a:pt x="1393" y="1633"/>
                  </a:lnTo>
                  <a:lnTo>
                    <a:pt x="1393" y="1178"/>
                  </a:lnTo>
                  <a:lnTo>
                    <a:pt x="1361" y="1176"/>
                  </a:lnTo>
                  <a:lnTo>
                    <a:pt x="1329" y="1175"/>
                  </a:lnTo>
                  <a:lnTo>
                    <a:pt x="1296" y="1173"/>
                  </a:lnTo>
                  <a:lnTo>
                    <a:pt x="1264" y="1171"/>
                  </a:lnTo>
                  <a:lnTo>
                    <a:pt x="1233" y="1166"/>
                  </a:lnTo>
                  <a:lnTo>
                    <a:pt x="1202" y="1163"/>
                  </a:lnTo>
                  <a:lnTo>
                    <a:pt x="1171" y="1157"/>
                  </a:lnTo>
                  <a:lnTo>
                    <a:pt x="1141" y="1151"/>
                  </a:lnTo>
                  <a:close/>
                  <a:moveTo>
                    <a:pt x="1045" y="1626"/>
                  </a:moveTo>
                  <a:lnTo>
                    <a:pt x="1037" y="1680"/>
                  </a:lnTo>
                  <a:lnTo>
                    <a:pt x="1029" y="1733"/>
                  </a:lnTo>
                  <a:lnTo>
                    <a:pt x="1021" y="1787"/>
                  </a:lnTo>
                  <a:lnTo>
                    <a:pt x="1015" y="1839"/>
                  </a:lnTo>
                  <a:lnTo>
                    <a:pt x="1008" y="1892"/>
                  </a:lnTo>
                  <a:lnTo>
                    <a:pt x="1004" y="1943"/>
                  </a:lnTo>
                  <a:lnTo>
                    <a:pt x="998" y="1993"/>
                  </a:lnTo>
                  <a:lnTo>
                    <a:pt x="995" y="2043"/>
                  </a:lnTo>
                  <a:lnTo>
                    <a:pt x="1042" y="2053"/>
                  </a:lnTo>
                  <a:lnTo>
                    <a:pt x="1090" y="2061"/>
                  </a:lnTo>
                  <a:lnTo>
                    <a:pt x="1140" y="2068"/>
                  </a:lnTo>
                  <a:lnTo>
                    <a:pt x="1189" y="2075"/>
                  </a:lnTo>
                  <a:lnTo>
                    <a:pt x="1239" y="2080"/>
                  </a:lnTo>
                  <a:lnTo>
                    <a:pt x="1291" y="2083"/>
                  </a:lnTo>
                  <a:lnTo>
                    <a:pt x="1341" y="2085"/>
                  </a:lnTo>
                  <a:lnTo>
                    <a:pt x="1393" y="2087"/>
                  </a:lnTo>
                  <a:lnTo>
                    <a:pt x="1393" y="1660"/>
                  </a:lnTo>
                  <a:lnTo>
                    <a:pt x="1348" y="1659"/>
                  </a:lnTo>
                  <a:lnTo>
                    <a:pt x="1303" y="1658"/>
                  </a:lnTo>
                  <a:lnTo>
                    <a:pt x="1260" y="1655"/>
                  </a:lnTo>
                  <a:lnTo>
                    <a:pt x="1216" y="1651"/>
                  </a:lnTo>
                  <a:lnTo>
                    <a:pt x="1172" y="1645"/>
                  </a:lnTo>
                  <a:lnTo>
                    <a:pt x="1129" y="1640"/>
                  </a:lnTo>
                  <a:lnTo>
                    <a:pt x="1087" y="1633"/>
                  </a:lnTo>
                  <a:lnTo>
                    <a:pt x="1045" y="1626"/>
                  </a:lnTo>
                  <a:close/>
                  <a:moveTo>
                    <a:pt x="992" y="2070"/>
                  </a:moveTo>
                  <a:lnTo>
                    <a:pt x="990" y="2111"/>
                  </a:lnTo>
                  <a:lnTo>
                    <a:pt x="988" y="2150"/>
                  </a:lnTo>
                  <a:lnTo>
                    <a:pt x="987" y="2188"/>
                  </a:lnTo>
                  <a:lnTo>
                    <a:pt x="985" y="2226"/>
                  </a:lnTo>
                  <a:lnTo>
                    <a:pt x="984" y="2263"/>
                  </a:lnTo>
                  <a:lnTo>
                    <a:pt x="984" y="2299"/>
                  </a:lnTo>
                  <a:lnTo>
                    <a:pt x="984" y="2333"/>
                  </a:lnTo>
                  <a:lnTo>
                    <a:pt x="985" y="2368"/>
                  </a:lnTo>
                  <a:lnTo>
                    <a:pt x="987" y="2378"/>
                  </a:lnTo>
                  <a:lnTo>
                    <a:pt x="987" y="2390"/>
                  </a:lnTo>
                  <a:lnTo>
                    <a:pt x="987" y="2400"/>
                  </a:lnTo>
                  <a:lnTo>
                    <a:pt x="988" y="2410"/>
                  </a:lnTo>
                  <a:lnTo>
                    <a:pt x="1036" y="2420"/>
                  </a:lnTo>
                  <a:lnTo>
                    <a:pt x="1086" y="2429"/>
                  </a:lnTo>
                  <a:lnTo>
                    <a:pt x="1135" y="2436"/>
                  </a:lnTo>
                  <a:lnTo>
                    <a:pt x="1186" y="2441"/>
                  </a:lnTo>
                  <a:lnTo>
                    <a:pt x="1237" y="2446"/>
                  </a:lnTo>
                  <a:lnTo>
                    <a:pt x="1288" y="2451"/>
                  </a:lnTo>
                  <a:lnTo>
                    <a:pt x="1340" y="2453"/>
                  </a:lnTo>
                  <a:lnTo>
                    <a:pt x="1393" y="2453"/>
                  </a:lnTo>
                  <a:lnTo>
                    <a:pt x="1393" y="2114"/>
                  </a:lnTo>
                  <a:lnTo>
                    <a:pt x="1341" y="2113"/>
                  </a:lnTo>
                  <a:lnTo>
                    <a:pt x="1290" y="2111"/>
                  </a:lnTo>
                  <a:lnTo>
                    <a:pt x="1239" y="2107"/>
                  </a:lnTo>
                  <a:lnTo>
                    <a:pt x="1188" y="2103"/>
                  </a:lnTo>
                  <a:lnTo>
                    <a:pt x="1139" y="2096"/>
                  </a:lnTo>
                  <a:lnTo>
                    <a:pt x="1089" y="2089"/>
                  </a:lnTo>
                  <a:lnTo>
                    <a:pt x="1041" y="2081"/>
                  </a:lnTo>
                  <a:lnTo>
                    <a:pt x="992" y="2070"/>
                  </a:lnTo>
                  <a:close/>
                  <a:moveTo>
                    <a:pt x="990" y="2438"/>
                  </a:moveTo>
                  <a:lnTo>
                    <a:pt x="992" y="2471"/>
                  </a:lnTo>
                  <a:lnTo>
                    <a:pt x="996" y="2502"/>
                  </a:lnTo>
                  <a:lnTo>
                    <a:pt x="1000" y="2531"/>
                  </a:lnTo>
                  <a:lnTo>
                    <a:pt x="1005" y="2560"/>
                  </a:lnTo>
                  <a:lnTo>
                    <a:pt x="1010" y="2587"/>
                  </a:lnTo>
                  <a:lnTo>
                    <a:pt x="1017" y="2612"/>
                  </a:lnTo>
                  <a:lnTo>
                    <a:pt x="1022" y="2635"/>
                  </a:lnTo>
                  <a:lnTo>
                    <a:pt x="1030" y="2657"/>
                  </a:lnTo>
                  <a:lnTo>
                    <a:pt x="1073" y="2666"/>
                  </a:lnTo>
                  <a:lnTo>
                    <a:pt x="1118" y="2674"/>
                  </a:lnTo>
                  <a:lnTo>
                    <a:pt x="1162" y="2681"/>
                  </a:lnTo>
                  <a:lnTo>
                    <a:pt x="1208" y="2687"/>
                  </a:lnTo>
                  <a:lnTo>
                    <a:pt x="1254" y="2691"/>
                  </a:lnTo>
                  <a:lnTo>
                    <a:pt x="1300" y="2695"/>
                  </a:lnTo>
                  <a:lnTo>
                    <a:pt x="1346" y="2697"/>
                  </a:lnTo>
                  <a:lnTo>
                    <a:pt x="1393" y="2698"/>
                  </a:lnTo>
                  <a:lnTo>
                    <a:pt x="1393" y="2481"/>
                  </a:lnTo>
                  <a:lnTo>
                    <a:pt x="1341" y="2479"/>
                  </a:lnTo>
                  <a:lnTo>
                    <a:pt x="1290" y="2477"/>
                  </a:lnTo>
                  <a:lnTo>
                    <a:pt x="1238" y="2474"/>
                  </a:lnTo>
                  <a:lnTo>
                    <a:pt x="1187" y="2469"/>
                  </a:lnTo>
                  <a:lnTo>
                    <a:pt x="1136" y="2463"/>
                  </a:lnTo>
                  <a:lnTo>
                    <a:pt x="1087" y="2456"/>
                  </a:lnTo>
                  <a:lnTo>
                    <a:pt x="1038" y="2448"/>
                  </a:lnTo>
                  <a:lnTo>
                    <a:pt x="990" y="2438"/>
                  </a:lnTo>
                  <a:close/>
                  <a:moveTo>
                    <a:pt x="1043" y="2688"/>
                  </a:moveTo>
                  <a:lnTo>
                    <a:pt x="1053" y="2708"/>
                  </a:lnTo>
                  <a:lnTo>
                    <a:pt x="1065" y="2725"/>
                  </a:lnTo>
                  <a:lnTo>
                    <a:pt x="1071" y="2732"/>
                  </a:lnTo>
                  <a:lnTo>
                    <a:pt x="1078" y="2739"/>
                  </a:lnTo>
                  <a:lnTo>
                    <a:pt x="1083" y="2746"/>
                  </a:lnTo>
                  <a:lnTo>
                    <a:pt x="1090" y="2750"/>
                  </a:lnTo>
                  <a:lnTo>
                    <a:pt x="1127" y="2758"/>
                  </a:lnTo>
                  <a:lnTo>
                    <a:pt x="1164" y="2766"/>
                  </a:lnTo>
                  <a:lnTo>
                    <a:pt x="1202" y="2772"/>
                  </a:lnTo>
                  <a:lnTo>
                    <a:pt x="1240" y="2777"/>
                  </a:lnTo>
                  <a:lnTo>
                    <a:pt x="1278" y="2781"/>
                  </a:lnTo>
                  <a:lnTo>
                    <a:pt x="1316" y="2785"/>
                  </a:lnTo>
                  <a:lnTo>
                    <a:pt x="1355" y="2786"/>
                  </a:lnTo>
                  <a:lnTo>
                    <a:pt x="1393" y="2787"/>
                  </a:lnTo>
                  <a:lnTo>
                    <a:pt x="1393" y="2725"/>
                  </a:lnTo>
                  <a:lnTo>
                    <a:pt x="1348" y="2725"/>
                  </a:lnTo>
                  <a:lnTo>
                    <a:pt x="1303" y="2723"/>
                  </a:lnTo>
                  <a:lnTo>
                    <a:pt x="1258" y="2719"/>
                  </a:lnTo>
                  <a:lnTo>
                    <a:pt x="1215" y="2714"/>
                  </a:lnTo>
                  <a:lnTo>
                    <a:pt x="1171" y="2710"/>
                  </a:lnTo>
                  <a:lnTo>
                    <a:pt x="1128" y="2703"/>
                  </a:lnTo>
                  <a:lnTo>
                    <a:pt x="1086" y="2696"/>
                  </a:lnTo>
                  <a:lnTo>
                    <a:pt x="1043" y="2688"/>
                  </a:lnTo>
                  <a:close/>
                </a:path>
              </a:pathLst>
            </a:custGeom>
            <a:solidFill>
              <a:schemeClr val="tx1">
                <a:alpha val="8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7"/>
            <p:cNvSpPr>
              <a:spLocks noEditPoints="1"/>
            </p:cNvSpPr>
            <p:nvPr>
              <p:custDataLst>
                <p:tags r:id="rId3"/>
              </p:custDataLst>
            </p:nvPr>
          </p:nvSpPr>
          <p:spPr bwMode="auto">
            <a:xfrm>
              <a:off x="3049913" y="1945092"/>
              <a:ext cx="2923243" cy="2964928"/>
            </a:xfrm>
            <a:custGeom>
              <a:avLst/>
              <a:gdLst>
                <a:gd name="T0" fmla="*/ 2086 w 3368"/>
                <a:gd name="T1" fmla="*/ 3009 h 3413"/>
                <a:gd name="T2" fmla="*/ 1977 w 3368"/>
                <a:gd name="T3" fmla="*/ 2658 h 3413"/>
                <a:gd name="T4" fmla="*/ 1520 w 3368"/>
                <a:gd name="T5" fmla="*/ 2419 h 3413"/>
                <a:gd name="T6" fmla="*/ 1075 w 3368"/>
                <a:gd name="T7" fmla="*/ 2019 h 3413"/>
                <a:gd name="T8" fmla="*/ 1605 w 3368"/>
                <a:gd name="T9" fmla="*/ 1705 h 3413"/>
                <a:gd name="T10" fmla="*/ 1763 w 3368"/>
                <a:gd name="T11" fmla="*/ 1480 h 3413"/>
                <a:gd name="T12" fmla="*/ 1844 w 3368"/>
                <a:gd name="T13" fmla="*/ 1308 h 3413"/>
                <a:gd name="T14" fmla="*/ 1409 w 3368"/>
                <a:gd name="T15" fmla="*/ 1104 h 3413"/>
                <a:gd name="T16" fmla="*/ 1085 w 3368"/>
                <a:gd name="T17" fmla="*/ 1192 h 3413"/>
                <a:gd name="T18" fmla="*/ 1303 w 3368"/>
                <a:gd name="T19" fmla="*/ 650 h 3413"/>
                <a:gd name="T20" fmla="*/ 1544 w 3368"/>
                <a:gd name="T21" fmla="*/ 928 h 3413"/>
                <a:gd name="T22" fmla="*/ 1640 w 3368"/>
                <a:gd name="T23" fmla="*/ 645 h 3413"/>
                <a:gd name="T24" fmla="*/ 1432 w 3368"/>
                <a:gd name="T25" fmla="*/ 528 h 3413"/>
                <a:gd name="T26" fmla="*/ 1209 w 3368"/>
                <a:gd name="T27" fmla="*/ 612 h 3413"/>
                <a:gd name="T28" fmla="*/ 1225 w 3368"/>
                <a:gd name="T29" fmla="*/ 449 h 3413"/>
                <a:gd name="T30" fmla="*/ 1009 w 3368"/>
                <a:gd name="T31" fmla="*/ 706 h 3413"/>
                <a:gd name="T32" fmla="*/ 569 w 3368"/>
                <a:gd name="T33" fmla="*/ 746 h 3413"/>
                <a:gd name="T34" fmla="*/ 228 w 3368"/>
                <a:gd name="T35" fmla="*/ 815 h 3413"/>
                <a:gd name="T36" fmla="*/ 119 w 3368"/>
                <a:gd name="T37" fmla="*/ 1252 h 3413"/>
                <a:gd name="T38" fmla="*/ 172 w 3368"/>
                <a:gd name="T39" fmla="*/ 1221 h 3413"/>
                <a:gd name="T40" fmla="*/ 474 w 3368"/>
                <a:gd name="T41" fmla="*/ 1471 h 3413"/>
                <a:gd name="T42" fmla="*/ 745 w 3368"/>
                <a:gd name="T43" fmla="*/ 2035 h 3413"/>
                <a:gd name="T44" fmla="*/ 1382 w 3368"/>
                <a:gd name="T45" fmla="*/ 2640 h 3413"/>
                <a:gd name="T46" fmla="*/ 1525 w 3368"/>
                <a:gd name="T47" fmla="*/ 3323 h 3413"/>
                <a:gd name="T48" fmla="*/ 2841 w 3368"/>
                <a:gd name="T49" fmla="*/ 474 h 3413"/>
                <a:gd name="T50" fmla="*/ 3285 w 3368"/>
                <a:gd name="T51" fmla="*/ 1962 h 3413"/>
                <a:gd name="T52" fmla="*/ 2933 w 3368"/>
                <a:gd name="T53" fmla="*/ 2751 h 3413"/>
                <a:gd name="T54" fmla="*/ 2773 w 3368"/>
                <a:gd name="T55" fmla="*/ 1997 h 3413"/>
                <a:gd name="T56" fmla="*/ 3296 w 3368"/>
                <a:gd name="T57" fmla="*/ 1809 h 3413"/>
                <a:gd name="T58" fmla="*/ 3130 w 3368"/>
                <a:gd name="T59" fmla="*/ 1786 h 3413"/>
                <a:gd name="T60" fmla="*/ 2922 w 3368"/>
                <a:gd name="T61" fmla="*/ 1623 h 3413"/>
                <a:gd name="T62" fmla="*/ 2971 w 3368"/>
                <a:gd name="T63" fmla="*/ 1157 h 3413"/>
                <a:gd name="T64" fmla="*/ 3175 w 3368"/>
                <a:gd name="T65" fmla="*/ 943 h 3413"/>
                <a:gd name="T66" fmla="*/ 1384 w 3368"/>
                <a:gd name="T67" fmla="*/ 1012 h 3413"/>
                <a:gd name="T68" fmla="*/ 1282 w 3368"/>
                <a:gd name="T69" fmla="*/ 186 h 3413"/>
                <a:gd name="T70" fmla="*/ 1093 w 3368"/>
                <a:gd name="T71" fmla="*/ 389 h 3413"/>
                <a:gd name="T72" fmla="*/ 1146 w 3368"/>
                <a:gd name="T73" fmla="*/ 424 h 3413"/>
                <a:gd name="T74" fmla="*/ 1272 w 3368"/>
                <a:gd name="T75" fmla="*/ 360 h 3413"/>
                <a:gd name="T76" fmla="*/ 1441 w 3368"/>
                <a:gd name="T77" fmla="*/ 230 h 3413"/>
                <a:gd name="T78" fmla="*/ 1683 w 3368"/>
                <a:gd name="T79" fmla="*/ 52 h 3413"/>
                <a:gd name="T80" fmla="*/ 1399 w 3368"/>
                <a:gd name="T81" fmla="*/ 32 h 3413"/>
                <a:gd name="T82" fmla="*/ 1396 w 3368"/>
                <a:gd name="T83" fmla="*/ 93 h 3413"/>
                <a:gd name="T84" fmla="*/ 1390 w 3368"/>
                <a:gd name="T85" fmla="*/ 176 h 3413"/>
                <a:gd name="T86" fmla="*/ 1129 w 3368"/>
                <a:gd name="T87" fmla="*/ 302 h 3413"/>
                <a:gd name="T88" fmla="*/ 1006 w 3368"/>
                <a:gd name="T89" fmla="*/ 220 h 3413"/>
                <a:gd name="T90" fmla="*/ 867 w 3368"/>
                <a:gd name="T91" fmla="*/ 311 h 3413"/>
                <a:gd name="T92" fmla="*/ 809 w 3368"/>
                <a:gd name="T93" fmla="*/ 483 h 3413"/>
                <a:gd name="T94" fmla="*/ 766 w 3368"/>
                <a:gd name="T95" fmla="*/ 454 h 3413"/>
                <a:gd name="T96" fmla="*/ 651 w 3368"/>
                <a:gd name="T97" fmla="*/ 536 h 3413"/>
                <a:gd name="T98" fmla="*/ 883 w 3368"/>
                <a:gd name="T99" fmla="*/ 602 h 3413"/>
                <a:gd name="T100" fmla="*/ 727 w 3368"/>
                <a:gd name="T101" fmla="*/ 693 h 3413"/>
                <a:gd name="T102" fmla="*/ 1494 w 3368"/>
                <a:gd name="T103" fmla="*/ 2238 h 3413"/>
                <a:gd name="T104" fmla="*/ 2161 w 3368"/>
                <a:gd name="T105" fmla="*/ 976 h 3413"/>
                <a:gd name="T106" fmla="*/ 2422 w 3368"/>
                <a:gd name="T107" fmla="*/ 545 h 3413"/>
                <a:gd name="T108" fmla="*/ 2417 w 3368"/>
                <a:gd name="T109" fmla="*/ 232 h 3413"/>
                <a:gd name="T110" fmla="*/ 2251 w 3368"/>
                <a:gd name="T111" fmla="*/ 126 h 3413"/>
                <a:gd name="T112" fmla="*/ 1990 w 3368"/>
                <a:gd name="T113" fmla="*/ 26 h 3413"/>
                <a:gd name="T114" fmla="*/ 1793 w 3368"/>
                <a:gd name="T115" fmla="*/ 52 h 3413"/>
                <a:gd name="T116" fmla="*/ 1659 w 3368"/>
                <a:gd name="T117" fmla="*/ 245 h 3413"/>
                <a:gd name="T118" fmla="*/ 1931 w 3368"/>
                <a:gd name="T119" fmla="*/ 549 h 3413"/>
                <a:gd name="T120" fmla="*/ 1995 w 3368"/>
                <a:gd name="T121" fmla="*/ 945 h 3413"/>
                <a:gd name="T122" fmla="*/ 2491 w 3368"/>
                <a:gd name="T123" fmla="*/ 915 h 3413"/>
                <a:gd name="T124" fmla="*/ 2880 w 3368"/>
                <a:gd name="T125" fmla="*/ 1232 h 3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368" h="3413">
                  <a:moveTo>
                    <a:pt x="1713" y="3405"/>
                  </a:moveTo>
                  <a:lnTo>
                    <a:pt x="1708" y="3404"/>
                  </a:lnTo>
                  <a:lnTo>
                    <a:pt x="1693" y="3404"/>
                  </a:lnTo>
                  <a:lnTo>
                    <a:pt x="1676" y="3403"/>
                  </a:lnTo>
                  <a:lnTo>
                    <a:pt x="1664" y="3402"/>
                  </a:lnTo>
                  <a:lnTo>
                    <a:pt x="1651" y="3399"/>
                  </a:lnTo>
                  <a:lnTo>
                    <a:pt x="1642" y="3394"/>
                  </a:lnTo>
                  <a:lnTo>
                    <a:pt x="1644" y="3393"/>
                  </a:lnTo>
                  <a:lnTo>
                    <a:pt x="1646" y="3392"/>
                  </a:lnTo>
                  <a:lnTo>
                    <a:pt x="1646" y="3391"/>
                  </a:lnTo>
                  <a:lnTo>
                    <a:pt x="1645" y="3390"/>
                  </a:lnTo>
                  <a:lnTo>
                    <a:pt x="1644" y="3389"/>
                  </a:lnTo>
                  <a:lnTo>
                    <a:pt x="1643" y="3387"/>
                  </a:lnTo>
                  <a:lnTo>
                    <a:pt x="1644" y="3386"/>
                  </a:lnTo>
                  <a:lnTo>
                    <a:pt x="1644" y="3384"/>
                  </a:lnTo>
                  <a:lnTo>
                    <a:pt x="1633" y="3380"/>
                  </a:lnTo>
                  <a:lnTo>
                    <a:pt x="1627" y="3375"/>
                  </a:lnTo>
                  <a:lnTo>
                    <a:pt x="1633" y="3373"/>
                  </a:lnTo>
                  <a:lnTo>
                    <a:pt x="1643" y="3371"/>
                  </a:lnTo>
                  <a:lnTo>
                    <a:pt x="1647" y="3369"/>
                  </a:lnTo>
                  <a:lnTo>
                    <a:pt x="1651" y="3368"/>
                  </a:lnTo>
                  <a:lnTo>
                    <a:pt x="1655" y="3367"/>
                  </a:lnTo>
                  <a:lnTo>
                    <a:pt x="1656" y="3365"/>
                  </a:lnTo>
                  <a:lnTo>
                    <a:pt x="1655" y="3363"/>
                  </a:lnTo>
                  <a:lnTo>
                    <a:pt x="1654" y="3360"/>
                  </a:lnTo>
                  <a:lnTo>
                    <a:pt x="1654" y="3359"/>
                  </a:lnTo>
                  <a:lnTo>
                    <a:pt x="1654" y="3359"/>
                  </a:lnTo>
                  <a:lnTo>
                    <a:pt x="1656" y="3358"/>
                  </a:lnTo>
                  <a:lnTo>
                    <a:pt x="1659" y="3357"/>
                  </a:lnTo>
                  <a:lnTo>
                    <a:pt x="1673" y="3352"/>
                  </a:lnTo>
                  <a:lnTo>
                    <a:pt x="1682" y="3348"/>
                  </a:lnTo>
                  <a:lnTo>
                    <a:pt x="1682" y="3347"/>
                  </a:lnTo>
                  <a:lnTo>
                    <a:pt x="1681" y="3344"/>
                  </a:lnTo>
                  <a:lnTo>
                    <a:pt x="1679" y="3341"/>
                  </a:lnTo>
                  <a:lnTo>
                    <a:pt x="1674" y="3338"/>
                  </a:lnTo>
                  <a:lnTo>
                    <a:pt x="1670" y="3337"/>
                  </a:lnTo>
                  <a:lnTo>
                    <a:pt x="1663" y="3334"/>
                  </a:lnTo>
                  <a:lnTo>
                    <a:pt x="1660" y="3333"/>
                  </a:lnTo>
                  <a:lnTo>
                    <a:pt x="1657" y="3330"/>
                  </a:lnTo>
                  <a:lnTo>
                    <a:pt x="1656" y="3329"/>
                  </a:lnTo>
                  <a:lnTo>
                    <a:pt x="1656" y="3328"/>
                  </a:lnTo>
                  <a:lnTo>
                    <a:pt x="1656" y="3325"/>
                  </a:lnTo>
                  <a:lnTo>
                    <a:pt x="1657" y="3323"/>
                  </a:lnTo>
                  <a:lnTo>
                    <a:pt x="1660" y="3321"/>
                  </a:lnTo>
                  <a:lnTo>
                    <a:pt x="1665" y="3321"/>
                  </a:lnTo>
                  <a:lnTo>
                    <a:pt x="1680" y="3319"/>
                  </a:lnTo>
                  <a:lnTo>
                    <a:pt x="1690" y="3316"/>
                  </a:lnTo>
                  <a:lnTo>
                    <a:pt x="1691" y="3314"/>
                  </a:lnTo>
                  <a:lnTo>
                    <a:pt x="1690" y="3309"/>
                  </a:lnTo>
                  <a:lnTo>
                    <a:pt x="1690" y="3306"/>
                  </a:lnTo>
                  <a:lnTo>
                    <a:pt x="1690" y="3304"/>
                  </a:lnTo>
                  <a:lnTo>
                    <a:pt x="1692" y="3301"/>
                  </a:lnTo>
                  <a:lnTo>
                    <a:pt x="1696" y="3300"/>
                  </a:lnTo>
                  <a:lnTo>
                    <a:pt x="1705" y="3297"/>
                  </a:lnTo>
                  <a:lnTo>
                    <a:pt x="1714" y="3296"/>
                  </a:lnTo>
                  <a:lnTo>
                    <a:pt x="1717" y="3295"/>
                  </a:lnTo>
                  <a:lnTo>
                    <a:pt x="1721" y="3294"/>
                  </a:lnTo>
                  <a:lnTo>
                    <a:pt x="1723" y="3292"/>
                  </a:lnTo>
                  <a:lnTo>
                    <a:pt x="1723" y="3290"/>
                  </a:lnTo>
                  <a:lnTo>
                    <a:pt x="1722" y="3286"/>
                  </a:lnTo>
                  <a:lnTo>
                    <a:pt x="1717" y="3284"/>
                  </a:lnTo>
                  <a:lnTo>
                    <a:pt x="1712" y="3282"/>
                  </a:lnTo>
                  <a:lnTo>
                    <a:pt x="1706" y="3281"/>
                  </a:lnTo>
                  <a:lnTo>
                    <a:pt x="1701" y="3279"/>
                  </a:lnTo>
                  <a:lnTo>
                    <a:pt x="1696" y="3278"/>
                  </a:lnTo>
                  <a:lnTo>
                    <a:pt x="1695" y="3278"/>
                  </a:lnTo>
                  <a:lnTo>
                    <a:pt x="1694" y="3277"/>
                  </a:lnTo>
                  <a:lnTo>
                    <a:pt x="1694" y="3277"/>
                  </a:lnTo>
                  <a:lnTo>
                    <a:pt x="1695" y="3276"/>
                  </a:lnTo>
                  <a:lnTo>
                    <a:pt x="1706" y="3274"/>
                  </a:lnTo>
                  <a:lnTo>
                    <a:pt x="1721" y="3273"/>
                  </a:lnTo>
                  <a:lnTo>
                    <a:pt x="1728" y="3272"/>
                  </a:lnTo>
                  <a:lnTo>
                    <a:pt x="1734" y="3271"/>
                  </a:lnTo>
                  <a:lnTo>
                    <a:pt x="1739" y="3270"/>
                  </a:lnTo>
                  <a:lnTo>
                    <a:pt x="1743" y="3268"/>
                  </a:lnTo>
                  <a:lnTo>
                    <a:pt x="1747" y="3255"/>
                  </a:lnTo>
                  <a:lnTo>
                    <a:pt x="1753" y="3246"/>
                  </a:lnTo>
                  <a:lnTo>
                    <a:pt x="1768" y="3243"/>
                  </a:lnTo>
                  <a:lnTo>
                    <a:pt x="1793" y="3241"/>
                  </a:lnTo>
                  <a:lnTo>
                    <a:pt x="1804" y="3239"/>
                  </a:lnTo>
                  <a:lnTo>
                    <a:pt x="1816" y="3237"/>
                  </a:lnTo>
                  <a:lnTo>
                    <a:pt x="1824" y="3236"/>
                  </a:lnTo>
                  <a:lnTo>
                    <a:pt x="1827" y="3234"/>
                  </a:lnTo>
                  <a:lnTo>
                    <a:pt x="1841" y="3219"/>
                  </a:lnTo>
                  <a:lnTo>
                    <a:pt x="1851" y="3210"/>
                  </a:lnTo>
                  <a:lnTo>
                    <a:pt x="1847" y="3208"/>
                  </a:lnTo>
                  <a:lnTo>
                    <a:pt x="1841" y="3204"/>
                  </a:lnTo>
                  <a:lnTo>
                    <a:pt x="1838" y="3200"/>
                  </a:lnTo>
                  <a:lnTo>
                    <a:pt x="1836" y="3198"/>
                  </a:lnTo>
                  <a:lnTo>
                    <a:pt x="1836" y="3197"/>
                  </a:lnTo>
                  <a:lnTo>
                    <a:pt x="1835" y="3196"/>
                  </a:lnTo>
                  <a:lnTo>
                    <a:pt x="1836" y="3195"/>
                  </a:lnTo>
                  <a:lnTo>
                    <a:pt x="1837" y="3194"/>
                  </a:lnTo>
                  <a:lnTo>
                    <a:pt x="1845" y="3192"/>
                  </a:lnTo>
                  <a:lnTo>
                    <a:pt x="1858" y="3190"/>
                  </a:lnTo>
                  <a:lnTo>
                    <a:pt x="1870" y="3188"/>
                  </a:lnTo>
                  <a:lnTo>
                    <a:pt x="1877" y="3187"/>
                  </a:lnTo>
                  <a:lnTo>
                    <a:pt x="1881" y="3186"/>
                  </a:lnTo>
                  <a:lnTo>
                    <a:pt x="1889" y="3183"/>
                  </a:lnTo>
                  <a:lnTo>
                    <a:pt x="1900" y="3177"/>
                  </a:lnTo>
                  <a:lnTo>
                    <a:pt x="1909" y="3172"/>
                  </a:lnTo>
                  <a:lnTo>
                    <a:pt x="1923" y="3161"/>
                  </a:lnTo>
                  <a:lnTo>
                    <a:pt x="1934" y="3148"/>
                  </a:lnTo>
                  <a:lnTo>
                    <a:pt x="1947" y="3138"/>
                  </a:lnTo>
                  <a:lnTo>
                    <a:pt x="1958" y="3128"/>
                  </a:lnTo>
                  <a:lnTo>
                    <a:pt x="1964" y="3123"/>
                  </a:lnTo>
                  <a:lnTo>
                    <a:pt x="1969" y="3117"/>
                  </a:lnTo>
                  <a:lnTo>
                    <a:pt x="1973" y="3110"/>
                  </a:lnTo>
                  <a:lnTo>
                    <a:pt x="1975" y="3105"/>
                  </a:lnTo>
                  <a:lnTo>
                    <a:pt x="1988" y="3099"/>
                  </a:lnTo>
                  <a:lnTo>
                    <a:pt x="1997" y="3093"/>
                  </a:lnTo>
                  <a:lnTo>
                    <a:pt x="1999" y="3085"/>
                  </a:lnTo>
                  <a:lnTo>
                    <a:pt x="2001" y="3078"/>
                  </a:lnTo>
                  <a:lnTo>
                    <a:pt x="2001" y="3070"/>
                  </a:lnTo>
                  <a:lnTo>
                    <a:pt x="2002" y="3059"/>
                  </a:lnTo>
                  <a:lnTo>
                    <a:pt x="2003" y="3054"/>
                  </a:lnTo>
                  <a:lnTo>
                    <a:pt x="2006" y="3049"/>
                  </a:lnTo>
                  <a:lnTo>
                    <a:pt x="2009" y="3045"/>
                  </a:lnTo>
                  <a:lnTo>
                    <a:pt x="2012" y="3043"/>
                  </a:lnTo>
                  <a:lnTo>
                    <a:pt x="2020" y="3039"/>
                  </a:lnTo>
                  <a:lnTo>
                    <a:pt x="2029" y="3033"/>
                  </a:lnTo>
                  <a:lnTo>
                    <a:pt x="2038" y="3026"/>
                  </a:lnTo>
                  <a:lnTo>
                    <a:pt x="2045" y="3020"/>
                  </a:lnTo>
                  <a:lnTo>
                    <a:pt x="2060" y="3016"/>
                  </a:lnTo>
                  <a:lnTo>
                    <a:pt x="2077" y="3013"/>
                  </a:lnTo>
                  <a:lnTo>
                    <a:pt x="2086" y="3009"/>
                  </a:lnTo>
                  <a:lnTo>
                    <a:pt x="2097" y="3005"/>
                  </a:lnTo>
                  <a:lnTo>
                    <a:pt x="2107" y="3001"/>
                  </a:lnTo>
                  <a:lnTo>
                    <a:pt x="2116" y="3000"/>
                  </a:lnTo>
                  <a:lnTo>
                    <a:pt x="2121" y="3000"/>
                  </a:lnTo>
                  <a:lnTo>
                    <a:pt x="2125" y="3000"/>
                  </a:lnTo>
                  <a:lnTo>
                    <a:pt x="2129" y="3000"/>
                  </a:lnTo>
                  <a:lnTo>
                    <a:pt x="2133" y="2997"/>
                  </a:lnTo>
                  <a:lnTo>
                    <a:pt x="2140" y="2992"/>
                  </a:lnTo>
                  <a:lnTo>
                    <a:pt x="2147" y="2985"/>
                  </a:lnTo>
                  <a:lnTo>
                    <a:pt x="2149" y="2982"/>
                  </a:lnTo>
                  <a:lnTo>
                    <a:pt x="2150" y="2978"/>
                  </a:lnTo>
                  <a:lnTo>
                    <a:pt x="2151" y="2974"/>
                  </a:lnTo>
                  <a:lnTo>
                    <a:pt x="2152" y="2971"/>
                  </a:lnTo>
                  <a:lnTo>
                    <a:pt x="2152" y="2967"/>
                  </a:lnTo>
                  <a:lnTo>
                    <a:pt x="2154" y="2964"/>
                  </a:lnTo>
                  <a:lnTo>
                    <a:pt x="2156" y="2961"/>
                  </a:lnTo>
                  <a:lnTo>
                    <a:pt x="2160" y="2957"/>
                  </a:lnTo>
                  <a:lnTo>
                    <a:pt x="2167" y="2953"/>
                  </a:lnTo>
                  <a:lnTo>
                    <a:pt x="2174" y="2949"/>
                  </a:lnTo>
                  <a:lnTo>
                    <a:pt x="2178" y="2945"/>
                  </a:lnTo>
                  <a:lnTo>
                    <a:pt x="2180" y="2941"/>
                  </a:lnTo>
                  <a:lnTo>
                    <a:pt x="2182" y="2934"/>
                  </a:lnTo>
                  <a:lnTo>
                    <a:pt x="2184" y="2926"/>
                  </a:lnTo>
                  <a:lnTo>
                    <a:pt x="2186" y="2918"/>
                  </a:lnTo>
                  <a:lnTo>
                    <a:pt x="2189" y="2912"/>
                  </a:lnTo>
                  <a:lnTo>
                    <a:pt x="2192" y="2897"/>
                  </a:lnTo>
                  <a:lnTo>
                    <a:pt x="2196" y="2869"/>
                  </a:lnTo>
                  <a:lnTo>
                    <a:pt x="2198" y="2855"/>
                  </a:lnTo>
                  <a:lnTo>
                    <a:pt x="2200" y="2842"/>
                  </a:lnTo>
                  <a:lnTo>
                    <a:pt x="2203" y="2834"/>
                  </a:lnTo>
                  <a:lnTo>
                    <a:pt x="2205" y="2830"/>
                  </a:lnTo>
                  <a:lnTo>
                    <a:pt x="2209" y="2829"/>
                  </a:lnTo>
                  <a:lnTo>
                    <a:pt x="2214" y="2826"/>
                  </a:lnTo>
                  <a:lnTo>
                    <a:pt x="2219" y="2823"/>
                  </a:lnTo>
                  <a:lnTo>
                    <a:pt x="2224" y="2820"/>
                  </a:lnTo>
                  <a:lnTo>
                    <a:pt x="2228" y="2815"/>
                  </a:lnTo>
                  <a:lnTo>
                    <a:pt x="2232" y="2808"/>
                  </a:lnTo>
                  <a:lnTo>
                    <a:pt x="2235" y="2803"/>
                  </a:lnTo>
                  <a:lnTo>
                    <a:pt x="2237" y="2801"/>
                  </a:lnTo>
                  <a:lnTo>
                    <a:pt x="2240" y="2798"/>
                  </a:lnTo>
                  <a:lnTo>
                    <a:pt x="2242" y="2797"/>
                  </a:lnTo>
                  <a:lnTo>
                    <a:pt x="2248" y="2795"/>
                  </a:lnTo>
                  <a:lnTo>
                    <a:pt x="2253" y="2791"/>
                  </a:lnTo>
                  <a:lnTo>
                    <a:pt x="2257" y="2787"/>
                  </a:lnTo>
                  <a:lnTo>
                    <a:pt x="2260" y="2783"/>
                  </a:lnTo>
                  <a:lnTo>
                    <a:pt x="2269" y="2776"/>
                  </a:lnTo>
                  <a:lnTo>
                    <a:pt x="2279" y="2769"/>
                  </a:lnTo>
                  <a:lnTo>
                    <a:pt x="2281" y="2767"/>
                  </a:lnTo>
                  <a:lnTo>
                    <a:pt x="2283" y="2765"/>
                  </a:lnTo>
                  <a:lnTo>
                    <a:pt x="2285" y="2760"/>
                  </a:lnTo>
                  <a:lnTo>
                    <a:pt x="2286" y="2751"/>
                  </a:lnTo>
                  <a:lnTo>
                    <a:pt x="2287" y="2739"/>
                  </a:lnTo>
                  <a:lnTo>
                    <a:pt x="2288" y="2730"/>
                  </a:lnTo>
                  <a:lnTo>
                    <a:pt x="2288" y="2722"/>
                  </a:lnTo>
                  <a:lnTo>
                    <a:pt x="2286" y="2717"/>
                  </a:lnTo>
                  <a:lnTo>
                    <a:pt x="2285" y="2715"/>
                  </a:lnTo>
                  <a:lnTo>
                    <a:pt x="2282" y="2713"/>
                  </a:lnTo>
                  <a:lnTo>
                    <a:pt x="2279" y="2711"/>
                  </a:lnTo>
                  <a:lnTo>
                    <a:pt x="2275" y="2709"/>
                  </a:lnTo>
                  <a:lnTo>
                    <a:pt x="2265" y="2706"/>
                  </a:lnTo>
                  <a:lnTo>
                    <a:pt x="2256" y="2702"/>
                  </a:lnTo>
                  <a:lnTo>
                    <a:pt x="2250" y="2700"/>
                  </a:lnTo>
                  <a:lnTo>
                    <a:pt x="2244" y="2699"/>
                  </a:lnTo>
                  <a:lnTo>
                    <a:pt x="2240" y="2697"/>
                  </a:lnTo>
                  <a:lnTo>
                    <a:pt x="2233" y="2691"/>
                  </a:lnTo>
                  <a:lnTo>
                    <a:pt x="2226" y="2684"/>
                  </a:lnTo>
                  <a:lnTo>
                    <a:pt x="2219" y="2678"/>
                  </a:lnTo>
                  <a:lnTo>
                    <a:pt x="2215" y="2676"/>
                  </a:lnTo>
                  <a:lnTo>
                    <a:pt x="2212" y="2673"/>
                  </a:lnTo>
                  <a:lnTo>
                    <a:pt x="2207" y="2671"/>
                  </a:lnTo>
                  <a:lnTo>
                    <a:pt x="2202" y="2671"/>
                  </a:lnTo>
                  <a:lnTo>
                    <a:pt x="2187" y="2671"/>
                  </a:lnTo>
                  <a:lnTo>
                    <a:pt x="2167" y="2673"/>
                  </a:lnTo>
                  <a:lnTo>
                    <a:pt x="2158" y="2675"/>
                  </a:lnTo>
                  <a:lnTo>
                    <a:pt x="2148" y="2675"/>
                  </a:lnTo>
                  <a:lnTo>
                    <a:pt x="2142" y="2675"/>
                  </a:lnTo>
                  <a:lnTo>
                    <a:pt x="2137" y="2673"/>
                  </a:lnTo>
                  <a:lnTo>
                    <a:pt x="2130" y="2669"/>
                  </a:lnTo>
                  <a:lnTo>
                    <a:pt x="2124" y="2666"/>
                  </a:lnTo>
                  <a:lnTo>
                    <a:pt x="2121" y="2664"/>
                  </a:lnTo>
                  <a:lnTo>
                    <a:pt x="2118" y="2664"/>
                  </a:lnTo>
                  <a:lnTo>
                    <a:pt x="2116" y="2664"/>
                  </a:lnTo>
                  <a:lnTo>
                    <a:pt x="2114" y="2666"/>
                  </a:lnTo>
                  <a:lnTo>
                    <a:pt x="2110" y="2670"/>
                  </a:lnTo>
                  <a:lnTo>
                    <a:pt x="2107" y="2672"/>
                  </a:lnTo>
                  <a:lnTo>
                    <a:pt x="2106" y="2672"/>
                  </a:lnTo>
                  <a:lnTo>
                    <a:pt x="2105" y="2672"/>
                  </a:lnTo>
                  <a:lnTo>
                    <a:pt x="2104" y="2671"/>
                  </a:lnTo>
                  <a:lnTo>
                    <a:pt x="2104" y="2670"/>
                  </a:lnTo>
                  <a:lnTo>
                    <a:pt x="2104" y="2664"/>
                  </a:lnTo>
                  <a:lnTo>
                    <a:pt x="2103" y="2658"/>
                  </a:lnTo>
                  <a:lnTo>
                    <a:pt x="2102" y="2653"/>
                  </a:lnTo>
                  <a:lnTo>
                    <a:pt x="2100" y="2649"/>
                  </a:lnTo>
                  <a:lnTo>
                    <a:pt x="2094" y="2646"/>
                  </a:lnTo>
                  <a:lnTo>
                    <a:pt x="2084" y="2641"/>
                  </a:lnTo>
                  <a:lnTo>
                    <a:pt x="2078" y="2638"/>
                  </a:lnTo>
                  <a:lnTo>
                    <a:pt x="2073" y="2636"/>
                  </a:lnTo>
                  <a:lnTo>
                    <a:pt x="2067" y="2636"/>
                  </a:lnTo>
                  <a:lnTo>
                    <a:pt x="2064" y="2636"/>
                  </a:lnTo>
                  <a:lnTo>
                    <a:pt x="2054" y="2646"/>
                  </a:lnTo>
                  <a:lnTo>
                    <a:pt x="2039" y="2661"/>
                  </a:lnTo>
                  <a:lnTo>
                    <a:pt x="2032" y="2668"/>
                  </a:lnTo>
                  <a:lnTo>
                    <a:pt x="2025" y="2675"/>
                  </a:lnTo>
                  <a:lnTo>
                    <a:pt x="2022" y="2676"/>
                  </a:lnTo>
                  <a:lnTo>
                    <a:pt x="2019" y="2678"/>
                  </a:lnTo>
                  <a:lnTo>
                    <a:pt x="2018" y="2678"/>
                  </a:lnTo>
                  <a:lnTo>
                    <a:pt x="2016" y="2677"/>
                  </a:lnTo>
                  <a:lnTo>
                    <a:pt x="2016" y="2673"/>
                  </a:lnTo>
                  <a:lnTo>
                    <a:pt x="2018" y="2669"/>
                  </a:lnTo>
                  <a:lnTo>
                    <a:pt x="2020" y="2664"/>
                  </a:lnTo>
                  <a:lnTo>
                    <a:pt x="2023" y="2659"/>
                  </a:lnTo>
                  <a:lnTo>
                    <a:pt x="2028" y="2654"/>
                  </a:lnTo>
                  <a:lnTo>
                    <a:pt x="2030" y="2649"/>
                  </a:lnTo>
                  <a:lnTo>
                    <a:pt x="2030" y="2646"/>
                  </a:lnTo>
                  <a:lnTo>
                    <a:pt x="2031" y="2645"/>
                  </a:lnTo>
                  <a:lnTo>
                    <a:pt x="2030" y="2643"/>
                  </a:lnTo>
                  <a:lnTo>
                    <a:pt x="2029" y="2642"/>
                  </a:lnTo>
                  <a:lnTo>
                    <a:pt x="2027" y="2640"/>
                  </a:lnTo>
                  <a:lnTo>
                    <a:pt x="2022" y="2640"/>
                  </a:lnTo>
                  <a:lnTo>
                    <a:pt x="2018" y="2641"/>
                  </a:lnTo>
                  <a:lnTo>
                    <a:pt x="2013" y="2642"/>
                  </a:lnTo>
                  <a:lnTo>
                    <a:pt x="2005" y="2646"/>
                  </a:lnTo>
                  <a:lnTo>
                    <a:pt x="1998" y="2650"/>
                  </a:lnTo>
                  <a:lnTo>
                    <a:pt x="1991" y="2654"/>
                  </a:lnTo>
                  <a:lnTo>
                    <a:pt x="1983" y="2657"/>
                  </a:lnTo>
                  <a:lnTo>
                    <a:pt x="1977" y="2658"/>
                  </a:lnTo>
                  <a:lnTo>
                    <a:pt x="1973" y="2659"/>
                  </a:lnTo>
                  <a:lnTo>
                    <a:pt x="1970" y="2659"/>
                  </a:lnTo>
                  <a:lnTo>
                    <a:pt x="1969" y="2658"/>
                  </a:lnTo>
                  <a:lnTo>
                    <a:pt x="1968" y="2656"/>
                  </a:lnTo>
                  <a:lnTo>
                    <a:pt x="1969" y="2654"/>
                  </a:lnTo>
                  <a:lnTo>
                    <a:pt x="1970" y="2651"/>
                  </a:lnTo>
                  <a:lnTo>
                    <a:pt x="1972" y="2648"/>
                  </a:lnTo>
                  <a:lnTo>
                    <a:pt x="1976" y="2642"/>
                  </a:lnTo>
                  <a:lnTo>
                    <a:pt x="1981" y="2639"/>
                  </a:lnTo>
                  <a:lnTo>
                    <a:pt x="1988" y="2635"/>
                  </a:lnTo>
                  <a:lnTo>
                    <a:pt x="1995" y="2627"/>
                  </a:lnTo>
                  <a:lnTo>
                    <a:pt x="1999" y="2623"/>
                  </a:lnTo>
                  <a:lnTo>
                    <a:pt x="2002" y="2620"/>
                  </a:lnTo>
                  <a:lnTo>
                    <a:pt x="2005" y="2616"/>
                  </a:lnTo>
                  <a:lnTo>
                    <a:pt x="2006" y="2613"/>
                  </a:lnTo>
                  <a:lnTo>
                    <a:pt x="2006" y="2611"/>
                  </a:lnTo>
                  <a:lnTo>
                    <a:pt x="2003" y="2607"/>
                  </a:lnTo>
                  <a:lnTo>
                    <a:pt x="2000" y="2605"/>
                  </a:lnTo>
                  <a:lnTo>
                    <a:pt x="1998" y="2602"/>
                  </a:lnTo>
                  <a:lnTo>
                    <a:pt x="1992" y="2597"/>
                  </a:lnTo>
                  <a:lnTo>
                    <a:pt x="1988" y="2593"/>
                  </a:lnTo>
                  <a:lnTo>
                    <a:pt x="1985" y="2583"/>
                  </a:lnTo>
                  <a:lnTo>
                    <a:pt x="1979" y="2568"/>
                  </a:lnTo>
                  <a:lnTo>
                    <a:pt x="1976" y="2560"/>
                  </a:lnTo>
                  <a:lnTo>
                    <a:pt x="1972" y="2555"/>
                  </a:lnTo>
                  <a:lnTo>
                    <a:pt x="1971" y="2553"/>
                  </a:lnTo>
                  <a:lnTo>
                    <a:pt x="1969" y="2553"/>
                  </a:lnTo>
                  <a:lnTo>
                    <a:pt x="1967" y="2553"/>
                  </a:lnTo>
                  <a:lnTo>
                    <a:pt x="1965" y="2554"/>
                  </a:lnTo>
                  <a:lnTo>
                    <a:pt x="1961" y="2559"/>
                  </a:lnTo>
                  <a:lnTo>
                    <a:pt x="1955" y="2567"/>
                  </a:lnTo>
                  <a:lnTo>
                    <a:pt x="1951" y="2575"/>
                  </a:lnTo>
                  <a:lnTo>
                    <a:pt x="1947" y="2583"/>
                  </a:lnTo>
                  <a:lnTo>
                    <a:pt x="1943" y="2592"/>
                  </a:lnTo>
                  <a:lnTo>
                    <a:pt x="1939" y="2598"/>
                  </a:lnTo>
                  <a:lnTo>
                    <a:pt x="1936" y="2600"/>
                  </a:lnTo>
                  <a:lnTo>
                    <a:pt x="1934" y="2602"/>
                  </a:lnTo>
                  <a:lnTo>
                    <a:pt x="1932" y="2603"/>
                  </a:lnTo>
                  <a:lnTo>
                    <a:pt x="1931" y="2603"/>
                  </a:lnTo>
                  <a:lnTo>
                    <a:pt x="1922" y="2598"/>
                  </a:lnTo>
                  <a:lnTo>
                    <a:pt x="1912" y="2593"/>
                  </a:lnTo>
                  <a:lnTo>
                    <a:pt x="1907" y="2591"/>
                  </a:lnTo>
                  <a:lnTo>
                    <a:pt x="1903" y="2590"/>
                  </a:lnTo>
                  <a:lnTo>
                    <a:pt x="1899" y="2590"/>
                  </a:lnTo>
                  <a:lnTo>
                    <a:pt x="1896" y="2591"/>
                  </a:lnTo>
                  <a:lnTo>
                    <a:pt x="1890" y="2597"/>
                  </a:lnTo>
                  <a:lnTo>
                    <a:pt x="1886" y="2604"/>
                  </a:lnTo>
                  <a:lnTo>
                    <a:pt x="1884" y="2606"/>
                  </a:lnTo>
                  <a:lnTo>
                    <a:pt x="1882" y="2609"/>
                  </a:lnTo>
                  <a:lnTo>
                    <a:pt x="1879" y="2610"/>
                  </a:lnTo>
                  <a:lnTo>
                    <a:pt x="1876" y="2609"/>
                  </a:lnTo>
                  <a:lnTo>
                    <a:pt x="1873" y="2604"/>
                  </a:lnTo>
                  <a:lnTo>
                    <a:pt x="1868" y="2598"/>
                  </a:lnTo>
                  <a:lnTo>
                    <a:pt x="1865" y="2591"/>
                  </a:lnTo>
                  <a:lnTo>
                    <a:pt x="1862" y="2581"/>
                  </a:lnTo>
                  <a:lnTo>
                    <a:pt x="1859" y="2572"/>
                  </a:lnTo>
                  <a:lnTo>
                    <a:pt x="1857" y="2563"/>
                  </a:lnTo>
                  <a:lnTo>
                    <a:pt x="1855" y="2555"/>
                  </a:lnTo>
                  <a:lnTo>
                    <a:pt x="1855" y="2550"/>
                  </a:lnTo>
                  <a:lnTo>
                    <a:pt x="1857" y="2539"/>
                  </a:lnTo>
                  <a:lnTo>
                    <a:pt x="1858" y="2530"/>
                  </a:lnTo>
                  <a:lnTo>
                    <a:pt x="1858" y="2526"/>
                  </a:lnTo>
                  <a:lnTo>
                    <a:pt x="1857" y="2521"/>
                  </a:lnTo>
                  <a:lnTo>
                    <a:pt x="1855" y="2516"/>
                  </a:lnTo>
                  <a:lnTo>
                    <a:pt x="1852" y="2511"/>
                  </a:lnTo>
                  <a:lnTo>
                    <a:pt x="1835" y="2497"/>
                  </a:lnTo>
                  <a:lnTo>
                    <a:pt x="1811" y="2480"/>
                  </a:lnTo>
                  <a:lnTo>
                    <a:pt x="1799" y="2471"/>
                  </a:lnTo>
                  <a:lnTo>
                    <a:pt x="1790" y="2463"/>
                  </a:lnTo>
                  <a:lnTo>
                    <a:pt x="1788" y="2460"/>
                  </a:lnTo>
                  <a:lnTo>
                    <a:pt x="1786" y="2457"/>
                  </a:lnTo>
                  <a:lnTo>
                    <a:pt x="1786" y="2454"/>
                  </a:lnTo>
                  <a:lnTo>
                    <a:pt x="1788" y="2452"/>
                  </a:lnTo>
                  <a:lnTo>
                    <a:pt x="1792" y="2448"/>
                  </a:lnTo>
                  <a:lnTo>
                    <a:pt x="1796" y="2443"/>
                  </a:lnTo>
                  <a:lnTo>
                    <a:pt x="1799" y="2437"/>
                  </a:lnTo>
                  <a:lnTo>
                    <a:pt x="1801" y="2430"/>
                  </a:lnTo>
                  <a:lnTo>
                    <a:pt x="1802" y="2425"/>
                  </a:lnTo>
                  <a:lnTo>
                    <a:pt x="1802" y="2421"/>
                  </a:lnTo>
                  <a:lnTo>
                    <a:pt x="1801" y="2419"/>
                  </a:lnTo>
                  <a:lnTo>
                    <a:pt x="1800" y="2419"/>
                  </a:lnTo>
                  <a:lnTo>
                    <a:pt x="1798" y="2419"/>
                  </a:lnTo>
                  <a:lnTo>
                    <a:pt x="1796" y="2420"/>
                  </a:lnTo>
                  <a:lnTo>
                    <a:pt x="1786" y="2426"/>
                  </a:lnTo>
                  <a:lnTo>
                    <a:pt x="1772" y="2432"/>
                  </a:lnTo>
                  <a:lnTo>
                    <a:pt x="1765" y="2435"/>
                  </a:lnTo>
                  <a:lnTo>
                    <a:pt x="1758" y="2436"/>
                  </a:lnTo>
                  <a:lnTo>
                    <a:pt x="1752" y="2436"/>
                  </a:lnTo>
                  <a:lnTo>
                    <a:pt x="1746" y="2432"/>
                  </a:lnTo>
                  <a:lnTo>
                    <a:pt x="1736" y="2426"/>
                  </a:lnTo>
                  <a:lnTo>
                    <a:pt x="1726" y="2420"/>
                  </a:lnTo>
                  <a:lnTo>
                    <a:pt x="1722" y="2418"/>
                  </a:lnTo>
                  <a:lnTo>
                    <a:pt x="1716" y="2417"/>
                  </a:lnTo>
                  <a:lnTo>
                    <a:pt x="1712" y="2418"/>
                  </a:lnTo>
                  <a:lnTo>
                    <a:pt x="1708" y="2420"/>
                  </a:lnTo>
                  <a:lnTo>
                    <a:pt x="1704" y="2423"/>
                  </a:lnTo>
                  <a:lnTo>
                    <a:pt x="1699" y="2425"/>
                  </a:lnTo>
                  <a:lnTo>
                    <a:pt x="1693" y="2425"/>
                  </a:lnTo>
                  <a:lnTo>
                    <a:pt x="1687" y="2425"/>
                  </a:lnTo>
                  <a:lnTo>
                    <a:pt x="1679" y="2423"/>
                  </a:lnTo>
                  <a:lnTo>
                    <a:pt x="1677" y="2422"/>
                  </a:lnTo>
                  <a:lnTo>
                    <a:pt x="1679" y="2421"/>
                  </a:lnTo>
                  <a:lnTo>
                    <a:pt x="1679" y="2420"/>
                  </a:lnTo>
                  <a:lnTo>
                    <a:pt x="1678" y="2417"/>
                  </a:lnTo>
                  <a:lnTo>
                    <a:pt x="1677" y="2415"/>
                  </a:lnTo>
                  <a:lnTo>
                    <a:pt x="1672" y="2410"/>
                  </a:lnTo>
                  <a:lnTo>
                    <a:pt x="1668" y="2407"/>
                  </a:lnTo>
                  <a:lnTo>
                    <a:pt x="1655" y="2406"/>
                  </a:lnTo>
                  <a:lnTo>
                    <a:pt x="1628" y="2405"/>
                  </a:lnTo>
                  <a:lnTo>
                    <a:pt x="1602" y="2404"/>
                  </a:lnTo>
                  <a:lnTo>
                    <a:pt x="1591" y="2404"/>
                  </a:lnTo>
                  <a:lnTo>
                    <a:pt x="1591" y="2407"/>
                  </a:lnTo>
                  <a:lnTo>
                    <a:pt x="1589" y="2415"/>
                  </a:lnTo>
                  <a:lnTo>
                    <a:pt x="1588" y="2418"/>
                  </a:lnTo>
                  <a:lnTo>
                    <a:pt x="1586" y="2420"/>
                  </a:lnTo>
                  <a:lnTo>
                    <a:pt x="1584" y="2422"/>
                  </a:lnTo>
                  <a:lnTo>
                    <a:pt x="1583" y="2421"/>
                  </a:lnTo>
                  <a:lnTo>
                    <a:pt x="1575" y="2406"/>
                  </a:lnTo>
                  <a:lnTo>
                    <a:pt x="1569" y="2394"/>
                  </a:lnTo>
                  <a:lnTo>
                    <a:pt x="1563" y="2399"/>
                  </a:lnTo>
                  <a:lnTo>
                    <a:pt x="1552" y="2408"/>
                  </a:lnTo>
                  <a:lnTo>
                    <a:pt x="1545" y="2413"/>
                  </a:lnTo>
                  <a:lnTo>
                    <a:pt x="1537" y="2417"/>
                  </a:lnTo>
                  <a:lnTo>
                    <a:pt x="1531" y="2420"/>
                  </a:lnTo>
                  <a:lnTo>
                    <a:pt x="1526" y="2420"/>
                  </a:lnTo>
                  <a:lnTo>
                    <a:pt x="1520" y="2419"/>
                  </a:lnTo>
                  <a:lnTo>
                    <a:pt x="1515" y="2418"/>
                  </a:lnTo>
                  <a:lnTo>
                    <a:pt x="1509" y="2418"/>
                  </a:lnTo>
                  <a:lnTo>
                    <a:pt x="1503" y="2420"/>
                  </a:lnTo>
                  <a:lnTo>
                    <a:pt x="1496" y="2422"/>
                  </a:lnTo>
                  <a:lnTo>
                    <a:pt x="1490" y="2427"/>
                  </a:lnTo>
                  <a:lnTo>
                    <a:pt x="1485" y="2435"/>
                  </a:lnTo>
                  <a:lnTo>
                    <a:pt x="1480" y="2444"/>
                  </a:lnTo>
                  <a:lnTo>
                    <a:pt x="1475" y="2453"/>
                  </a:lnTo>
                  <a:lnTo>
                    <a:pt x="1470" y="2462"/>
                  </a:lnTo>
                  <a:lnTo>
                    <a:pt x="1464" y="2467"/>
                  </a:lnTo>
                  <a:lnTo>
                    <a:pt x="1458" y="2470"/>
                  </a:lnTo>
                  <a:lnTo>
                    <a:pt x="1451" y="2472"/>
                  </a:lnTo>
                  <a:lnTo>
                    <a:pt x="1447" y="2472"/>
                  </a:lnTo>
                  <a:lnTo>
                    <a:pt x="1443" y="2472"/>
                  </a:lnTo>
                  <a:lnTo>
                    <a:pt x="1440" y="2470"/>
                  </a:lnTo>
                  <a:lnTo>
                    <a:pt x="1434" y="2466"/>
                  </a:lnTo>
                  <a:lnTo>
                    <a:pt x="1423" y="2462"/>
                  </a:lnTo>
                  <a:lnTo>
                    <a:pt x="1410" y="2458"/>
                  </a:lnTo>
                  <a:lnTo>
                    <a:pt x="1399" y="2456"/>
                  </a:lnTo>
                  <a:lnTo>
                    <a:pt x="1396" y="2456"/>
                  </a:lnTo>
                  <a:lnTo>
                    <a:pt x="1393" y="2458"/>
                  </a:lnTo>
                  <a:lnTo>
                    <a:pt x="1392" y="2460"/>
                  </a:lnTo>
                  <a:lnTo>
                    <a:pt x="1391" y="2463"/>
                  </a:lnTo>
                  <a:lnTo>
                    <a:pt x="1388" y="2465"/>
                  </a:lnTo>
                  <a:lnTo>
                    <a:pt x="1384" y="2466"/>
                  </a:lnTo>
                  <a:lnTo>
                    <a:pt x="1379" y="2466"/>
                  </a:lnTo>
                  <a:lnTo>
                    <a:pt x="1371" y="2463"/>
                  </a:lnTo>
                  <a:lnTo>
                    <a:pt x="1351" y="2453"/>
                  </a:lnTo>
                  <a:lnTo>
                    <a:pt x="1333" y="2445"/>
                  </a:lnTo>
                  <a:lnTo>
                    <a:pt x="1326" y="2441"/>
                  </a:lnTo>
                  <a:lnTo>
                    <a:pt x="1320" y="2437"/>
                  </a:lnTo>
                  <a:lnTo>
                    <a:pt x="1317" y="2432"/>
                  </a:lnTo>
                  <a:lnTo>
                    <a:pt x="1316" y="2428"/>
                  </a:lnTo>
                  <a:lnTo>
                    <a:pt x="1317" y="2414"/>
                  </a:lnTo>
                  <a:lnTo>
                    <a:pt x="1320" y="2391"/>
                  </a:lnTo>
                  <a:lnTo>
                    <a:pt x="1322" y="2370"/>
                  </a:lnTo>
                  <a:lnTo>
                    <a:pt x="1323" y="2356"/>
                  </a:lnTo>
                  <a:lnTo>
                    <a:pt x="1320" y="2353"/>
                  </a:lnTo>
                  <a:lnTo>
                    <a:pt x="1312" y="2349"/>
                  </a:lnTo>
                  <a:lnTo>
                    <a:pt x="1300" y="2344"/>
                  </a:lnTo>
                  <a:lnTo>
                    <a:pt x="1287" y="2339"/>
                  </a:lnTo>
                  <a:lnTo>
                    <a:pt x="1272" y="2334"/>
                  </a:lnTo>
                  <a:lnTo>
                    <a:pt x="1259" y="2329"/>
                  </a:lnTo>
                  <a:lnTo>
                    <a:pt x="1247" y="2325"/>
                  </a:lnTo>
                  <a:lnTo>
                    <a:pt x="1239" y="2319"/>
                  </a:lnTo>
                  <a:lnTo>
                    <a:pt x="1232" y="2315"/>
                  </a:lnTo>
                  <a:lnTo>
                    <a:pt x="1227" y="2309"/>
                  </a:lnTo>
                  <a:lnTo>
                    <a:pt x="1222" y="2303"/>
                  </a:lnTo>
                  <a:lnTo>
                    <a:pt x="1218" y="2296"/>
                  </a:lnTo>
                  <a:lnTo>
                    <a:pt x="1215" y="2290"/>
                  </a:lnTo>
                  <a:lnTo>
                    <a:pt x="1212" y="2285"/>
                  </a:lnTo>
                  <a:lnTo>
                    <a:pt x="1212" y="2283"/>
                  </a:lnTo>
                  <a:lnTo>
                    <a:pt x="1212" y="2282"/>
                  </a:lnTo>
                  <a:lnTo>
                    <a:pt x="1212" y="2281"/>
                  </a:lnTo>
                  <a:lnTo>
                    <a:pt x="1213" y="2280"/>
                  </a:lnTo>
                  <a:lnTo>
                    <a:pt x="1217" y="2276"/>
                  </a:lnTo>
                  <a:lnTo>
                    <a:pt x="1222" y="2268"/>
                  </a:lnTo>
                  <a:lnTo>
                    <a:pt x="1228" y="2256"/>
                  </a:lnTo>
                  <a:lnTo>
                    <a:pt x="1233" y="2243"/>
                  </a:lnTo>
                  <a:lnTo>
                    <a:pt x="1239" y="2228"/>
                  </a:lnTo>
                  <a:lnTo>
                    <a:pt x="1242" y="2216"/>
                  </a:lnTo>
                  <a:lnTo>
                    <a:pt x="1243" y="2210"/>
                  </a:lnTo>
                  <a:lnTo>
                    <a:pt x="1243" y="2205"/>
                  </a:lnTo>
                  <a:lnTo>
                    <a:pt x="1242" y="2201"/>
                  </a:lnTo>
                  <a:lnTo>
                    <a:pt x="1240" y="2199"/>
                  </a:lnTo>
                  <a:lnTo>
                    <a:pt x="1238" y="2198"/>
                  </a:lnTo>
                  <a:lnTo>
                    <a:pt x="1233" y="2196"/>
                  </a:lnTo>
                  <a:lnTo>
                    <a:pt x="1228" y="2195"/>
                  </a:lnTo>
                  <a:lnTo>
                    <a:pt x="1223" y="2195"/>
                  </a:lnTo>
                  <a:lnTo>
                    <a:pt x="1209" y="2194"/>
                  </a:lnTo>
                  <a:lnTo>
                    <a:pt x="1196" y="2195"/>
                  </a:lnTo>
                  <a:lnTo>
                    <a:pt x="1182" y="2197"/>
                  </a:lnTo>
                  <a:lnTo>
                    <a:pt x="1171" y="2200"/>
                  </a:lnTo>
                  <a:lnTo>
                    <a:pt x="1166" y="2201"/>
                  </a:lnTo>
                  <a:lnTo>
                    <a:pt x="1162" y="2203"/>
                  </a:lnTo>
                  <a:lnTo>
                    <a:pt x="1160" y="2205"/>
                  </a:lnTo>
                  <a:lnTo>
                    <a:pt x="1159" y="2207"/>
                  </a:lnTo>
                  <a:lnTo>
                    <a:pt x="1156" y="2222"/>
                  </a:lnTo>
                  <a:lnTo>
                    <a:pt x="1150" y="2242"/>
                  </a:lnTo>
                  <a:lnTo>
                    <a:pt x="1146" y="2252"/>
                  </a:lnTo>
                  <a:lnTo>
                    <a:pt x="1141" y="2261"/>
                  </a:lnTo>
                  <a:lnTo>
                    <a:pt x="1139" y="2264"/>
                  </a:lnTo>
                  <a:lnTo>
                    <a:pt x="1136" y="2266"/>
                  </a:lnTo>
                  <a:lnTo>
                    <a:pt x="1134" y="2267"/>
                  </a:lnTo>
                  <a:lnTo>
                    <a:pt x="1131" y="2268"/>
                  </a:lnTo>
                  <a:lnTo>
                    <a:pt x="1122" y="2267"/>
                  </a:lnTo>
                  <a:lnTo>
                    <a:pt x="1109" y="2267"/>
                  </a:lnTo>
                  <a:lnTo>
                    <a:pt x="1093" y="2265"/>
                  </a:lnTo>
                  <a:lnTo>
                    <a:pt x="1076" y="2261"/>
                  </a:lnTo>
                  <a:lnTo>
                    <a:pt x="1067" y="2258"/>
                  </a:lnTo>
                  <a:lnTo>
                    <a:pt x="1058" y="2253"/>
                  </a:lnTo>
                  <a:lnTo>
                    <a:pt x="1051" y="2248"/>
                  </a:lnTo>
                  <a:lnTo>
                    <a:pt x="1044" y="2242"/>
                  </a:lnTo>
                  <a:lnTo>
                    <a:pt x="1037" y="2234"/>
                  </a:lnTo>
                  <a:lnTo>
                    <a:pt x="1032" y="2225"/>
                  </a:lnTo>
                  <a:lnTo>
                    <a:pt x="1028" y="2214"/>
                  </a:lnTo>
                  <a:lnTo>
                    <a:pt x="1025" y="2202"/>
                  </a:lnTo>
                  <a:lnTo>
                    <a:pt x="1021" y="2159"/>
                  </a:lnTo>
                  <a:lnTo>
                    <a:pt x="1020" y="2135"/>
                  </a:lnTo>
                  <a:lnTo>
                    <a:pt x="1021" y="2129"/>
                  </a:lnTo>
                  <a:lnTo>
                    <a:pt x="1022" y="2123"/>
                  </a:lnTo>
                  <a:lnTo>
                    <a:pt x="1023" y="2119"/>
                  </a:lnTo>
                  <a:lnTo>
                    <a:pt x="1025" y="2116"/>
                  </a:lnTo>
                  <a:lnTo>
                    <a:pt x="1029" y="2111"/>
                  </a:lnTo>
                  <a:lnTo>
                    <a:pt x="1033" y="2106"/>
                  </a:lnTo>
                  <a:lnTo>
                    <a:pt x="1035" y="2104"/>
                  </a:lnTo>
                  <a:lnTo>
                    <a:pt x="1035" y="2101"/>
                  </a:lnTo>
                  <a:lnTo>
                    <a:pt x="1035" y="2100"/>
                  </a:lnTo>
                  <a:lnTo>
                    <a:pt x="1034" y="2098"/>
                  </a:lnTo>
                  <a:lnTo>
                    <a:pt x="1032" y="2095"/>
                  </a:lnTo>
                  <a:lnTo>
                    <a:pt x="1030" y="2090"/>
                  </a:lnTo>
                  <a:lnTo>
                    <a:pt x="1028" y="2085"/>
                  </a:lnTo>
                  <a:lnTo>
                    <a:pt x="1026" y="2077"/>
                  </a:lnTo>
                  <a:lnTo>
                    <a:pt x="1025" y="2070"/>
                  </a:lnTo>
                  <a:lnTo>
                    <a:pt x="1025" y="2064"/>
                  </a:lnTo>
                  <a:lnTo>
                    <a:pt x="1025" y="2057"/>
                  </a:lnTo>
                  <a:lnTo>
                    <a:pt x="1027" y="2052"/>
                  </a:lnTo>
                  <a:lnTo>
                    <a:pt x="1031" y="2049"/>
                  </a:lnTo>
                  <a:lnTo>
                    <a:pt x="1035" y="2045"/>
                  </a:lnTo>
                  <a:lnTo>
                    <a:pt x="1042" y="2041"/>
                  </a:lnTo>
                  <a:lnTo>
                    <a:pt x="1048" y="2037"/>
                  </a:lnTo>
                  <a:lnTo>
                    <a:pt x="1059" y="2032"/>
                  </a:lnTo>
                  <a:lnTo>
                    <a:pt x="1066" y="2030"/>
                  </a:lnTo>
                  <a:lnTo>
                    <a:pt x="1068" y="2027"/>
                  </a:lnTo>
                  <a:lnTo>
                    <a:pt x="1072" y="2022"/>
                  </a:lnTo>
                  <a:lnTo>
                    <a:pt x="1075" y="2019"/>
                  </a:lnTo>
                  <a:lnTo>
                    <a:pt x="1078" y="2017"/>
                  </a:lnTo>
                  <a:lnTo>
                    <a:pt x="1083" y="2015"/>
                  </a:lnTo>
                  <a:lnTo>
                    <a:pt x="1087" y="2017"/>
                  </a:lnTo>
                  <a:lnTo>
                    <a:pt x="1091" y="2019"/>
                  </a:lnTo>
                  <a:lnTo>
                    <a:pt x="1095" y="2019"/>
                  </a:lnTo>
                  <a:lnTo>
                    <a:pt x="1100" y="2019"/>
                  </a:lnTo>
                  <a:lnTo>
                    <a:pt x="1105" y="2019"/>
                  </a:lnTo>
                  <a:lnTo>
                    <a:pt x="1114" y="2018"/>
                  </a:lnTo>
                  <a:lnTo>
                    <a:pt x="1124" y="2019"/>
                  </a:lnTo>
                  <a:lnTo>
                    <a:pt x="1135" y="2023"/>
                  </a:lnTo>
                  <a:lnTo>
                    <a:pt x="1146" y="2027"/>
                  </a:lnTo>
                  <a:lnTo>
                    <a:pt x="1152" y="2029"/>
                  </a:lnTo>
                  <a:lnTo>
                    <a:pt x="1158" y="2031"/>
                  </a:lnTo>
                  <a:lnTo>
                    <a:pt x="1163" y="2032"/>
                  </a:lnTo>
                  <a:lnTo>
                    <a:pt x="1168" y="2032"/>
                  </a:lnTo>
                  <a:lnTo>
                    <a:pt x="1178" y="2029"/>
                  </a:lnTo>
                  <a:lnTo>
                    <a:pt x="1184" y="2026"/>
                  </a:lnTo>
                  <a:lnTo>
                    <a:pt x="1188" y="2023"/>
                  </a:lnTo>
                  <a:lnTo>
                    <a:pt x="1191" y="2020"/>
                  </a:lnTo>
                  <a:lnTo>
                    <a:pt x="1194" y="2015"/>
                  </a:lnTo>
                  <a:lnTo>
                    <a:pt x="1198" y="2009"/>
                  </a:lnTo>
                  <a:lnTo>
                    <a:pt x="1200" y="2007"/>
                  </a:lnTo>
                  <a:lnTo>
                    <a:pt x="1204" y="2005"/>
                  </a:lnTo>
                  <a:lnTo>
                    <a:pt x="1208" y="2004"/>
                  </a:lnTo>
                  <a:lnTo>
                    <a:pt x="1213" y="2005"/>
                  </a:lnTo>
                  <a:lnTo>
                    <a:pt x="1222" y="2007"/>
                  </a:lnTo>
                  <a:lnTo>
                    <a:pt x="1229" y="2007"/>
                  </a:lnTo>
                  <a:lnTo>
                    <a:pt x="1231" y="2007"/>
                  </a:lnTo>
                  <a:lnTo>
                    <a:pt x="1234" y="2008"/>
                  </a:lnTo>
                  <a:lnTo>
                    <a:pt x="1238" y="2010"/>
                  </a:lnTo>
                  <a:lnTo>
                    <a:pt x="1241" y="2015"/>
                  </a:lnTo>
                  <a:lnTo>
                    <a:pt x="1245" y="2020"/>
                  </a:lnTo>
                  <a:lnTo>
                    <a:pt x="1251" y="2023"/>
                  </a:lnTo>
                  <a:lnTo>
                    <a:pt x="1257" y="2025"/>
                  </a:lnTo>
                  <a:lnTo>
                    <a:pt x="1265" y="2026"/>
                  </a:lnTo>
                  <a:lnTo>
                    <a:pt x="1278" y="2027"/>
                  </a:lnTo>
                  <a:lnTo>
                    <a:pt x="1288" y="2027"/>
                  </a:lnTo>
                  <a:lnTo>
                    <a:pt x="1294" y="2028"/>
                  </a:lnTo>
                  <a:lnTo>
                    <a:pt x="1299" y="2028"/>
                  </a:lnTo>
                  <a:lnTo>
                    <a:pt x="1301" y="2028"/>
                  </a:lnTo>
                  <a:lnTo>
                    <a:pt x="1304" y="2029"/>
                  </a:lnTo>
                  <a:lnTo>
                    <a:pt x="1307" y="2030"/>
                  </a:lnTo>
                  <a:lnTo>
                    <a:pt x="1309" y="2033"/>
                  </a:lnTo>
                  <a:lnTo>
                    <a:pt x="1315" y="2039"/>
                  </a:lnTo>
                  <a:lnTo>
                    <a:pt x="1321" y="2044"/>
                  </a:lnTo>
                  <a:lnTo>
                    <a:pt x="1325" y="2047"/>
                  </a:lnTo>
                  <a:lnTo>
                    <a:pt x="1327" y="2050"/>
                  </a:lnTo>
                  <a:lnTo>
                    <a:pt x="1329" y="2054"/>
                  </a:lnTo>
                  <a:lnTo>
                    <a:pt x="1330" y="2057"/>
                  </a:lnTo>
                  <a:lnTo>
                    <a:pt x="1330" y="2065"/>
                  </a:lnTo>
                  <a:lnTo>
                    <a:pt x="1330" y="2072"/>
                  </a:lnTo>
                  <a:lnTo>
                    <a:pt x="1331" y="2079"/>
                  </a:lnTo>
                  <a:lnTo>
                    <a:pt x="1335" y="2090"/>
                  </a:lnTo>
                  <a:lnTo>
                    <a:pt x="1342" y="2101"/>
                  </a:lnTo>
                  <a:lnTo>
                    <a:pt x="1350" y="2111"/>
                  </a:lnTo>
                  <a:lnTo>
                    <a:pt x="1356" y="2119"/>
                  </a:lnTo>
                  <a:lnTo>
                    <a:pt x="1359" y="2123"/>
                  </a:lnTo>
                  <a:lnTo>
                    <a:pt x="1363" y="2127"/>
                  </a:lnTo>
                  <a:lnTo>
                    <a:pt x="1369" y="2129"/>
                  </a:lnTo>
                  <a:lnTo>
                    <a:pt x="1374" y="2130"/>
                  </a:lnTo>
                  <a:lnTo>
                    <a:pt x="1378" y="2130"/>
                  </a:lnTo>
                  <a:lnTo>
                    <a:pt x="1381" y="2124"/>
                  </a:lnTo>
                  <a:lnTo>
                    <a:pt x="1383" y="2115"/>
                  </a:lnTo>
                  <a:lnTo>
                    <a:pt x="1385" y="2105"/>
                  </a:lnTo>
                  <a:lnTo>
                    <a:pt x="1385" y="2093"/>
                  </a:lnTo>
                  <a:lnTo>
                    <a:pt x="1385" y="2084"/>
                  </a:lnTo>
                  <a:lnTo>
                    <a:pt x="1383" y="2072"/>
                  </a:lnTo>
                  <a:lnTo>
                    <a:pt x="1380" y="2062"/>
                  </a:lnTo>
                  <a:lnTo>
                    <a:pt x="1378" y="2052"/>
                  </a:lnTo>
                  <a:lnTo>
                    <a:pt x="1377" y="2047"/>
                  </a:lnTo>
                  <a:lnTo>
                    <a:pt x="1374" y="2042"/>
                  </a:lnTo>
                  <a:lnTo>
                    <a:pt x="1371" y="2036"/>
                  </a:lnTo>
                  <a:lnTo>
                    <a:pt x="1368" y="2031"/>
                  </a:lnTo>
                  <a:lnTo>
                    <a:pt x="1363" y="2025"/>
                  </a:lnTo>
                  <a:lnTo>
                    <a:pt x="1360" y="2020"/>
                  </a:lnTo>
                  <a:lnTo>
                    <a:pt x="1358" y="2013"/>
                  </a:lnTo>
                  <a:lnTo>
                    <a:pt x="1358" y="2007"/>
                  </a:lnTo>
                  <a:lnTo>
                    <a:pt x="1358" y="1992"/>
                  </a:lnTo>
                  <a:lnTo>
                    <a:pt x="1360" y="1976"/>
                  </a:lnTo>
                  <a:lnTo>
                    <a:pt x="1362" y="1968"/>
                  </a:lnTo>
                  <a:lnTo>
                    <a:pt x="1364" y="1962"/>
                  </a:lnTo>
                  <a:lnTo>
                    <a:pt x="1366" y="1958"/>
                  </a:lnTo>
                  <a:lnTo>
                    <a:pt x="1370" y="1955"/>
                  </a:lnTo>
                  <a:lnTo>
                    <a:pt x="1381" y="1945"/>
                  </a:lnTo>
                  <a:lnTo>
                    <a:pt x="1400" y="1929"/>
                  </a:lnTo>
                  <a:lnTo>
                    <a:pt x="1410" y="1919"/>
                  </a:lnTo>
                  <a:lnTo>
                    <a:pt x="1420" y="1911"/>
                  </a:lnTo>
                  <a:lnTo>
                    <a:pt x="1428" y="1904"/>
                  </a:lnTo>
                  <a:lnTo>
                    <a:pt x="1436" y="1900"/>
                  </a:lnTo>
                  <a:lnTo>
                    <a:pt x="1449" y="1894"/>
                  </a:lnTo>
                  <a:lnTo>
                    <a:pt x="1464" y="1886"/>
                  </a:lnTo>
                  <a:lnTo>
                    <a:pt x="1470" y="1880"/>
                  </a:lnTo>
                  <a:lnTo>
                    <a:pt x="1476" y="1876"/>
                  </a:lnTo>
                  <a:lnTo>
                    <a:pt x="1480" y="1873"/>
                  </a:lnTo>
                  <a:lnTo>
                    <a:pt x="1482" y="1870"/>
                  </a:lnTo>
                  <a:lnTo>
                    <a:pt x="1478" y="1855"/>
                  </a:lnTo>
                  <a:lnTo>
                    <a:pt x="1472" y="1841"/>
                  </a:lnTo>
                  <a:lnTo>
                    <a:pt x="1479" y="1826"/>
                  </a:lnTo>
                  <a:lnTo>
                    <a:pt x="1485" y="1810"/>
                  </a:lnTo>
                  <a:lnTo>
                    <a:pt x="1488" y="1803"/>
                  </a:lnTo>
                  <a:lnTo>
                    <a:pt x="1491" y="1795"/>
                  </a:lnTo>
                  <a:lnTo>
                    <a:pt x="1495" y="1789"/>
                  </a:lnTo>
                  <a:lnTo>
                    <a:pt x="1501" y="1782"/>
                  </a:lnTo>
                  <a:lnTo>
                    <a:pt x="1505" y="1773"/>
                  </a:lnTo>
                  <a:lnTo>
                    <a:pt x="1510" y="1761"/>
                  </a:lnTo>
                  <a:lnTo>
                    <a:pt x="1513" y="1756"/>
                  </a:lnTo>
                  <a:lnTo>
                    <a:pt x="1515" y="1750"/>
                  </a:lnTo>
                  <a:lnTo>
                    <a:pt x="1518" y="1746"/>
                  </a:lnTo>
                  <a:lnTo>
                    <a:pt x="1522" y="1743"/>
                  </a:lnTo>
                  <a:lnTo>
                    <a:pt x="1532" y="1739"/>
                  </a:lnTo>
                  <a:lnTo>
                    <a:pt x="1549" y="1733"/>
                  </a:lnTo>
                  <a:lnTo>
                    <a:pt x="1557" y="1729"/>
                  </a:lnTo>
                  <a:lnTo>
                    <a:pt x="1564" y="1725"/>
                  </a:lnTo>
                  <a:lnTo>
                    <a:pt x="1570" y="1722"/>
                  </a:lnTo>
                  <a:lnTo>
                    <a:pt x="1574" y="1719"/>
                  </a:lnTo>
                  <a:lnTo>
                    <a:pt x="1577" y="1717"/>
                  </a:lnTo>
                  <a:lnTo>
                    <a:pt x="1581" y="1716"/>
                  </a:lnTo>
                  <a:lnTo>
                    <a:pt x="1586" y="1715"/>
                  </a:lnTo>
                  <a:lnTo>
                    <a:pt x="1592" y="1714"/>
                  </a:lnTo>
                  <a:lnTo>
                    <a:pt x="1597" y="1714"/>
                  </a:lnTo>
                  <a:lnTo>
                    <a:pt x="1602" y="1713"/>
                  </a:lnTo>
                  <a:lnTo>
                    <a:pt x="1603" y="1712"/>
                  </a:lnTo>
                  <a:lnTo>
                    <a:pt x="1605" y="1711"/>
                  </a:lnTo>
                  <a:lnTo>
                    <a:pt x="1605" y="1708"/>
                  </a:lnTo>
                  <a:lnTo>
                    <a:pt x="1606" y="1707"/>
                  </a:lnTo>
                  <a:lnTo>
                    <a:pt x="1605" y="1705"/>
                  </a:lnTo>
                  <a:lnTo>
                    <a:pt x="1604" y="1703"/>
                  </a:lnTo>
                  <a:lnTo>
                    <a:pt x="1603" y="1702"/>
                  </a:lnTo>
                  <a:lnTo>
                    <a:pt x="1601" y="1701"/>
                  </a:lnTo>
                  <a:lnTo>
                    <a:pt x="1596" y="1699"/>
                  </a:lnTo>
                  <a:lnTo>
                    <a:pt x="1591" y="1698"/>
                  </a:lnTo>
                  <a:lnTo>
                    <a:pt x="1585" y="1697"/>
                  </a:lnTo>
                  <a:lnTo>
                    <a:pt x="1581" y="1695"/>
                  </a:lnTo>
                  <a:lnTo>
                    <a:pt x="1580" y="1694"/>
                  </a:lnTo>
                  <a:lnTo>
                    <a:pt x="1580" y="1692"/>
                  </a:lnTo>
                  <a:lnTo>
                    <a:pt x="1580" y="1690"/>
                  </a:lnTo>
                  <a:lnTo>
                    <a:pt x="1581" y="1688"/>
                  </a:lnTo>
                  <a:lnTo>
                    <a:pt x="1588" y="1677"/>
                  </a:lnTo>
                  <a:lnTo>
                    <a:pt x="1597" y="1666"/>
                  </a:lnTo>
                  <a:lnTo>
                    <a:pt x="1606" y="1654"/>
                  </a:lnTo>
                  <a:lnTo>
                    <a:pt x="1616" y="1644"/>
                  </a:lnTo>
                  <a:lnTo>
                    <a:pt x="1623" y="1637"/>
                  </a:lnTo>
                  <a:lnTo>
                    <a:pt x="1635" y="1630"/>
                  </a:lnTo>
                  <a:lnTo>
                    <a:pt x="1648" y="1620"/>
                  </a:lnTo>
                  <a:lnTo>
                    <a:pt x="1664" y="1612"/>
                  </a:lnTo>
                  <a:lnTo>
                    <a:pt x="1679" y="1605"/>
                  </a:lnTo>
                  <a:lnTo>
                    <a:pt x="1690" y="1598"/>
                  </a:lnTo>
                  <a:lnTo>
                    <a:pt x="1694" y="1596"/>
                  </a:lnTo>
                  <a:lnTo>
                    <a:pt x="1698" y="1595"/>
                  </a:lnTo>
                  <a:lnTo>
                    <a:pt x="1700" y="1595"/>
                  </a:lnTo>
                  <a:lnTo>
                    <a:pt x="1700" y="1596"/>
                  </a:lnTo>
                  <a:lnTo>
                    <a:pt x="1693" y="1603"/>
                  </a:lnTo>
                  <a:lnTo>
                    <a:pt x="1686" y="1611"/>
                  </a:lnTo>
                  <a:lnTo>
                    <a:pt x="1682" y="1615"/>
                  </a:lnTo>
                  <a:lnTo>
                    <a:pt x="1680" y="1619"/>
                  </a:lnTo>
                  <a:lnTo>
                    <a:pt x="1678" y="1625"/>
                  </a:lnTo>
                  <a:lnTo>
                    <a:pt x="1678" y="1631"/>
                  </a:lnTo>
                  <a:lnTo>
                    <a:pt x="1679" y="1641"/>
                  </a:lnTo>
                  <a:lnTo>
                    <a:pt x="1680" y="1649"/>
                  </a:lnTo>
                  <a:lnTo>
                    <a:pt x="1682" y="1652"/>
                  </a:lnTo>
                  <a:lnTo>
                    <a:pt x="1684" y="1654"/>
                  </a:lnTo>
                  <a:lnTo>
                    <a:pt x="1687" y="1654"/>
                  </a:lnTo>
                  <a:lnTo>
                    <a:pt x="1691" y="1654"/>
                  </a:lnTo>
                  <a:lnTo>
                    <a:pt x="1696" y="1652"/>
                  </a:lnTo>
                  <a:lnTo>
                    <a:pt x="1701" y="1650"/>
                  </a:lnTo>
                  <a:lnTo>
                    <a:pt x="1704" y="1647"/>
                  </a:lnTo>
                  <a:lnTo>
                    <a:pt x="1708" y="1642"/>
                  </a:lnTo>
                  <a:lnTo>
                    <a:pt x="1712" y="1638"/>
                  </a:lnTo>
                  <a:lnTo>
                    <a:pt x="1717" y="1634"/>
                  </a:lnTo>
                  <a:lnTo>
                    <a:pt x="1725" y="1629"/>
                  </a:lnTo>
                  <a:lnTo>
                    <a:pt x="1735" y="1624"/>
                  </a:lnTo>
                  <a:lnTo>
                    <a:pt x="1754" y="1613"/>
                  </a:lnTo>
                  <a:lnTo>
                    <a:pt x="1770" y="1606"/>
                  </a:lnTo>
                  <a:lnTo>
                    <a:pt x="1781" y="1600"/>
                  </a:lnTo>
                  <a:lnTo>
                    <a:pt x="1791" y="1594"/>
                  </a:lnTo>
                  <a:lnTo>
                    <a:pt x="1801" y="1590"/>
                  </a:lnTo>
                  <a:lnTo>
                    <a:pt x="1814" y="1586"/>
                  </a:lnTo>
                  <a:lnTo>
                    <a:pt x="1818" y="1584"/>
                  </a:lnTo>
                  <a:lnTo>
                    <a:pt x="1822" y="1581"/>
                  </a:lnTo>
                  <a:lnTo>
                    <a:pt x="1823" y="1579"/>
                  </a:lnTo>
                  <a:lnTo>
                    <a:pt x="1823" y="1576"/>
                  </a:lnTo>
                  <a:lnTo>
                    <a:pt x="1823" y="1574"/>
                  </a:lnTo>
                  <a:lnTo>
                    <a:pt x="1822" y="1572"/>
                  </a:lnTo>
                  <a:lnTo>
                    <a:pt x="1817" y="1560"/>
                  </a:lnTo>
                  <a:lnTo>
                    <a:pt x="1811" y="1545"/>
                  </a:lnTo>
                  <a:lnTo>
                    <a:pt x="1808" y="1539"/>
                  </a:lnTo>
                  <a:lnTo>
                    <a:pt x="1804" y="1535"/>
                  </a:lnTo>
                  <a:lnTo>
                    <a:pt x="1803" y="1534"/>
                  </a:lnTo>
                  <a:lnTo>
                    <a:pt x="1801" y="1532"/>
                  </a:lnTo>
                  <a:lnTo>
                    <a:pt x="1799" y="1534"/>
                  </a:lnTo>
                  <a:lnTo>
                    <a:pt x="1798" y="1535"/>
                  </a:lnTo>
                  <a:lnTo>
                    <a:pt x="1790" y="1543"/>
                  </a:lnTo>
                  <a:lnTo>
                    <a:pt x="1779" y="1554"/>
                  </a:lnTo>
                  <a:lnTo>
                    <a:pt x="1771" y="1563"/>
                  </a:lnTo>
                  <a:lnTo>
                    <a:pt x="1768" y="1567"/>
                  </a:lnTo>
                  <a:lnTo>
                    <a:pt x="1754" y="1561"/>
                  </a:lnTo>
                  <a:lnTo>
                    <a:pt x="1744" y="1556"/>
                  </a:lnTo>
                  <a:lnTo>
                    <a:pt x="1734" y="1551"/>
                  </a:lnTo>
                  <a:lnTo>
                    <a:pt x="1720" y="1544"/>
                  </a:lnTo>
                  <a:lnTo>
                    <a:pt x="1717" y="1546"/>
                  </a:lnTo>
                  <a:lnTo>
                    <a:pt x="1712" y="1550"/>
                  </a:lnTo>
                  <a:lnTo>
                    <a:pt x="1710" y="1551"/>
                  </a:lnTo>
                  <a:lnTo>
                    <a:pt x="1708" y="1551"/>
                  </a:lnTo>
                  <a:lnTo>
                    <a:pt x="1706" y="1548"/>
                  </a:lnTo>
                  <a:lnTo>
                    <a:pt x="1706" y="1543"/>
                  </a:lnTo>
                  <a:lnTo>
                    <a:pt x="1706" y="1537"/>
                  </a:lnTo>
                  <a:lnTo>
                    <a:pt x="1707" y="1531"/>
                  </a:lnTo>
                  <a:lnTo>
                    <a:pt x="1709" y="1526"/>
                  </a:lnTo>
                  <a:lnTo>
                    <a:pt x="1711" y="1522"/>
                  </a:lnTo>
                  <a:lnTo>
                    <a:pt x="1714" y="1517"/>
                  </a:lnTo>
                  <a:lnTo>
                    <a:pt x="1715" y="1515"/>
                  </a:lnTo>
                  <a:lnTo>
                    <a:pt x="1717" y="1517"/>
                  </a:lnTo>
                  <a:lnTo>
                    <a:pt x="1723" y="1520"/>
                  </a:lnTo>
                  <a:lnTo>
                    <a:pt x="1725" y="1521"/>
                  </a:lnTo>
                  <a:lnTo>
                    <a:pt x="1727" y="1520"/>
                  </a:lnTo>
                  <a:lnTo>
                    <a:pt x="1729" y="1518"/>
                  </a:lnTo>
                  <a:lnTo>
                    <a:pt x="1730" y="1514"/>
                  </a:lnTo>
                  <a:lnTo>
                    <a:pt x="1730" y="1501"/>
                  </a:lnTo>
                  <a:lnTo>
                    <a:pt x="1730" y="1492"/>
                  </a:lnTo>
                  <a:lnTo>
                    <a:pt x="1731" y="1483"/>
                  </a:lnTo>
                  <a:lnTo>
                    <a:pt x="1732" y="1477"/>
                  </a:lnTo>
                  <a:lnTo>
                    <a:pt x="1731" y="1476"/>
                  </a:lnTo>
                  <a:lnTo>
                    <a:pt x="1729" y="1475"/>
                  </a:lnTo>
                  <a:lnTo>
                    <a:pt x="1726" y="1475"/>
                  </a:lnTo>
                  <a:lnTo>
                    <a:pt x="1722" y="1474"/>
                  </a:lnTo>
                  <a:lnTo>
                    <a:pt x="1710" y="1474"/>
                  </a:lnTo>
                  <a:lnTo>
                    <a:pt x="1696" y="1473"/>
                  </a:lnTo>
                  <a:lnTo>
                    <a:pt x="1684" y="1472"/>
                  </a:lnTo>
                  <a:lnTo>
                    <a:pt x="1672" y="1471"/>
                  </a:lnTo>
                  <a:lnTo>
                    <a:pt x="1668" y="1470"/>
                  </a:lnTo>
                  <a:lnTo>
                    <a:pt x="1665" y="1468"/>
                  </a:lnTo>
                  <a:lnTo>
                    <a:pt x="1663" y="1466"/>
                  </a:lnTo>
                  <a:lnTo>
                    <a:pt x="1663" y="1464"/>
                  </a:lnTo>
                  <a:lnTo>
                    <a:pt x="1664" y="1462"/>
                  </a:lnTo>
                  <a:lnTo>
                    <a:pt x="1666" y="1460"/>
                  </a:lnTo>
                  <a:lnTo>
                    <a:pt x="1670" y="1458"/>
                  </a:lnTo>
                  <a:lnTo>
                    <a:pt x="1674" y="1456"/>
                  </a:lnTo>
                  <a:lnTo>
                    <a:pt x="1685" y="1453"/>
                  </a:lnTo>
                  <a:lnTo>
                    <a:pt x="1696" y="1451"/>
                  </a:lnTo>
                  <a:lnTo>
                    <a:pt x="1708" y="1449"/>
                  </a:lnTo>
                  <a:lnTo>
                    <a:pt x="1719" y="1448"/>
                  </a:lnTo>
                  <a:lnTo>
                    <a:pt x="1723" y="1448"/>
                  </a:lnTo>
                  <a:lnTo>
                    <a:pt x="1726" y="1448"/>
                  </a:lnTo>
                  <a:lnTo>
                    <a:pt x="1729" y="1449"/>
                  </a:lnTo>
                  <a:lnTo>
                    <a:pt x="1730" y="1450"/>
                  </a:lnTo>
                  <a:lnTo>
                    <a:pt x="1732" y="1455"/>
                  </a:lnTo>
                  <a:lnTo>
                    <a:pt x="1736" y="1459"/>
                  </a:lnTo>
                  <a:lnTo>
                    <a:pt x="1742" y="1465"/>
                  </a:lnTo>
                  <a:lnTo>
                    <a:pt x="1748" y="1471"/>
                  </a:lnTo>
                  <a:lnTo>
                    <a:pt x="1752" y="1474"/>
                  </a:lnTo>
                  <a:lnTo>
                    <a:pt x="1757" y="1477"/>
                  </a:lnTo>
                  <a:lnTo>
                    <a:pt x="1763" y="1480"/>
                  </a:lnTo>
                  <a:lnTo>
                    <a:pt x="1768" y="1482"/>
                  </a:lnTo>
                  <a:lnTo>
                    <a:pt x="1773" y="1482"/>
                  </a:lnTo>
                  <a:lnTo>
                    <a:pt x="1776" y="1482"/>
                  </a:lnTo>
                  <a:lnTo>
                    <a:pt x="1777" y="1481"/>
                  </a:lnTo>
                  <a:lnTo>
                    <a:pt x="1778" y="1480"/>
                  </a:lnTo>
                  <a:lnTo>
                    <a:pt x="1778" y="1479"/>
                  </a:lnTo>
                  <a:lnTo>
                    <a:pt x="1778" y="1477"/>
                  </a:lnTo>
                  <a:lnTo>
                    <a:pt x="1774" y="1472"/>
                  </a:lnTo>
                  <a:lnTo>
                    <a:pt x="1769" y="1465"/>
                  </a:lnTo>
                  <a:lnTo>
                    <a:pt x="1763" y="1459"/>
                  </a:lnTo>
                  <a:lnTo>
                    <a:pt x="1756" y="1453"/>
                  </a:lnTo>
                  <a:lnTo>
                    <a:pt x="1751" y="1448"/>
                  </a:lnTo>
                  <a:lnTo>
                    <a:pt x="1747" y="1443"/>
                  </a:lnTo>
                  <a:lnTo>
                    <a:pt x="1747" y="1442"/>
                  </a:lnTo>
                  <a:lnTo>
                    <a:pt x="1747" y="1441"/>
                  </a:lnTo>
                  <a:lnTo>
                    <a:pt x="1748" y="1441"/>
                  </a:lnTo>
                  <a:lnTo>
                    <a:pt x="1750" y="1441"/>
                  </a:lnTo>
                  <a:lnTo>
                    <a:pt x="1764" y="1446"/>
                  </a:lnTo>
                  <a:lnTo>
                    <a:pt x="1778" y="1450"/>
                  </a:lnTo>
                  <a:lnTo>
                    <a:pt x="1786" y="1451"/>
                  </a:lnTo>
                  <a:lnTo>
                    <a:pt x="1792" y="1452"/>
                  </a:lnTo>
                  <a:lnTo>
                    <a:pt x="1797" y="1451"/>
                  </a:lnTo>
                  <a:lnTo>
                    <a:pt x="1802" y="1449"/>
                  </a:lnTo>
                  <a:lnTo>
                    <a:pt x="1816" y="1436"/>
                  </a:lnTo>
                  <a:lnTo>
                    <a:pt x="1835" y="1417"/>
                  </a:lnTo>
                  <a:lnTo>
                    <a:pt x="1845" y="1410"/>
                  </a:lnTo>
                  <a:lnTo>
                    <a:pt x="1854" y="1404"/>
                  </a:lnTo>
                  <a:lnTo>
                    <a:pt x="1857" y="1403"/>
                  </a:lnTo>
                  <a:lnTo>
                    <a:pt x="1860" y="1402"/>
                  </a:lnTo>
                  <a:lnTo>
                    <a:pt x="1862" y="1403"/>
                  </a:lnTo>
                  <a:lnTo>
                    <a:pt x="1863" y="1405"/>
                  </a:lnTo>
                  <a:lnTo>
                    <a:pt x="1863" y="1408"/>
                  </a:lnTo>
                  <a:lnTo>
                    <a:pt x="1863" y="1413"/>
                  </a:lnTo>
                  <a:lnTo>
                    <a:pt x="1861" y="1419"/>
                  </a:lnTo>
                  <a:lnTo>
                    <a:pt x="1859" y="1427"/>
                  </a:lnTo>
                  <a:lnTo>
                    <a:pt x="1853" y="1443"/>
                  </a:lnTo>
                  <a:lnTo>
                    <a:pt x="1845" y="1461"/>
                  </a:lnTo>
                  <a:lnTo>
                    <a:pt x="1838" y="1479"/>
                  </a:lnTo>
                  <a:lnTo>
                    <a:pt x="1832" y="1495"/>
                  </a:lnTo>
                  <a:lnTo>
                    <a:pt x="1830" y="1501"/>
                  </a:lnTo>
                  <a:lnTo>
                    <a:pt x="1829" y="1506"/>
                  </a:lnTo>
                  <a:lnTo>
                    <a:pt x="1829" y="1510"/>
                  </a:lnTo>
                  <a:lnTo>
                    <a:pt x="1830" y="1514"/>
                  </a:lnTo>
                  <a:lnTo>
                    <a:pt x="1835" y="1516"/>
                  </a:lnTo>
                  <a:lnTo>
                    <a:pt x="1844" y="1519"/>
                  </a:lnTo>
                  <a:lnTo>
                    <a:pt x="1856" y="1521"/>
                  </a:lnTo>
                  <a:lnTo>
                    <a:pt x="1869" y="1524"/>
                  </a:lnTo>
                  <a:lnTo>
                    <a:pt x="1882" y="1526"/>
                  </a:lnTo>
                  <a:lnTo>
                    <a:pt x="1892" y="1528"/>
                  </a:lnTo>
                  <a:lnTo>
                    <a:pt x="1897" y="1529"/>
                  </a:lnTo>
                  <a:lnTo>
                    <a:pt x="1900" y="1530"/>
                  </a:lnTo>
                  <a:lnTo>
                    <a:pt x="1901" y="1531"/>
                  </a:lnTo>
                  <a:lnTo>
                    <a:pt x="1902" y="1532"/>
                  </a:lnTo>
                  <a:lnTo>
                    <a:pt x="1893" y="1536"/>
                  </a:lnTo>
                  <a:lnTo>
                    <a:pt x="1882" y="1539"/>
                  </a:lnTo>
                  <a:lnTo>
                    <a:pt x="1878" y="1541"/>
                  </a:lnTo>
                  <a:lnTo>
                    <a:pt x="1875" y="1543"/>
                  </a:lnTo>
                  <a:lnTo>
                    <a:pt x="1875" y="1545"/>
                  </a:lnTo>
                  <a:lnTo>
                    <a:pt x="1875" y="1547"/>
                  </a:lnTo>
                  <a:lnTo>
                    <a:pt x="1877" y="1549"/>
                  </a:lnTo>
                  <a:lnTo>
                    <a:pt x="1880" y="1552"/>
                  </a:lnTo>
                  <a:lnTo>
                    <a:pt x="1892" y="1562"/>
                  </a:lnTo>
                  <a:lnTo>
                    <a:pt x="1902" y="1567"/>
                  </a:lnTo>
                  <a:lnTo>
                    <a:pt x="1906" y="1568"/>
                  </a:lnTo>
                  <a:lnTo>
                    <a:pt x="1910" y="1567"/>
                  </a:lnTo>
                  <a:lnTo>
                    <a:pt x="1913" y="1565"/>
                  </a:lnTo>
                  <a:lnTo>
                    <a:pt x="1917" y="1561"/>
                  </a:lnTo>
                  <a:lnTo>
                    <a:pt x="1922" y="1551"/>
                  </a:lnTo>
                  <a:lnTo>
                    <a:pt x="1927" y="1543"/>
                  </a:lnTo>
                  <a:lnTo>
                    <a:pt x="1929" y="1541"/>
                  </a:lnTo>
                  <a:lnTo>
                    <a:pt x="1931" y="1539"/>
                  </a:lnTo>
                  <a:lnTo>
                    <a:pt x="1933" y="1539"/>
                  </a:lnTo>
                  <a:lnTo>
                    <a:pt x="1934" y="1541"/>
                  </a:lnTo>
                  <a:lnTo>
                    <a:pt x="1945" y="1549"/>
                  </a:lnTo>
                  <a:lnTo>
                    <a:pt x="1952" y="1553"/>
                  </a:lnTo>
                  <a:lnTo>
                    <a:pt x="1954" y="1553"/>
                  </a:lnTo>
                  <a:lnTo>
                    <a:pt x="1958" y="1552"/>
                  </a:lnTo>
                  <a:lnTo>
                    <a:pt x="1962" y="1550"/>
                  </a:lnTo>
                  <a:lnTo>
                    <a:pt x="1965" y="1549"/>
                  </a:lnTo>
                  <a:lnTo>
                    <a:pt x="1967" y="1546"/>
                  </a:lnTo>
                  <a:lnTo>
                    <a:pt x="1970" y="1543"/>
                  </a:lnTo>
                  <a:lnTo>
                    <a:pt x="1973" y="1536"/>
                  </a:lnTo>
                  <a:lnTo>
                    <a:pt x="1976" y="1527"/>
                  </a:lnTo>
                  <a:lnTo>
                    <a:pt x="1976" y="1522"/>
                  </a:lnTo>
                  <a:lnTo>
                    <a:pt x="1976" y="1517"/>
                  </a:lnTo>
                  <a:lnTo>
                    <a:pt x="1975" y="1512"/>
                  </a:lnTo>
                  <a:lnTo>
                    <a:pt x="1974" y="1504"/>
                  </a:lnTo>
                  <a:lnTo>
                    <a:pt x="1972" y="1501"/>
                  </a:lnTo>
                  <a:lnTo>
                    <a:pt x="1970" y="1497"/>
                  </a:lnTo>
                  <a:lnTo>
                    <a:pt x="1967" y="1494"/>
                  </a:lnTo>
                  <a:lnTo>
                    <a:pt x="1964" y="1490"/>
                  </a:lnTo>
                  <a:lnTo>
                    <a:pt x="1955" y="1482"/>
                  </a:lnTo>
                  <a:lnTo>
                    <a:pt x="1945" y="1475"/>
                  </a:lnTo>
                  <a:lnTo>
                    <a:pt x="1925" y="1462"/>
                  </a:lnTo>
                  <a:lnTo>
                    <a:pt x="1909" y="1455"/>
                  </a:lnTo>
                  <a:lnTo>
                    <a:pt x="1904" y="1452"/>
                  </a:lnTo>
                  <a:lnTo>
                    <a:pt x="1900" y="1449"/>
                  </a:lnTo>
                  <a:lnTo>
                    <a:pt x="1896" y="1446"/>
                  </a:lnTo>
                  <a:lnTo>
                    <a:pt x="1892" y="1442"/>
                  </a:lnTo>
                  <a:lnTo>
                    <a:pt x="1891" y="1439"/>
                  </a:lnTo>
                  <a:lnTo>
                    <a:pt x="1890" y="1436"/>
                  </a:lnTo>
                  <a:lnTo>
                    <a:pt x="1890" y="1433"/>
                  </a:lnTo>
                  <a:lnTo>
                    <a:pt x="1891" y="1430"/>
                  </a:lnTo>
                  <a:lnTo>
                    <a:pt x="1897" y="1424"/>
                  </a:lnTo>
                  <a:lnTo>
                    <a:pt x="1903" y="1415"/>
                  </a:lnTo>
                  <a:lnTo>
                    <a:pt x="1908" y="1407"/>
                  </a:lnTo>
                  <a:lnTo>
                    <a:pt x="1911" y="1400"/>
                  </a:lnTo>
                  <a:lnTo>
                    <a:pt x="1910" y="1393"/>
                  </a:lnTo>
                  <a:lnTo>
                    <a:pt x="1905" y="1382"/>
                  </a:lnTo>
                  <a:lnTo>
                    <a:pt x="1901" y="1370"/>
                  </a:lnTo>
                  <a:lnTo>
                    <a:pt x="1898" y="1364"/>
                  </a:lnTo>
                  <a:lnTo>
                    <a:pt x="1901" y="1359"/>
                  </a:lnTo>
                  <a:lnTo>
                    <a:pt x="1906" y="1348"/>
                  </a:lnTo>
                  <a:lnTo>
                    <a:pt x="1908" y="1342"/>
                  </a:lnTo>
                  <a:lnTo>
                    <a:pt x="1908" y="1335"/>
                  </a:lnTo>
                  <a:lnTo>
                    <a:pt x="1908" y="1332"/>
                  </a:lnTo>
                  <a:lnTo>
                    <a:pt x="1907" y="1329"/>
                  </a:lnTo>
                  <a:lnTo>
                    <a:pt x="1905" y="1326"/>
                  </a:lnTo>
                  <a:lnTo>
                    <a:pt x="1903" y="1324"/>
                  </a:lnTo>
                  <a:lnTo>
                    <a:pt x="1891" y="1315"/>
                  </a:lnTo>
                  <a:lnTo>
                    <a:pt x="1880" y="1305"/>
                  </a:lnTo>
                  <a:lnTo>
                    <a:pt x="1874" y="1302"/>
                  </a:lnTo>
                  <a:lnTo>
                    <a:pt x="1868" y="1299"/>
                  </a:lnTo>
                  <a:lnTo>
                    <a:pt x="1863" y="1299"/>
                  </a:lnTo>
                  <a:lnTo>
                    <a:pt x="1858" y="1300"/>
                  </a:lnTo>
                  <a:lnTo>
                    <a:pt x="1844" y="1308"/>
                  </a:lnTo>
                  <a:lnTo>
                    <a:pt x="1824" y="1320"/>
                  </a:lnTo>
                  <a:lnTo>
                    <a:pt x="1816" y="1324"/>
                  </a:lnTo>
                  <a:lnTo>
                    <a:pt x="1810" y="1327"/>
                  </a:lnTo>
                  <a:lnTo>
                    <a:pt x="1808" y="1328"/>
                  </a:lnTo>
                  <a:lnTo>
                    <a:pt x="1807" y="1327"/>
                  </a:lnTo>
                  <a:lnTo>
                    <a:pt x="1808" y="1327"/>
                  </a:lnTo>
                  <a:lnTo>
                    <a:pt x="1809" y="1325"/>
                  </a:lnTo>
                  <a:lnTo>
                    <a:pt x="1823" y="1316"/>
                  </a:lnTo>
                  <a:lnTo>
                    <a:pt x="1841" y="1305"/>
                  </a:lnTo>
                  <a:lnTo>
                    <a:pt x="1849" y="1300"/>
                  </a:lnTo>
                  <a:lnTo>
                    <a:pt x="1854" y="1295"/>
                  </a:lnTo>
                  <a:lnTo>
                    <a:pt x="1856" y="1291"/>
                  </a:lnTo>
                  <a:lnTo>
                    <a:pt x="1856" y="1288"/>
                  </a:lnTo>
                  <a:lnTo>
                    <a:pt x="1855" y="1285"/>
                  </a:lnTo>
                  <a:lnTo>
                    <a:pt x="1853" y="1282"/>
                  </a:lnTo>
                  <a:lnTo>
                    <a:pt x="1846" y="1276"/>
                  </a:lnTo>
                  <a:lnTo>
                    <a:pt x="1839" y="1272"/>
                  </a:lnTo>
                  <a:lnTo>
                    <a:pt x="1833" y="1268"/>
                  </a:lnTo>
                  <a:lnTo>
                    <a:pt x="1826" y="1265"/>
                  </a:lnTo>
                  <a:lnTo>
                    <a:pt x="1820" y="1263"/>
                  </a:lnTo>
                  <a:lnTo>
                    <a:pt x="1814" y="1260"/>
                  </a:lnTo>
                  <a:lnTo>
                    <a:pt x="1810" y="1257"/>
                  </a:lnTo>
                  <a:lnTo>
                    <a:pt x="1807" y="1253"/>
                  </a:lnTo>
                  <a:lnTo>
                    <a:pt x="1798" y="1239"/>
                  </a:lnTo>
                  <a:lnTo>
                    <a:pt x="1787" y="1222"/>
                  </a:lnTo>
                  <a:lnTo>
                    <a:pt x="1776" y="1208"/>
                  </a:lnTo>
                  <a:lnTo>
                    <a:pt x="1771" y="1201"/>
                  </a:lnTo>
                  <a:lnTo>
                    <a:pt x="1773" y="1199"/>
                  </a:lnTo>
                  <a:lnTo>
                    <a:pt x="1776" y="1193"/>
                  </a:lnTo>
                  <a:lnTo>
                    <a:pt x="1777" y="1190"/>
                  </a:lnTo>
                  <a:lnTo>
                    <a:pt x="1778" y="1186"/>
                  </a:lnTo>
                  <a:lnTo>
                    <a:pt x="1778" y="1181"/>
                  </a:lnTo>
                  <a:lnTo>
                    <a:pt x="1776" y="1178"/>
                  </a:lnTo>
                  <a:lnTo>
                    <a:pt x="1768" y="1163"/>
                  </a:lnTo>
                  <a:lnTo>
                    <a:pt x="1756" y="1137"/>
                  </a:lnTo>
                  <a:lnTo>
                    <a:pt x="1746" y="1113"/>
                  </a:lnTo>
                  <a:lnTo>
                    <a:pt x="1741" y="1103"/>
                  </a:lnTo>
                  <a:lnTo>
                    <a:pt x="1736" y="1095"/>
                  </a:lnTo>
                  <a:lnTo>
                    <a:pt x="1727" y="1077"/>
                  </a:lnTo>
                  <a:lnTo>
                    <a:pt x="1721" y="1068"/>
                  </a:lnTo>
                  <a:lnTo>
                    <a:pt x="1715" y="1062"/>
                  </a:lnTo>
                  <a:lnTo>
                    <a:pt x="1713" y="1061"/>
                  </a:lnTo>
                  <a:lnTo>
                    <a:pt x="1711" y="1061"/>
                  </a:lnTo>
                  <a:lnTo>
                    <a:pt x="1709" y="1061"/>
                  </a:lnTo>
                  <a:lnTo>
                    <a:pt x="1708" y="1064"/>
                  </a:lnTo>
                  <a:lnTo>
                    <a:pt x="1705" y="1073"/>
                  </a:lnTo>
                  <a:lnTo>
                    <a:pt x="1699" y="1085"/>
                  </a:lnTo>
                  <a:lnTo>
                    <a:pt x="1690" y="1100"/>
                  </a:lnTo>
                  <a:lnTo>
                    <a:pt x="1682" y="1115"/>
                  </a:lnTo>
                  <a:lnTo>
                    <a:pt x="1671" y="1129"/>
                  </a:lnTo>
                  <a:lnTo>
                    <a:pt x="1662" y="1140"/>
                  </a:lnTo>
                  <a:lnTo>
                    <a:pt x="1658" y="1143"/>
                  </a:lnTo>
                  <a:lnTo>
                    <a:pt x="1654" y="1146"/>
                  </a:lnTo>
                  <a:lnTo>
                    <a:pt x="1649" y="1146"/>
                  </a:lnTo>
                  <a:lnTo>
                    <a:pt x="1646" y="1145"/>
                  </a:lnTo>
                  <a:lnTo>
                    <a:pt x="1639" y="1141"/>
                  </a:lnTo>
                  <a:lnTo>
                    <a:pt x="1633" y="1135"/>
                  </a:lnTo>
                  <a:lnTo>
                    <a:pt x="1627" y="1130"/>
                  </a:lnTo>
                  <a:lnTo>
                    <a:pt x="1622" y="1125"/>
                  </a:lnTo>
                  <a:lnTo>
                    <a:pt x="1617" y="1120"/>
                  </a:lnTo>
                  <a:lnTo>
                    <a:pt x="1614" y="1114"/>
                  </a:lnTo>
                  <a:lnTo>
                    <a:pt x="1613" y="1110"/>
                  </a:lnTo>
                  <a:lnTo>
                    <a:pt x="1612" y="1106"/>
                  </a:lnTo>
                  <a:lnTo>
                    <a:pt x="1614" y="1093"/>
                  </a:lnTo>
                  <a:lnTo>
                    <a:pt x="1614" y="1075"/>
                  </a:lnTo>
                  <a:lnTo>
                    <a:pt x="1614" y="1065"/>
                  </a:lnTo>
                  <a:lnTo>
                    <a:pt x="1613" y="1057"/>
                  </a:lnTo>
                  <a:lnTo>
                    <a:pt x="1611" y="1051"/>
                  </a:lnTo>
                  <a:lnTo>
                    <a:pt x="1607" y="1046"/>
                  </a:lnTo>
                  <a:lnTo>
                    <a:pt x="1595" y="1040"/>
                  </a:lnTo>
                  <a:lnTo>
                    <a:pt x="1577" y="1034"/>
                  </a:lnTo>
                  <a:lnTo>
                    <a:pt x="1569" y="1031"/>
                  </a:lnTo>
                  <a:lnTo>
                    <a:pt x="1561" y="1026"/>
                  </a:lnTo>
                  <a:lnTo>
                    <a:pt x="1558" y="1024"/>
                  </a:lnTo>
                  <a:lnTo>
                    <a:pt x="1556" y="1022"/>
                  </a:lnTo>
                  <a:lnTo>
                    <a:pt x="1554" y="1020"/>
                  </a:lnTo>
                  <a:lnTo>
                    <a:pt x="1554" y="1018"/>
                  </a:lnTo>
                  <a:lnTo>
                    <a:pt x="1553" y="1013"/>
                  </a:lnTo>
                  <a:lnTo>
                    <a:pt x="1550" y="1008"/>
                  </a:lnTo>
                  <a:lnTo>
                    <a:pt x="1546" y="1000"/>
                  </a:lnTo>
                  <a:lnTo>
                    <a:pt x="1541" y="994"/>
                  </a:lnTo>
                  <a:lnTo>
                    <a:pt x="1533" y="983"/>
                  </a:lnTo>
                  <a:lnTo>
                    <a:pt x="1526" y="977"/>
                  </a:lnTo>
                  <a:lnTo>
                    <a:pt x="1519" y="974"/>
                  </a:lnTo>
                  <a:lnTo>
                    <a:pt x="1509" y="972"/>
                  </a:lnTo>
                  <a:lnTo>
                    <a:pt x="1504" y="971"/>
                  </a:lnTo>
                  <a:lnTo>
                    <a:pt x="1500" y="971"/>
                  </a:lnTo>
                  <a:lnTo>
                    <a:pt x="1497" y="972"/>
                  </a:lnTo>
                  <a:lnTo>
                    <a:pt x="1496" y="973"/>
                  </a:lnTo>
                  <a:lnTo>
                    <a:pt x="1496" y="978"/>
                  </a:lnTo>
                  <a:lnTo>
                    <a:pt x="1496" y="982"/>
                  </a:lnTo>
                  <a:lnTo>
                    <a:pt x="1495" y="985"/>
                  </a:lnTo>
                  <a:lnTo>
                    <a:pt x="1494" y="986"/>
                  </a:lnTo>
                  <a:lnTo>
                    <a:pt x="1493" y="986"/>
                  </a:lnTo>
                  <a:lnTo>
                    <a:pt x="1490" y="985"/>
                  </a:lnTo>
                  <a:lnTo>
                    <a:pt x="1483" y="981"/>
                  </a:lnTo>
                  <a:lnTo>
                    <a:pt x="1475" y="978"/>
                  </a:lnTo>
                  <a:lnTo>
                    <a:pt x="1469" y="976"/>
                  </a:lnTo>
                  <a:lnTo>
                    <a:pt x="1464" y="976"/>
                  </a:lnTo>
                  <a:lnTo>
                    <a:pt x="1457" y="976"/>
                  </a:lnTo>
                  <a:lnTo>
                    <a:pt x="1447" y="976"/>
                  </a:lnTo>
                  <a:lnTo>
                    <a:pt x="1442" y="977"/>
                  </a:lnTo>
                  <a:lnTo>
                    <a:pt x="1437" y="978"/>
                  </a:lnTo>
                  <a:lnTo>
                    <a:pt x="1432" y="981"/>
                  </a:lnTo>
                  <a:lnTo>
                    <a:pt x="1430" y="986"/>
                  </a:lnTo>
                  <a:lnTo>
                    <a:pt x="1429" y="992"/>
                  </a:lnTo>
                  <a:lnTo>
                    <a:pt x="1429" y="998"/>
                  </a:lnTo>
                  <a:lnTo>
                    <a:pt x="1429" y="1007"/>
                  </a:lnTo>
                  <a:lnTo>
                    <a:pt x="1430" y="1015"/>
                  </a:lnTo>
                  <a:lnTo>
                    <a:pt x="1430" y="1023"/>
                  </a:lnTo>
                  <a:lnTo>
                    <a:pt x="1430" y="1032"/>
                  </a:lnTo>
                  <a:lnTo>
                    <a:pt x="1429" y="1038"/>
                  </a:lnTo>
                  <a:lnTo>
                    <a:pt x="1427" y="1042"/>
                  </a:lnTo>
                  <a:lnTo>
                    <a:pt x="1423" y="1048"/>
                  </a:lnTo>
                  <a:lnTo>
                    <a:pt x="1421" y="1054"/>
                  </a:lnTo>
                  <a:lnTo>
                    <a:pt x="1422" y="1058"/>
                  </a:lnTo>
                  <a:lnTo>
                    <a:pt x="1426" y="1064"/>
                  </a:lnTo>
                  <a:lnTo>
                    <a:pt x="1429" y="1071"/>
                  </a:lnTo>
                  <a:lnTo>
                    <a:pt x="1431" y="1078"/>
                  </a:lnTo>
                  <a:lnTo>
                    <a:pt x="1432" y="1081"/>
                  </a:lnTo>
                  <a:lnTo>
                    <a:pt x="1432" y="1084"/>
                  </a:lnTo>
                  <a:lnTo>
                    <a:pt x="1431" y="1087"/>
                  </a:lnTo>
                  <a:lnTo>
                    <a:pt x="1430" y="1091"/>
                  </a:lnTo>
                  <a:lnTo>
                    <a:pt x="1422" y="1097"/>
                  </a:lnTo>
                  <a:lnTo>
                    <a:pt x="1412" y="1102"/>
                  </a:lnTo>
                  <a:lnTo>
                    <a:pt x="1409" y="1104"/>
                  </a:lnTo>
                  <a:lnTo>
                    <a:pt x="1408" y="1107"/>
                  </a:lnTo>
                  <a:lnTo>
                    <a:pt x="1407" y="1109"/>
                  </a:lnTo>
                  <a:lnTo>
                    <a:pt x="1408" y="1113"/>
                  </a:lnTo>
                  <a:lnTo>
                    <a:pt x="1409" y="1117"/>
                  </a:lnTo>
                  <a:lnTo>
                    <a:pt x="1413" y="1122"/>
                  </a:lnTo>
                  <a:lnTo>
                    <a:pt x="1417" y="1127"/>
                  </a:lnTo>
                  <a:lnTo>
                    <a:pt x="1423" y="1133"/>
                  </a:lnTo>
                  <a:lnTo>
                    <a:pt x="1435" y="1147"/>
                  </a:lnTo>
                  <a:lnTo>
                    <a:pt x="1444" y="1158"/>
                  </a:lnTo>
                  <a:lnTo>
                    <a:pt x="1450" y="1168"/>
                  </a:lnTo>
                  <a:lnTo>
                    <a:pt x="1453" y="1177"/>
                  </a:lnTo>
                  <a:lnTo>
                    <a:pt x="1456" y="1187"/>
                  </a:lnTo>
                  <a:lnTo>
                    <a:pt x="1456" y="1195"/>
                  </a:lnTo>
                  <a:lnTo>
                    <a:pt x="1453" y="1203"/>
                  </a:lnTo>
                  <a:lnTo>
                    <a:pt x="1451" y="1212"/>
                  </a:lnTo>
                  <a:lnTo>
                    <a:pt x="1448" y="1221"/>
                  </a:lnTo>
                  <a:lnTo>
                    <a:pt x="1443" y="1231"/>
                  </a:lnTo>
                  <a:lnTo>
                    <a:pt x="1437" y="1240"/>
                  </a:lnTo>
                  <a:lnTo>
                    <a:pt x="1430" y="1250"/>
                  </a:lnTo>
                  <a:lnTo>
                    <a:pt x="1418" y="1264"/>
                  </a:lnTo>
                  <a:lnTo>
                    <a:pt x="1408" y="1273"/>
                  </a:lnTo>
                  <a:lnTo>
                    <a:pt x="1402" y="1277"/>
                  </a:lnTo>
                  <a:lnTo>
                    <a:pt x="1396" y="1281"/>
                  </a:lnTo>
                  <a:lnTo>
                    <a:pt x="1394" y="1283"/>
                  </a:lnTo>
                  <a:lnTo>
                    <a:pt x="1393" y="1286"/>
                  </a:lnTo>
                  <a:lnTo>
                    <a:pt x="1392" y="1288"/>
                  </a:lnTo>
                  <a:lnTo>
                    <a:pt x="1393" y="1291"/>
                  </a:lnTo>
                  <a:lnTo>
                    <a:pt x="1394" y="1300"/>
                  </a:lnTo>
                  <a:lnTo>
                    <a:pt x="1394" y="1311"/>
                  </a:lnTo>
                  <a:lnTo>
                    <a:pt x="1394" y="1323"/>
                  </a:lnTo>
                  <a:lnTo>
                    <a:pt x="1394" y="1330"/>
                  </a:lnTo>
                  <a:lnTo>
                    <a:pt x="1398" y="1344"/>
                  </a:lnTo>
                  <a:lnTo>
                    <a:pt x="1401" y="1361"/>
                  </a:lnTo>
                  <a:lnTo>
                    <a:pt x="1401" y="1371"/>
                  </a:lnTo>
                  <a:lnTo>
                    <a:pt x="1400" y="1386"/>
                  </a:lnTo>
                  <a:lnTo>
                    <a:pt x="1398" y="1392"/>
                  </a:lnTo>
                  <a:lnTo>
                    <a:pt x="1395" y="1397"/>
                  </a:lnTo>
                  <a:lnTo>
                    <a:pt x="1393" y="1399"/>
                  </a:lnTo>
                  <a:lnTo>
                    <a:pt x="1391" y="1400"/>
                  </a:lnTo>
                  <a:lnTo>
                    <a:pt x="1388" y="1400"/>
                  </a:lnTo>
                  <a:lnTo>
                    <a:pt x="1385" y="1400"/>
                  </a:lnTo>
                  <a:lnTo>
                    <a:pt x="1379" y="1398"/>
                  </a:lnTo>
                  <a:lnTo>
                    <a:pt x="1374" y="1396"/>
                  </a:lnTo>
                  <a:lnTo>
                    <a:pt x="1370" y="1392"/>
                  </a:lnTo>
                  <a:lnTo>
                    <a:pt x="1366" y="1388"/>
                  </a:lnTo>
                  <a:lnTo>
                    <a:pt x="1359" y="1378"/>
                  </a:lnTo>
                  <a:lnTo>
                    <a:pt x="1353" y="1369"/>
                  </a:lnTo>
                  <a:lnTo>
                    <a:pt x="1346" y="1362"/>
                  </a:lnTo>
                  <a:lnTo>
                    <a:pt x="1338" y="1356"/>
                  </a:lnTo>
                  <a:lnTo>
                    <a:pt x="1336" y="1353"/>
                  </a:lnTo>
                  <a:lnTo>
                    <a:pt x="1334" y="1351"/>
                  </a:lnTo>
                  <a:lnTo>
                    <a:pt x="1333" y="1349"/>
                  </a:lnTo>
                  <a:lnTo>
                    <a:pt x="1333" y="1346"/>
                  </a:lnTo>
                  <a:lnTo>
                    <a:pt x="1336" y="1342"/>
                  </a:lnTo>
                  <a:lnTo>
                    <a:pt x="1340" y="1339"/>
                  </a:lnTo>
                  <a:lnTo>
                    <a:pt x="1342" y="1338"/>
                  </a:lnTo>
                  <a:lnTo>
                    <a:pt x="1343" y="1335"/>
                  </a:lnTo>
                  <a:lnTo>
                    <a:pt x="1343" y="1334"/>
                  </a:lnTo>
                  <a:lnTo>
                    <a:pt x="1341" y="1332"/>
                  </a:lnTo>
                  <a:lnTo>
                    <a:pt x="1337" y="1327"/>
                  </a:lnTo>
                  <a:lnTo>
                    <a:pt x="1334" y="1324"/>
                  </a:lnTo>
                  <a:lnTo>
                    <a:pt x="1333" y="1322"/>
                  </a:lnTo>
                  <a:lnTo>
                    <a:pt x="1332" y="1319"/>
                  </a:lnTo>
                  <a:lnTo>
                    <a:pt x="1332" y="1316"/>
                  </a:lnTo>
                  <a:lnTo>
                    <a:pt x="1333" y="1312"/>
                  </a:lnTo>
                  <a:lnTo>
                    <a:pt x="1334" y="1308"/>
                  </a:lnTo>
                  <a:lnTo>
                    <a:pt x="1337" y="1306"/>
                  </a:lnTo>
                  <a:lnTo>
                    <a:pt x="1339" y="1304"/>
                  </a:lnTo>
                  <a:lnTo>
                    <a:pt x="1341" y="1303"/>
                  </a:lnTo>
                  <a:lnTo>
                    <a:pt x="1343" y="1301"/>
                  </a:lnTo>
                  <a:lnTo>
                    <a:pt x="1344" y="1299"/>
                  </a:lnTo>
                  <a:lnTo>
                    <a:pt x="1343" y="1295"/>
                  </a:lnTo>
                  <a:lnTo>
                    <a:pt x="1341" y="1289"/>
                  </a:lnTo>
                  <a:lnTo>
                    <a:pt x="1335" y="1278"/>
                  </a:lnTo>
                  <a:lnTo>
                    <a:pt x="1329" y="1268"/>
                  </a:lnTo>
                  <a:lnTo>
                    <a:pt x="1326" y="1264"/>
                  </a:lnTo>
                  <a:lnTo>
                    <a:pt x="1321" y="1261"/>
                  </a:lnTo>
                  <a:lnTo>
                    <a:pt x="1317" y="1259"/>
                  </a:lnTo>
                  <a:lnTo>
                    <a:pt x="1312" y="1259"/>
                  </a:lnTo>
                  <a:lnTo>
                    <a:pt x="1308" y="1258"/>
                  </a:lnTo>
                  <a:lnTo>
                    <a:pt x="1304" y="1255"/>
                  </a:lnTo>
                  <a:lnTo>
                    <a:pt x="1298" y="1250"/>
                  </a:lnTo>
                  <a:lnTo>
                    <a:pt x="1293" y="1242"/>
                  </a:lnTo>
                  <a:lnTo>
                    <a:pt x="1282" y="1223"/>
                  </a:lnTo>
                  <a:lnTo>
                    <a:pt x="1269" y="1202"/>
                  </a:lnTo>
                  <a:lnTo>
                    <a:pt x="1256" y="1181"/>
                  </a:lnTo>
                  <a:lnTo>
                    <a:pt x="1245" y="1162"/>
                  </a:lnTo>
                  <a:lnTo>
                    <a:pt x="1237" y="1147"/>
                  </a:lnTo>
                  <a:lnTo>
                    <a:pt x="1230" y="1139"/>
                  </a:lnTo>
                  <a:lnTo>
                    <a:pt x="1224" y="1135"/>
                  </a:lnTo>
                  <a:lnTo>
                    <a:pt x="1217" y="1131"/>
                  </a:lnTo>
                  <a:lnTo>
                    <a:pt x="1206" y="1128"/>
                  </a:lnTo>
                  <a:lnTo>
                    <a:pt x="1196" y="1126"/>
                  </a:lnTo>
                  <a:lnTo>
                    <a:pt x="1185" y="1125"/>
                  </a:lnTo>
                  <a:lnTo>
                    <a:pt x="1175" y="1125"/>
                  </a:lnTo>
                  <a:lnTo>
                    <a:pt x="1169" y="1125"/>
                  </a:lnTo>
                  <a:lnTo>
                    <a:pt x="1165" y="1126"/>
                  </a:lnTo>
                  <a:lnTo>
                    <a:pt x="1162" y="1127"/>
                  </a:lnTo>
                  <a:lnTo>
                    <a:pt x="1159" y="1129"/>
                  </a:lnTo>
                  <a:lnTo>
                    <a:pt x="1154" y="1134"/>
                  </a:lnTo>
                  <a:lnTo>
                    <a:pt x="1150" y="1143"/>
                  </a:lnTo>
                  <a:lnTo>
                    <a:pt x="1146" y="1151"/>
                  </a:lnTo>
                  <a:lnTo>
                    <a:pt x="1143" y="1158"/>
                  </a:lnTo>
                  <a:lnTo>
                    <a:pt x="1141" y="1167"/>
                  </a:lnTo>
                  <a:lnTo>
                    <a:pt x="1139" y="1172"/>
                  </a:lnTo>
                  <a:lnTo>
                    <a:pt x="1138" y="1173"/>
                  </a:lnTo>
                  <a:lnTo>
                    <a:pt x="1137" y="1174"/>
                  </a:lnTo>
                  <a:lnTo>
                    <a:pt x="1135" y="1174"/>
                  </a:lnTo>
                  <a:lnTo>
                    <a:pt x="1134" y="1173"/>
                  </a:lnTo>
                  <a:lnTo>
                    <a:pt x="1132" y="1172"/>
                  </a:lnTo>
                  <a:lnTo>
                    <a:pt x="1131" y="1173"/>
                  </a:lnTo>
                  <a:lnTo>
                    <a:pt x="1129" y="1174"/>
                  </a:lnTo>
                  <a:lnTo>
                    <a:pt x="1127" y="1177"/>
                  </a:lnTo>
                  <a:lnTo>
                    <a:pt x="1123" y="1186"/>
                  </a:lnTo>
                  <a:lnTo>
                    <a:pt x="1119" y="1196"/>
                  </a:lnTo>
                  <a:lnTo>
                    <a:pt x="1115" y="1206"/>
                  </a:lnTo>
                  <a:lnTo>
                    <a:pt x="1111" y="1215"/>
                  </a:lnTo>
                  <a:lnTo>
                    <a:pt x="1108" y="1218"/>
                  </a:lnTo>
                  <a:lnTo>
                    <a:pt x="1106" y="1220"/>
                  </a:lnTo>
                  <a:lnTo>
                    <a:pt x="1103" y="1221"/>
                  </a:lnTo>
                  <a:lnTo>
                    <a:pt x="1100" y="1220"/>
                  </a:lnTo>
                  <a:lnTo>
                    <a:pt x="1098" y="1219"/>
                  </a:lnTo>
                  <a:lnTo>
                    <a:pt x="1095" y="1215"/>
                  </a:lnTo>
                  <a:lnTo>
                    <a:pt x="1093" y="1211"/>
                  </a:lnTo>
                  <a:lnTo>
                    <a:pt x="1090" y="1206"/>
                  </a:lnTo>
                  <a:lnTo>
                    <a:pt x="1085" y="1192"/>
                  </a:lnTo>
                  <a:lnTo>
                    <a:pt x="1079" y="1176"/>
                  </a:lnTo>
                  <a:lnTo>
                    <a:pt x="1075" y="1161"/>
                  </a:lnTo>
                  <a:lnTo>
                    <a:pt x="1073" y="1145"/>
                  </a:lnTo>
                  <a:lnTo>
                    <a:pt x="1071" y="1131"/>
                  </a:lnTo>
                  <a:lnTo>
                    <a:pt x="1072" y="1120"/>
                  </a:lnTo>
                  <a:lnTo>
                    <a:pt x="1075" y="1101"/>
                  </a:lnTo>
                  <a:lnTo>
                    <a:pt x="1080" y="1079"/>
                  </a:lnTo>
                  <a:lnTo>
                    <a:pt x="1084" y="1068"/>
                  </a:lnTo>
                  <a:lnTo>
                    <a:pt x="1087" y="1058"/>
                  </a:lnTo>
                  <a:lnTo>
                    <a:pt x="1092" y="1048"/>
                  </a:lnTo>
                  <a:lnTo>
                    <a:pt x="1099" y="1040"/>
                  </a:lnTo>
                  <a:lnTo>
                    <a:pt x="1119" y="1019"/>
                  </a:lnTo>
                  <a:lnTo>
                    <a:pt x="1143" y="993"/>
                  </a:lnTo>
                  <a:lnTo>
                    <a:pt x="1165" y="970"/>
                  </a:lnTo>
                  <a:lnTo>
                    <a:pt x="1174" y="960"/>
                  </a:lnTo>
                  <a:lnTo>
                    <a:pt x="1173" y="959"/>
                  </a:lnTo>
                  <a:lnTo>
                    <a:pt x="1173" y="955"/>
                  </a:lnTo>
                  <a:lnTo>
                    <a:pt x="1173" y="952"/>
                  </a:lnTo>
                  <a:lnTo>
                    <a:pt x="1174" y="950"/>
                  </a:lnTo>
                  <a:lnTo>
                    <a:pt x="1175" y="947"/>
                  </a:lnTo>
                  <a:lnTo>
                    <a:pt x="1179" y="944"/>
                  </a:lnTo>
                  <a:lnTo>
                    <a:pt x="1189" y="933"/>
                  </a:lnTo>
                  <a:lnTo>
                    <a:pt x="1197" y="928"/>
                  </a:lnTo>
                  <a:lnTo>
                    <a:pt x="1204" y="925"/>
                  </a:lnTo>
                  <a:lnTo>
                    <a:pt x="1215" y="921"/>
                  </a:lnTo>
                  <a:lnTo>
                    <a:pt x="1220" y="918"/>
                  </a:lnTo>
                  <a:lnTo>
                    <a:pt x="1224" y="915"/>
                  </a:lnTo>
                  <a:lnTo>
                    <a:pt x="1227" y="913"/>
                  </a:lnTo>
                  <a:lnTo>
                    <a:pt x="1229" y="911"/>
                  </a:lnTo>
                  <a:lnTo>
                    <a:pt x="1234" y="903"/>
                  </a:lnTo>
                  <a:lnTo>
                    <a:pt x="1242" y="891"/>
                  </a:lnTo>
                  <a:lnTo>
                    <a:pt x="1245" y="887"/>
                  </a:lnTo>
                  <a:lnTo>
                    <a:pt x="1249" y="884"/>
                  </a:lnTo>
                  <a:lnTo>
                    <a:pt x="1250" y="883"/>
                  </a:lnTo>
                  <a:lnTo>
                    <a:pt x="1252" y="883"/>
                  </a:lnTo>
                  <a:lnTo>
                    <a:pt x="1253" y="884"/>
                  </a:lnTo>
                  <a:lnTo>
                    <a:pt x="1253" y="885"/>
                  </a:lnTo>
                  <a:lnTo>
                    <a:pt x="1254" y="890"/>
                  </a:lnTo>
                  <a:lnTo>
                    <a:pt x="1252" y="896"/>
                  </a:lnTo>
                  <a:lnTo>
                    <a:pt x="1249" y="905"/>
                  </a:lnTo>
                  <a:lnTo>
                    <a:pt x="1245" y="913"/>
                  </a:lnTo>
                  <a:lnTo>
                    <a:pt x="1242" y="922"/>
                  </a:lnTo>
                  <a:lnTo>
                    <a:pt x="1239" y="929"/>
                  </a:lnTo>
                  <a:lnTo>
                    <a:pt x="1238" y="934"/>
                  </a:lnTo>
                  <a:lnTo>
                    <a:pt x="1238" y="937"/>
                  </a:lnTo>
                  <a:lnTo>
                    <a:pt x="1245" y="938"/>
                  </a:lnTo>
                  <a:lnTo>
                    <a:pt x="1255" y="939"/>
                  </a:lnTo>
                  <a:lnTo>
                    <a:pt x="1261" y="940"/>
                  </a:lnTo>
                  <a:lnTo>
                    <a:pt x="1266" y="943"/>
                  </a:lnTo>
                  <a:lnTo>
                    <a:pt x="1270" y="945"/>
                  </a:lnTo>
                  <a:lnTo>
                    <a:pt x="1273" y="949"/>
                  </a:lnTo>
                  <a:lnTo>
                    <a:pt x="1276" y="956"/>
                  </a:lnTo>
                  <a:lnTo>
                    <a:pt x="1278" y="961"/>
                  </a:lnTo>
                  <a:lnTo>
                    <a:pt x="1281" y="961"/>
                  </a:lnTo>
                  <a:lnTo>
                    <a:pt x="1283" y="960"/>
                  </a:lnTo>
                  <a:lnTo>
                    <a:pt x="1286" y="957"/>
                  </a:lnTo>
                  <a:lnTo>
                    <a:pt x="1291" y="953"/>
                  </a:lnTo>
                  <a:lnTo>
                    <a:pt x="1295" y="946"/>
                  </a:lnTo>
                  <a:lnTo>
                    <a:pt x="1299" y="938"/>
                  </a:lnTo>
                  <a:lnTo>
                    <a:pt x="1304" y="930"/>
                  </a:lnTo>
                  <a:lnTo>
                    <a:pt x="1307" y="922"/>
                  </a:lnTo>
                  <a:lnTo>
                    <a:pt x="1309" y="915"/>
                  </a:lnTo>
                  <a:lnTo>
                    <a:pt x="1312" y="911"/>
                  </a:lnTo>
                  <a:lnTo>
                    <a:pt x="1314" y="910"/>
                  </a:lnTo>
                  <a:lnTo>
                    <a:pt x="1316" y="910"/>
                  </a:lnTo>
                  <a:lnTo>
                    <a:pt x="1318" y="911"/>
                  </a:lnTo>
                  <a:lnTo>
                    <a:pt x="1320" y="913"/>
                  </a:lnTo>
                  <a:lnTo>
                    <a:pt x="1327" y="918"/>
                  </a:lnTo>
                  <a:lnTo>
                    <a:pt x="1335" y="923"/>
                  </a:lnTo>
                  <a:lnTo>
                    <a:pt x="1344" y="928"/>
                  </a:lnTo>
                  <a:lnTo>
                    <a:pt x="1355" y="931"/>
                  </a:lnTo>
                  <a:lnTo>
                    <a:pt x="1364" y="933"/>
                  </a:lnTo>
                  <a:lnTo>
                    <a:pt x="1373" y="934"/>
                  </a:lnTo>
                  <a:lnTo>
                    <a:pt x="1376" y="934"/>
                  </a:lnTo>
                  <a:lnTo>
                    <a:pt x="1378" y="934"/>
                  </a:lnTo>
                  <a:lnTo>
                    <a:pt x="1379" y="933"/>
                  </a:lnTo>
                  <a:lnTo>
                    <a:pt x="1380" y="932"/>
                  </a:lnTo>
                  <a:lnTo>
                    <a:pt x="1380" y="930"/>
                  </a:lnTo>
                  <a:lnTo>
                    <a:pt x="1379" y="926"/>
                  </a:lnTo>
                  <a:lnTo>
                    <a:pt x="1378" y="923"/>
                  </a:lnTo>
                  <a:lnTo>
                    <a:pt x="1375" y="917"/>
                  </a:lnTo>
                  <a:lnTo>
                    <a:pt x="1368" y="907"/>
                  </a:lnTo>
                  <a:lnTo>
                    <a:pt x="1355" y="893"/>
                  </a:lnTo>
                  <a:lnTo>
                    <a:pt x="1347" y="886"/>
                  </a:lnTo>
                  <a:lnTo>
                    <a:pt x="1337" y="880"/>
                  </a:lnTo>
                  <a:lnTo>
                    <a:pt x="1327" y="873"/>
                  </a:lnTo>
                  <a:lnTo>
                    <a:pt x="1317" y="869"/>
                  </a:lnTo>
                  <a:lnTo>
                    <a:pt x="1309" y="864"/>
                  </a:lnTo>
                  <a:lnTo>
                    <a:pt x="1303" y="860"/>
                  </a:lnTo>
                  <a:lnTo>
                    <a:pt x="1300" y="858"/>
                  </a:lnTo>
                  <a:lnTo>
                    <a:pt x="1299" y="857"/>
                  </a:lnTo>
                  <a:lnTo>
                    <a:pt x="1299" y="855"/>
                  </a:lnTo>
                  <a:lnTo>
                    <a:pt x="1300" y="852"/>
                  </a:lnTo>
                  <a:lnTo>
                    <a:pt x="1308" y="847"/>
                  </a:lnTo>
                  <a:lnTo>
                    <a:pt x="1317" y="843"/>
                  </a:lnTo>
                  <a:lnTo>
                    <a:pt x="1321" y="841"/>
                  </a:lnTo>
                  <a:lnTo>
                    <a:pt x="1325" y="838"/>
                  </a:lnTo>
                  <a:lnTo>
                    <a:pt x="1328" y="834"/>
                  </a:lnTo>
                  <a:lnTo>
                    <a:pt x="1329" y="828"/>
                  </a:lnTo>
                  <a:lnTo>
                    <a:pt x="1331" y="816"/>
                  </a:lnTo>
                  <a:lnTo>
                    <a:pt x="1334" y="804"/>
                  </a:lnTo>
                  <a:lnTo>
                    <a:pt x="1336" y="799"/>
                  </a:lnTo>
                  <a:lnTo>
                    <a:pt x="1339" y="796"/>
                  </a:lnTo>
                  <a:lnTo>
                    <a:pt x="1342" y="793"/>
                  </a:lnTo>
                  <a:lnTo>
                    <a:pt x="1347" y="791"/>
                  </a:lnTo>
                  <a:lnTo>
                    <a:pt x="1348" y="790"/>
                  </a:lnTo>
                  <a:lnTo>
                    <a:pt x="1350" y="788"/>
                  </a:lnTo>
                  <a:lnTo>
                    <a:pt x="1351" y="784"/>
                  </a:lnTo>
                  <a:lnTo>
                    <a:pt x="1352" y="780"/>
                  </a:lnTo>
                  <a:lnTo>
                    <a:pt x="1352" y="770"/>
                  </a:lnTo>
                  <a:lnTo>
                    <a:pt x="1352" y="759"/>
                  </a:lnTo>
                  <a:lnTo>
                    <a:pt x="1350" y="738"/>
                  </a:lnTo>
                  <a:lnTo>
                    <a:pt x="1349" y="729"/>
                  </a:lnTo>
                  <a:lnTo>
                    <a:pt x="1352" y="723"/>
                  </a:lnTo>
                  <a:lnTo>
                    <a:pt x="1358" y="707"/>
                  </a:lnTo>
                  <a:lnTo>
                    <a:pt x="1360" y="698"/>
                  </a:lnTo>
                  <a:lnTo>
                    <a:pt x="1361" y="690"/>
                  </a:lnTo>
                  <a:lnTo>
                    <a:pt x="1361" y="687"/>
                  </a:lnTo>
                  <a:lnTo>
                    <a:pt x="1360" y="684"/>
                  </a:lnTo>
                  <a:lnTo>
                    <a:pt x="1359" y="682"/>
                  </a:lnTo>
                  <a:lnTo>
                    <a:pt x="1357" y="680"/>
                  </a:lnTo>
                  <a:lnTo>
                    <a:pt x="1342" y="671"/>
                  </a:lnTo>
                  <a:lnTo>
                    <a:pt x="1322" y="662"/>
                  </a:lnTo>
                  <a:lnTo>
                    <a:pt x="1314" y="657"/>
                  </a:lnTo>
                  <a:lnTo>
                    <a:pt x="1307" y="653"/>
                  </a:lnTo>
                  <a:lnTo>
                    <a:pt x="1303" y="650"/>
                  </a:lnTo>
                  <a:lnTo>
                    <a:pt x="1303" y="648"/>
                  </a:lnTo>
                  <a:lnTo>
                    <a:pt x="1316" y="643"/>
                  </a:lnTo>
                  <a:lnTo>
                    <a:pt x="1342" y="634"/>
                  </a:lnTo>
                  <a:lnTo>
                    <a:pt x="1356" y="630"/>
                  </a:lnTo>
                  <a:lnTo>
                    <a:pt x="1369" y="628"/>
                  </a:lnTo>
                  <a:lnTo>
                    <a:pt x="1373" y="628"/>
                  </a:lnTo>
                  <a:lnTo>
                    <a:pt x="1377" y="629"/>
                  </a:lnTo>
                  <a:lnTo>
                    <a:pt x="1379" y="630"/>
                  </a:lnTo>
                  <a:lnTo>
                    <a:pt x="1380" y="634"/>
                  </a:lnTo>
                  <a:lnTo>
                    <a:pt x="1380" y="637"/>
                  </a:lnTo>
                  <a:lnTo>
                    <a:pt x="1381" y="640"/>
                  </a:lnTo>
                  <a:lnTo>
                    <a:pt x="1382" y="642"/>
                  </a:lnTo>
                  <a:lnTo>
                    <a:pt x="1384" y="645"/>
                  </a:lnTo>
                  <a:lnTo>
                    <a:pt x="1388" y="648"/>
                  </a:lnTo>
                  <a:lnTo>
                    <a:pt x="1393" y="651"/>
                  </a:lnTo>
                  <a:lnTo>
                    <a:pt x="1398" y="652"/>
                  </a:lnTo>
                  <a:lnTo>
                    <a:pt x="1402" y="652"/>
                  </a:lnTo>
                  <a:lnTo>
                    <a:pt x="1404" y="651"/>
                  </a:lnTo>
                  <a:lnTo>
                    <a:pt x="1405" y="650"/>
                  </a:lnTo>
                  <a:lnTo>
                    <a:pt x="1406" y="649"/>
                  </a:lnTo>
                  <a:lnTo>
                    <a:pt x="1406" y="646"/>
                  </a:lnTo>
                  <a:lnTo>
                    <a:pt x="1407" y="641"/>
                  </a:lnTo>
                  <a:lnTo>
                    <a:pt x="1409" y="636"/>
                  </a:lnTo>
                  <a:lnTo>
                    <a:pt x="1413" y="629"/>
                  </a:lnTo>
                  <a:lnTo>
                    <a:pt x="1417" y="625"/>
                  </a:lnTo>
                  <a:lnTo>
                    <a:pt x="1420" y="623"/>
                  </a:lnTo>
                  <a:lnTo>
                    <a:pt x="1422" y="622"/>
                  </a:lnTo>
                  <a:lnTo>
                    <a:pt x="1425" y="621"/>
                  </a:lnTo>
                  <a:lnTo>
                    <a:pt x="1427" y="621"/>
                  </a:lnTo>
                  <a:lnTo>
                    <a:pt x="1430" y="621"/>
                  </a:lnTo>
                  <a:lnTo>
                    <a:pt x="1434" y="623"/>
                  </a:lnTo>
                  <a:lnTo>
                    <a:pt x="1437" y="625"/>
                  </a:lnTo>
                  <a:lnTo>
                    <a:pt x="1440" y="628"/>
                  </a:lnTo>
                  <a:lnTo>
                    <a:pt x="1462" y="657"/>
                  </a:lnTo>
                  <a:lnTo>
                    <a:pt x="1493" y="698"/>
                  </a:lnTo>
                  <a:lnTo>
                    <a:pt x="1509" y="720"/>
                  </a:lnTo>
                  <a:lnTo>
                    <a:pt x="1522" y="740"/>
                  </a:lnTo>
                  <a:lnTo>
                    <a:pt x="1527" y="749"/>
                  </a:lnTo>
                  <a:lnTo>
                    <a:pt x="1530" y="756"/>
                  </a:lnTo>
                  <a:lnTo>
                    <a:pt x="1532" y="761"/>
                  </a:lnTo>
                  <a:lnTo>
                    <a:pt x="1532" y="766"/>
                  </a:lnTo>
                  <a:lnTo>
                    <a:pt x="1532" y="771"/>
                  </a:lnTo>
                  <a:lnTo>
                    <a:pt x="1532" y="775"/>
                  </a:lnTo>
                  <a:lnTo>
                    <a:pt x="1533" y="779"/>
                  </a:lnTo>
                  <a:lnTo>
                    <a:pt x="1535" y="782"/>
                  </a:lnTo>
                  <a:lnTo>
                    <a:pt x="1539" y="785"/>
                  </a:lnTo>
                  <a:lnTo>
                    <a:pt x="1541" y="788"/>
                  </a:lnTo>
                  <a:lnTo>
                    <a:pt x="1553" y="788"/>
                  </a:lnTo>
                  <a:lnTo>
                    <a:pt x="1578" y="791"/>
                  </a:lnTo>
                  <a:lnTo>
                    <a:pt x="1591" y="793"/>
                  </a:lnTo>
                  <a:lnTo>
                    <a:pt x="1600" y="795"/>
                  </a:lnTo>
                  <a:lnTo>
                    <a:pt x="1604" y="797"/>
                  </a:lnTo>
                  <a:lnTo>
                    <a:pt x="1606" y="799"/>
                  </a:lnTo>
                  <a:lnTo>
                    <a:pt x="1607" y="800"/>
                  </a:lnTo>
                  <a:lnTo>
                    <a:pt x="1606" y="803"/>
                  </a:lnTo>
                  <a:lnTo>
                    <a:pt x="1599" y="813"/>
                  </a:lnTo>
                  <a:lnTo>
                    <a:pt x="1592" y="821"/>
                  </a:lnTo>
                  <a:lnTo>
                    <a:pt x="1589" y="823"/>
                  </a:lnTo>
                  <a:lnTo>
                    <a:pt x="1585" y="825"/>
                  </a:lnTo>
                  <a:lnTo>
                    <a:pt x="1581" y="824"/>
                  </a:lnTo>
                  <a:lnTo>
                    <a:pt x="1578" y="822"/>
                  </a:lnTo>
                  <a:lnTo>
                    <a:pt x="1571" y="814"/>
                  </a:lnTo>
                  <a:lnTo>
                    <a:pt x="1561" y="804"/>
                  </a:lnTo>
                  <a:lnTo>
                    <a:pt x="1556" y="800"/>
                  </a:lnTo>
                  <a:lnTo>
                    <a:pt x="1550" y="797"/>
                  </a:lnTo>
                  <a:lnTo>
                    <a:pt x="1544" y="794"/>
                  </a:lnTo>
                  <a:lnTo>
                    <a:pt x="1537" y="793"/>
                  </a:lnTo>
                  <a:lnTo>
                    <a:pt x="1532" y="793"/>
                  </a:lnTo>
                  <a:lnTo>
                    <a:pt x="1527" y="793"/>
                  </a:lnTo>
                  <a:lnTo>
                    <a:pt x="1522" y="794"/>
                  </a:lnTo>
                  <a:lnTo>
                    <a:pt x="1518" y="796"/>
                  </a:lnTo>
                  <a:lnTo>
                    <a:pt x="1515" y="798"/>
                  </a:lnTo>
                  <a:lnTo>
                    <a:pt x="1513" y="802"/>
                  </a:lnTo>
                  <a:lnTo>
                    <a:pt x="1511" y="808"/>
                  </a:lnTo>
                  <a:lnTo>
                    <a:pt x="1510" y="816"/>
                  </a:lnTo>
                  <a:lnTo>
                    <a:pt x="1510" y="823"/>
                  </a:lnTo>
                  <a:lnTo>
                    <a:pt x="1512" y="829"/>
                  </a:lnTo>
                  <a:lnTo>
                    <a:pt x="1515" y="835"/>
                  </a:lnTo>
                  <a:lnTo>
                    <a:pt x="1517" y="839"/>
                  </a:lnTo>
                  <a:lnTo>
                    <a:pt x="1519" y="842"/>
                  </a:lnTo>
                  <a:lnTo>
                    <a:pt x="1518" y="843"/>
                  </a:lnTo>
                  <a:lnTo>
                    <a:pt x="1514" y="845"/>
                  </a:lnTo>
                  <a:lnTo>
                    <a:pt x="1507" y="845"/>
                  </a:lnTo>
                  <a:lnTo>
                    <a:pt x="1485" y="843"/>
                  </a:lnTo>
                  <a:lnTo>
                    <a:pt x="1465" y="842"/>
                  </a:lnTo>
                  <a:lnTo>
                    <a:pt x="1461" y="842"/>
                  </a:lnTo>
                  <a:lnTo>
                    <a:pt x="1457" y="842"/>
                  </a:lnTo>
                  <a:lnTo>
                    <a:pt x="1453" y="843"/>
                  </a:lnTo>
                  <a:lnTo>
                    <a:pt x="1449" y="845"/>
                  </a:lnTo>
                  <a:lnTo>
                    <a:pt x="1447" y="847"/>
                  </a:lnTo>
                  <a:lnTo>
                    <a:pt x="1445" y="850"/>
                  </a:lnTo>
                  <a:lnTo>
                    <a:pt x="1443" y="855"/>
                  </a:lnTo>
                  <a:lnTo>
                    <a:pt x="1442" y="860"/>
                  </a:lnTo>
                  <a:lnTo>
                    <a:pt x="1440" y="870"/>
                  </a:lnTo>
                  <a:lnTo>
                    <a:pt x="1436" y="879"/>
                  </a:lnTo>
                  <a:lnTo>
                    <a:pt x="1431" y="887"/>
                  </a:lnTo>
                  <a:lnTo>
                    <a:pt x="1427" y="894"/>
                  </a:lnTo>
                  <a:lnTo>
                    <a:pt x="1423" y="901"/>
                  </a:lnTo>
                  <a:lnTo>
                    <a:pt x="1421" y="906"/>
                  </a:lnTo>
                  <a:lnTo>
                    <a:pt x="1421" y="908"/>
                  </a:lnTo>
                  <a:lnTo>
                    <a:pt x="1421" y="910"/>
                  </a:lnTo>
                  <a:lnTo>
                    <a:pt x="1422" y="911"/>
                  </a:lnTo>
                  <a:lnTo>
                    <a:pt x="1423" y="913"/>
                  </a:lnTo>
                  <a:lnTo>
                    <a:pt x="1426" y="913"/>
                  </a:lnTo>
                  <a:lnTo>
                    <a:pt x="1429" y="913"/>
                  </a:lnTo>
                  <a:lnTo>
                    <a:pt x="1434" y="911"/>
                  </a:lnTo>
                  <a:lnTo>
                    <a:pt x="1439" y="909"/>
                  </a:lnTo>
                  <a:lnTo>
                    <a:pt x="1450" y="903"/>
                  </a:lnTo>
                  <a:lnTo>
                    <a:pt x="1464" y="895"/>
                  </a:lnTo>
                  <a:lnTo>
                    <a:pt x="1476" y="889"/>
                  </a:lnTo>
                  <a:lnTo>
                    <a:pt x="1489" y="884"/>
                  </a:lnTo>
                  <a:lnTo>
                    <a:pt x="1494" y="883"/>
                  </a:lnTo>
                  <a:lnTo>
                    <a:pt x="1498" y="883"/>
                  </a:lnTo>
                  <a:lnTo>
                    <a:pt x="1502" y="884"/>
                  </a:lnTo>
                  <a:lnTo>
                    <a:pt x="1505" y="886"/>
                  </a:lnTo>
                  <a:lnTo>
                    <a:pt x="1513" y="896"/>
                  </a:lnTo>
                  <a:lnTo>
                    <a:pt x="1522" y="904"/>
                  </a:lnTo>
                  <a:lnTo>
                    <a:pt x="1525" y="907"/>
                  </a:lnTo>
                  <a:lnTo>
                    <a:pt x="1527" y="909"/>
                  </a:lnTo>
                  <a:lnTo>
                    <a:pt x="1529" y="912"/>
                  </a:lnTo>
                  <a:lnTo>
                    <a:pt x="1529" y="916"/>
                  </a:lnTo>
                  <a:lnTo>
                    <a:pt x="1530" y="921"/>
                  </a:lnTo>
                  <a:lnTo>
                    <a:pt x="1532" y="923"/>
                  </a:lnTo>
                  <a:lnTo>
                    <a:pt x="1535" y="925"/>
                  </a:lnTo>
                  <a:lnTo>
                    <a:pt x="1539" y="927"/>
                  </a:lnTo>
                  <a:lnTo>
                    <a:pt x="1544" y="928"/>
                  </a:lnTo>
                  <a:lnTo>
                    <a:pt x="1547" y="929"/>
                  </a:lnTo>
                  <a:lnTo>
                    <a:pt x="1550" y="931"/>
                  </a:lnTo>
                  <a:lnTo>
                    <a:pt x="1552" y="933"/>
                  </a:lnTo>
                  <a:lnTo>
                    <a:pt x="1557" y="942"/>
                  </a:lnTo>
                  <a:lnTo>
                    <a:pt x="1563" y="954"/>
                  </a:lnTo>
                  <a:lnTo>
                    <a:pt x="1568" y="960"/>
                  </a:lnTo>
                  <a:lnTo>
                    <a:pt x="1572" y="966"/>
                  </a:lnTo>
                  <a:lnTo>
                    <a:pt x="1576" y="971"/>
                  </a:lnTo>
                  <a:lnTo>
                    <a:pt x="1580" y="973"/>
                  </a:lnTo>
                  <a:lnTo>
                    <a:pt x="1589" y="974"/>
                  </a:lnTo>
                  <a:lnTo>
                    <a:pt x="1598" y="974"/>
                  </a:lnTo>
                  <a:lnTo>
                    <a:pt x="1602" y="974"/>
                  </a:lnTo>
                  <a:lnTo>
                    <a:pt x="1606" y="974"/>
                  </a:lnTo>
                  <a:lnTo>
                    <a:pt x="1610" y="976"/>
                  </a:lnTo>
                  <a:lnTo>
                    <a:pt x="1614" y="978"/>
                  </a:lnTo>
                  <a:lnTo>
                    <a:pt x="1619" y="981"/>
                  </a:lnTo>
                  <a:lnTo>
                    <a:pt x="1628" y="985"/>
                  </a:lnTo>
                  <a:lnTo>
                    <a:pt x="1641" y="987"/>
                  </a:lnTo>
                  <a:lnTo>
                    <a:pt x="1654" y="989"/>
                  </a:lnTo>
                  <a:lnTo>
                    <a:pt x="1676" y="992"/>
                  </a:lnTo>
                  <a:lnTo>
                    <a:pt x="1684" y="991"/>
                  </a:lnTo>
                  <a:lnTo>
                    <a:pt x="1670" y="978"/>
                  </a:lnTo>
                  <a:lnTo>
                    <a:pt x="1645" y="954"/>
                  </a:lnTo>
                  <a:lnTo>
                    <a:pt x="1634" y="942"/>
                  </a:lnTo>
                  <a:lnTo>
                    <a:pt x="1624" y="930"/>
                  </a:lnTo>
                  <a:lnTo>
                    <a:pt x="1621" y="926"/>
                  </a:lnTo>
                  <a:lnTo>
                    <a:pt x="1620" y="923"/>
                  </a:lnTo>
                  <a:lnTo>
                    <a:pt x="1620" y="922"/>
                  </a:lnTo>
                  <a:lnTo>
                    <a:pt x="1620" y="921"/>
                  </a:lnTo>
                  <a:lnTo>
                    <a:pt x="1620" y="921"/>
                  </a:lnTo>
                  <a:lnTo>
                    <a:pt x="1621" y="921"/>
                  </a:lnTo>
                  <a:lnTo>
                    <a:pt x="1629" y="924"/>
                  </a:lnTo>
                  <a:lnTo>
                    <a:pt x="1641" y="933"/>
                  </a:lnTo>
                  <a:lnTo>
                    <a:pt x="1657" y="945"/>
                  </a:lnTo>
                  <a:lnTo>
                    <a:pt x="1672" y="958"/>
                  </a:lnTo>
                  <a:lnTo>
                    <a:pt x="1688" y="971"/>
                  </a:lnTo>
                  <a:lnTo>
                    <a:pt x="1702" y="980"/>
                  </a:lnTo>
                  <a:lnTo>
                    <a:pt x="1707" y="985"/>
                  </a:lnTo>
                  <a:lnTo>
                    <a:pt x="1711" y="986"/>
                  </a:lnTo>
                  <a:lnTo>
                    <a:pt x="1713" y="987"/>
                  </a:lnTo>
                  <a:lnTo>
                    <a:pt x="1714" y="987"/>
                  </a:lnTo>
                  <a:lnTo>
                    <a:pt x="1715" y="986"/>
                  </a:lnTo>
                  <a:lnTo>
                    <a:pt x="1715" y="985"/>
                  </a:lnTo>
                  <a:lnTo>
                    <a:pt x="1716" y="979"/>
                  </a:lnTo>
                  <a:lnTo>
                    <a:pt x="1714" y="973"/>
                  </a:lnTo>
                  <a:lnTo>
                    <a:pt x="1712" y="968"/>
                  </a:lnTo>
                  <a:lnTo>
                    <a:pt x="1709" y="961"/>
                  </a:lnTo>
                  <a:lnTo>
                    <a:pt x="1706" y="956"/>
                  </a:lnTo>
                  <a:lnTo>
                    <a:pt x="1704" y="952"/>
                  </a:lnTo>
                  <a:lnTo>
                    <a:pt x="1703" y="949"/>
                  </a:lnTo>
                  <a:lnTo>
                    <a:pt x="1704" y="948"/>
                  </a:lnTo>
                  <a:lnTo>
                    <a:pt x="1711" y="945"/>
                  </a:lnTo>
                  <a:lnTo>
                    <a:pt x="1722" y="940"/>
                  </a:lnTo>
                  <a:lnTo>
                    <a:pt x="1727" y="937"/>
                  </a:lnTo>
                  <a:lnTo>
                    <a:pt x="1730" y="934"/>
                  </a:lnTo>
                  <a:lnTo>
                    <a:pt x="1731" y="932"/>
                  </a:lnTo>
                  <a:lnTo>
                    <a:pt x="1732" y="931"/>
                  </a:lnTo>
                  <a:lnTo>
                    <a:pt x="1732" y="929"/>
                  </a:lnTo>
                  <a:lnTo>
                    <a:pt x="1731" y="927"/>
                  </a:lnTo>
                  <a:lnTo>
                    <a:pt x="1721" y="915"/>
                  </a:lnTo>
                  <a:lnTo>
                    <a:pt x="1703" y="901"/>
                  </a:lnTo>
                  <a:lnTo>
                    <a:pt x="1684" y="884"/>
                  </a:lnTo>
                  <a:lnTo>
                    <a:pt x="1671" y="872"/>
                  </a:lnTo>
                  <a:lnTo>
                    <a:pt x="1667" y="865"/>
                  </a:lnTo>
                  <a:lnTo>
                    <a:pt x="1662" y="855"/>
                  </a:lnTo>
                  <a:lnTo>
                    <a:pt x="1657" y="841"/>
                  </a:lnTo>
                  <a:lnTo>
                    <a:pt x="1652" y="827"/>
                  </a:lnTo>
                  <a:lnTo>
                    <a:pt x="1649" y="815"/>
                  </a:lnTo>
                  <a:lnTo>
                    <a:pt x="1647" y="804"/>
                  </a:lnTo>
                  <a:lnTo>
                    <a:pt x="1648" y="800"/>
                  </a:lnTo>
                  <a:lnTo>
                    <a:pt x="1648" y="798"/>
                  </a:lnTo>
                  <a:lnTo>
                    <a:pt x="1650" y="797"/>
                  </a:lnTo>
                  <a:lnTo>
                    <a:pt x="1654" y="798"/>
                  </a:lnTo>
                  <a:lnTo>
                    <a:pt x="1667" y="806"/>
                  </a:lnTo>
                  <a:lnTo>
                    <a:pt x="1683" y="814"/>
                  </a:lnTo>
                  <a:lnTo>
                    <a:pt x="1690" y="818"/>
                  </a:lnTo>
                  <a:lnTo>
                    <a:pt x="1696" y="822"/>
                  </a:lnTo>
                  <a:lnTo>
                    <a:pt x="1699" y="825"/>
                  </a:lnTo>
                  <a:lnTo>
                    <a:pt x="1701" y="827"/>
                  </a:lnTo>
                  <a:lnTo>
                    <a:pt x="1702" y="830"/>
                  </a:lnTo>
                  <a:lnTo>
                    <a:pt x="1703" y="834"/>
                  </a:lnTo>
                  <a:lnTo>
                    <a:pt x="1703" y="843"/>
                  </a:lnTo>
                  <a:lnTo>
                    <a:pt x="1704" y="848"/>
                  </a:lnTo>
                  <a:lnTo>
                    <a:pt x="1707" y="852"/>
                  </a:lnTo>
                  <a:lnTo>
                    <a:pt x="1711" y="857"/>
                  </a:lnTo>
                  <a:lnTo>
                    <a:pt x="1719" y="864"/>
                  </a:lnTo>
                  <a:lnTo>
                    <a:pt x="1728" y="873"/>
                  </a:lnTo>
                  <a:lnTo>
                    <a:pt x="1732" y="878"/>
                  </a:lnTo>
                  <a:lnTo>
                    <a:pt x="1736" y="880"/>
                  </a:lnTo>
                  <a:lnTo>
                    <a:pt x="1737" y="880"/>
                  </a:lnTo>
                  <a:lnTo>
                    <a:pt x="1739" y="879"/>
                  </a:lnTo>
                  <a:lnTo>
                    <a:pt x="1741" y="878"/>
                  </a:lnTo>
                  <a:lnTo>
                    <a:pt x="1742" y="876"/>
                  </a:lnTo>
                  <a:lnTo>
                    <a:pt x="1745" y="862"/>
                  </a:lnTo>
                  <a:lnTo>
                    <a:pt x="1747" y="844"/>
                  </a:lnTo>
                  <a:lnTo>
                    <a:pt x="1748" y="835"/>
                  </a:lnTo>
                  <a:lnTo>
                    <a:pt x="1749" y="827"/>
                  </a:lnTo>
                  <a:lnTo>
                    <a:pt x="1751" y="821"/>
                  </a:lnTo>
                  <a:lnTo>
                    <a:pt x="1754" y="817"/>
                  </a:lnTo>
                  <a:lnTo>
                    <a:pt x="1761" y="811"/>
                  </a:lnTo>
                  <a:lnTo>
                    <a:pt x="1769" y="803"/>
                  </a:lnTo>
                  <a:lnTo>
                    <a:pt x="1772" y="800"/>
                  </a:lnTo>
                  <a:lnTo>
                    <a:pt x="1773" y="797"/>
                  </a:lnTo>
                  <a:lnTo>
                    <a:pt x="1773" y="793"/>
                  </a:lnTo>
                  <a:lnTo>
                    <a:pt x="1771" y="789"/>
                  </a:lnTo>
                  <a:lnTo>
                    <a:pt x="1766" y="783"/>
                  </a:lnTo>
                  <a:lnTo>
                    <a:pt x="1759" y="779"/>
                  </a:lnTo>
                  <a:lnTo>
                    <a:pt x="1752" y="774"/>
                  </a:lnTo>
                  <a:lnTo>
                    <a:pt x="1743" y="769"/>
                  </a:lnTo>
                  <a:lnTo>
                    <a:pt x="1727" y="760"/>
                  </a:lnTo>
                  <a:lnTo>
                    <a:pt x="1715" y="753"/>
                  </a:lnTo>
                  <a:lnTo>
                    <a:pt x="1701" y="741"/>
                  </a:lnTo>
                  <a:lnTo>
                    <a:pt x="1674" y="722"/>
                  </a:lnTo>
                  <a:lnTo>
                    <a:pt x="1647" y="702"/>
                  </a:lnTo>
                  <a:lnTo>
                    <a:pt x="1633" y="690"/>
                  </a:lnTo>
                  <a:lnTo>
                    <a:pt x="1629" y="687"/>
                  </a:lnTo>
                  <a:lnTo>
                    <a:pt x="1627" y="683"/>
                  </a:lnTo>
                  <a:lnTo>
                    <a:pt x="1625" y="679"/>
                  </a:lnTo>
                  <a:lnTo>
                    <a:pt x="1623" y="674"/>
                  </a:lnTo>
                  <a:lnTo>
                    <a:pt x="1622" y="670"/>
                  </a:lnTo>
                  <a:lnTo>
                    <a:pt x="1622" y="665"/>
                  </a:lnTo>
                  <a:lnTo>
                    <a:pt x="1622" y="660"/>
                  </a:lnTo>
                  <a:lnTo>
                    <a:pt x="1624" y="656"/>
                  </a:lnTo>
                  <a:lnTo>
                    <a:pt x="1628" y="651"/>
                  </a:lnTo>
                  <a:lnTo>
                    <a:pt x="1634" y="647"/>
                  </a:lnTo>
                  <a:lnTo>
                    <a:pt x="1640" y="645"/>
                  </a:lnTo>
                  <a:lnTo>
                    <a:pt x="1646" y="642"/>
                  </a:lnTo>
                  <a:lnTo>
                    <a:pt x="1651" y="640"/>
                  </a:lnTo>
                  <a:lnTo>
                    <a:pt x="1654" y="638"/>
                  </a:lnTo>
                  <a:lnTo>
                    <a:pt x="1655" y="636"/>
                  </a:lnTo>
                  <a:lnTo>
                    <a:pt x="1654" y="635"/>
                  </a:lnTo>
                  <a:lnTo>
                    <a:pt x="1652" y="632"/>
                  </a:lnTo>
                  <a:lnTo>
                    <a:pt x="1649" y="630"/>
                  </a:lnTo>
                  <a:lnTo>
                    <a:pt x="1643" y="627"/>
                  </a:lnTo>
                  <a:lnTo>
                    <a:pt x="1637" y="627"/>
                  </a:lnTo>
                  <a:lnTo>
                    <a:pt x="1630" y="627"/>
                  </a:lnTo>
                  <a:lnTo>
                    <a:pt x="1624" y="629"/>
                  </a:lnTo>
                  <a:lnTo>
                    <a:pt x="1616" y="634"/>
                  </a:lnTo>
                  <a:lnTo>
                    <a:pt x="1613" y="636"/>
                  </a:lnTo>
                  <a:lnTo>
                    <a:pt x="1608" y="637"/>
                  </a:lnTo>
                  <a:lnTo>
                    <a:pt x="1600" y="639"/>
                  </a:lnTo>
                  <a:lnTo>
                    <a:pt x="1597" y="639"/>
                  </a:lnTo>
                  <a:lnTo>
                    <a:pt x="1594" y="638"/>
                  </a:lnTo>
                  <a:lnTo>
                    <a:pt x="1594" y="637"/>
                  </a:lnTo>
                  <a:lnTo>
                    <a:pt x="1594" y="635"/>
                  </a:lnTo>
                  <a:lnTo>
                    <a:pt x="1594" y="634"/>
                  </a:lnTo>
                  <a:lnTo>
                    <a:pt x="1596" y="630"/>
                  </a:lnTo>
                  <a:lnTo>
                    <a:pt x="1599" y="626"/>
                  </a:lnTo>
                  <a:lnTo>
                    <a:pt x="1604" y="624"/>
                  </a:lnTo>
                  <a:lnTo>
                    <a:pt x="1610" y="622"/>
                  </a:lnTo>
                  <a:lnTo>
                    <a:pt x="1614" y="621"/>
                  </a:lnTo>
                  <a:lnTo>
                    <a:pt x="1617" y="620"/>
                  </a:lnTo>
                  <a:lnTo>
                    <a:pt x="1618" y="618"/>
                  </a:lnTo>
                  <a:lnTo>
                    <a:pt x="1618" y="616"/>
                  </a:lnTo>
                  <a:lnTo>
                    <a:pt x="1615" y="613"/>
                  </a:lnTo>
                  <a:lnTo>
                    <a:pt x="1608" y="609"/>
                  </a:lnTo>
                  <a:lnTo>
                    <a:pt x="1602" y="606"/>
                  </a:lnTo>
                  <a:lnTo>
                    <a:pt x="1596" y="604"/>
                  </a:lnTo>
                  <a:lnTo>
                    <a:pt x="1590" y="603"/>
                  </a:lnTo>
                  <a:lnTo>
                    <a:pt x="1583" y="602"/>
                  </a:lnTo>
                  <a:lnTo>
                    <a:pt x="1578" y="602"/>
                  </a:lnTo>
                  <a:lnTo>
                    <a:pt x="1574" y="603"/>
                  </a:lnTo>
                  <a:lnTo>
                    <a:pt x="1571" y="604"/>
                  </a:lnTo>
                  <a:lnTo>
                    <a:pt x="1568" y="604"/>
                  </a:lnTo>
                  <a:lnTo>
                    <a:pt x="1562" y="604"/>
                  </a:lnTo>
                  <a:lnTo>
                    <a:pt x="1556" y="602"/>
                  </a:lnTo>
                  <a:lnTo>
                    <a:pt x="1551" y="600"/>
                  </a:lnTo>
                  <a:lnTo>
                    <a:pt x="1546" y="597"/>
                  </a:lnTo>
                  <a:lnTo>
                    <a:pt x="1542" y="594"/>
                  </a:lnTo>
                  <a:lnTo>
                    <a:pt x="1542" y="593"/>
                  </a:lnTo>
                  <a:lnTo>
                    <a:pt x="1542" y="591"/>
                  </a:lnTo>
                  <a:lnTo>
                    <a:pt x="1544" y="588"/>
                  </a:lnTo>
                  <a:lnTo>
                    <a:pt x="1547" y="587"/>
                  </a:lnTo>
                  <a:lnTo>
                    <a:pt x="1557" y="582"/>
                  </a:lnTo>
                  <a:lnTo>
                    <a:pt x="1566" y="580"/>
                  </a:lnTo>
                  <a:lnTo>
                    <a:pt x="1568" y="579"/>
                  </a:lnTo>
                  <a:lnTo>
                    <a:pt x="1569" y="578"/>
                  </a:lnTo>
                  <a:lnTo>
                    <a:pt x="1569" y="576"/>
                  </a:lnTo>
                  <a:lnTo>
                    <a:pt x="1568" y="573"/>
                  </a:lnTo>
                  <a:lnTo>
                    <a:pt x="1562" y="562"/>
                  </a:lnTo>
                  <a:lnTo>
                    <a:pt x="1554" y="550"/>
                  </a:lnTo>
                  <a:lnTo>
                    <a:pt x="1552" y="548"/>
                  </a:lnTo>
                  <a:lnTo>
                    <a:pt x="1549" y="547"/>
                  </a:lnTo>
                  <a:lnTo>
                    <a:pt x="1547" y="545"/>
                  </a:lnTo>
                  <a:lnTo>
                    <a:pt x="1545" y="545"/>
                  </a:lnTo>
                  <a:lnTo>
                    <a:pt x="1542" y="547"/>
                  </a:lnTo>
                  <a:lnTo>
                    <a:pt x="1540" y="548"/>
                  </a:lnTo>
                  <a:lnTo>
                    <a:pt x="1539" y="551"/>
                  </a:lnTo>
                  <a:lnTo>
                    <a:pt x="1537" y="556"/>
                  </a:lnTo>
                  <a:lnTo>
                    <a:pt x="1535" y="564"/>
                  </a:lnTo>
                  <a:lnTo>
                    <a:pt x="1532" y="571"/>
                  </a:lnTo>
                  <a:lnTo>
                    <a:pt x="1529" y="574"/>
                  </a:lnTo>
                  <a:lnTo>
                    <a:pt x="1525" y="576"/>
                  </a:lnTo>
                  <a:lnTo>
                    <a:pt x="1522" y="575"/>
                  </a:lnTo>
                  <a:lnTo>
                    <a:pt x="1518" y="574"/>
                  </a:lnTo>
                  <a:lnTo>
                    <a:pt x="1515" y="573"/>
                  </a:lnTo>
                  <a:lnTo>
                    <a:pt x="1512" y="571"/>
                  </a:lnTo>
                  <a:lnTo>
                    <a:pt x="1508" y="566"/>
                  </a:lnTo>
                  <a:lnTo>
                    <a:pt x="1502" y="563"/>
                  </a:lnTo>
                  <a:lnTo>
                    <a:pt x="1498" y="561"/>
                  </a:lnTo>
                  <a:lnTo>
                    <a:pt x="1496" y="558"/>
                  </a:lnTo>
                  <a:lnTo>
                    <a:pt x="1494" y="555"/>
                  </a:lnTo>
                  <a:lnTo>
                    <a:pt x="1493" y="551"/>
                  </a:lnTo>
                  <a:lnTo>
                    <a:pt x="1492" y="543"/>
                  </a:lnTo>
                  <a:lnTo>
                    <a:pt x="1494" y="535"/>
                  </a:lnTo>
                  <a:lnTo>
                    <a:pt x="1494" y="532"/>
                  </a:lnTo>
                  <a:lnTo>
                    <a:pt x="1494" y="529"/>
                  </a:lnTo>
                  <a:lnTo>
                    <a:pt x="1493" y="526"/>
                  </a:lnTo>
                  <a:lnTo>
                    <a:pt x="1490" y="523"/>
                  </a:lnTo>
                  <a:lnTo>
                    <a:pt x="1476" y="511"/>
                  </a:lnTo>
                  <a:lnTo>
                    <a:pt x="1466" y="504"/>
                  </a:lnTo>
                  <a:lnTo>
                    <a:pt x="1464" y="503"/>
                  </a:lnTo>
                  <a:lnTo>
                    <a:pt x="1463" y="500"/>
                  </a:lnTo>
                  <a:lnTo>
                    <a:pt x="1463" y="499"/>
                  </a:lnTo>
                  <a:lnTo>
                    <a:pt x="1463" y="497"/>
                  </a:lnTo>
                  <a:lnTo>
                    <a:pt x="1465" y="493"/>
                  </a:lnTo>
                  <a:lnTo>
                    <a:pt x="1468" y="489"/>
                  </a:lnTo>
                  <a:lnTo>
                    <a:pt x="1470" y="487"/>
                  </a:lnTo>
                  <a:lnTo>
                    <a:pt x="1469" y="483"/>
                  </a:lnTo>
                  <a:lnTo>
                    <a:pt x="1468" y="478"/>
                  </a:lnTo>
                  <a:lnTo>
                    <a:pt x="1466" y="473"/>
                  </a:lnTo>
                  <a:lnTo>
                    <a:pt x="1462" y="469"/>
                  </a:lnTo>
                  <a:lnTo>
                    <a:pt x="1458" y="465"/>
                  </a:lnTo>
                  <a:lnTo>
                    <a:pt x="1453" y="462"/>
                  </a:lnTo>
                  <a:lnTo>
                    <a:pt x="1448" y="461"/>
                  </a:lnTo>
                  <a:lnTo>
                    <a:pt x="1432" y="461"/>
                  </a:lnTo>
                  <a:lnTo>
                    <a:pt x="1413" y="462"/>
                  </a:lnTo>
                  <a:lnTo>
                    <a:pt x="1404" y="463"/>
                  </a:lnTo>
                  <a:lnTo>
                    <a:pt x="1397" y="464"/>
                  </a:lnTo>
                  <a:lnTo>
                    <a:pt x="1395" y="465"/>
                  </a:lnTo>
                  <a:lnTo>
                    <a:pt x="1393" y="465"/>
                  </a:lnTo>
                  <a:lnTo>
                    <a:pt x="1393" y="466"/>
                  </a:lnTo>
                  <a:lnTo>
                    <a:pt x="1393" y="467"/>
                  </a:lnTo>
                  <a:lnTo>
                    <a:pt x="1401" y="473"/>
                  </a:lnTo>
                  <a:lnTo>
                    <a:pt x="1416" y="482"/>
                  </a:lnTo>
                  <a:lnTo>
                    <a:pt x="1430" y="489"/>
                  </a:lnTo>
                  <a:lnTo>
                    <a:pt x="1437" y="492"/>
                  </a:lnTo>
                  <a:lnTo>
                    <a:pt x="1441" y="492"/>
                  </a:lnTo>
                  <a:lnTo>
                    <a:pt x="1449" y="492"/>
                  </a:lnTo>
                  <a:lnTo>
                    <a:pt x="1453" y="493"/>
                  </a:lnTo>
                  <a:lnTo>
                    <a:pt x="1457" y="493"/>
                  </a:lnTo>
                  <a:lnTo>
                    <a:pt x="1458" y="494"/>
                  </a:lnTo>
                  <a:lnTo>
                    <a:pt x="1458" y="495"/>
                  </a:lnTo>
                  <a:lnTo>
                    <a:pt x="1458" y="496"/>
                  </a:lnTo>
                  <a:lnTo>
                    <a:pt x="1458" y="497"/>
                  </a:lnTo>
                  <a:lnTo>
                    <a:pt x="1452" y="501"/>
                  </a:lnTo>
                  <a:lnTo>
                    <a:pt x="1445" y="506"/>
                  </a:lnTo>
                  <a:lnTo>
                    <a:pt x="1442" y="509"/>
                  </a:lnTo>
                  <a:lnTo>
                    <a:pt x="1439" y="511"/>
                  </a:lnTo>
                  <a:lnTo>
                    <a:pt x="1437" y="514"/>
                  </a:lnTo>
                  <a:lnTo>
                    <a:pt x="1435" y="518"/>
                  </a:lnTo>
                  <a:lnTo>
                    <a:pt x="1432" y="528"/>
                  </a:lnTo>
                  <a:lnTo>
                    <a:pt x="1429" y="537"/>
                  </a:lnTo>
                  <a:lnTo>
                    <a:pt x="1426" y="540"/>
                  </a:lnTo>
                  <a:lnTo>
                    <a:pt x="1423" y="542"/>
                  </a:lnTo>
                  <a:lnTo>
                    <a:pt x="1422" y="542"/>
                  </a:lnTo>
                  <a:lnTo>
                    <a:pt x="1420" y="542"/>
                  </a:lnTo>
                  <a:lnTo>
                    <a:pt x="1418" y="541"/>
                  </a:lnTo>
                  <a:lnTo>
                    <a:pt x="1416" y="539"/>
                  </a:lnTo>
                  <a:lnTo>
                    <a:pt x="1408" y="531"/>
                  </a:lnTo>
                  <a:lnTo>
                    <a:pt x="1403" y="525"/>
                  </a:lnTo>
                  <a:lnTo>
                    <a:pt x="1402" y="523"/>
                  </a:lnTo>
                  <a:lnTo>
                    <a:pt x="1400" y="522"/>
                  </a:lnTo>
                  <a:lnTo>
                    <a:pt x="1399" y="523"/>
                  </a:lnTo>
                  <a:lnTo>
                    <a:pt x="1397" y="527"/>
                  </a:lnTo>
                  <a:lnTo>
                    <a:pt x="1393" y="535"/>
                  </a:lnTo>
                  <a:lnTo>
                    <a:pt x="1386" y="543"/>
                  </a:lnTo>
                  <a:lnTo>
                    <a:pt x="1383" y="547"/>
                  </a:lnTo>
                  <a:lnTo>
                    <a:pt x="1381" y="548"/>
                  </a:lnTo>
                  <a:lnTo>
                    <a:pt x="1380" y="549"/>
                  </a:lnTo>
                  <a:lnTo>
                    <a:pt x="1379" y="548"/>
                  </a:lnTo>
                  <a:lnTo>
                    <a:pt x="1378" y="548"/>
                  </a:lnTo>
                  <a:lnTo>
                    <a:pt x="1378" y="547"/>
                  </a:lnTo>
                  <a:lnTo>
                    <a:pt x="1380" y="538"/>
                  </a:lnTo>
                  <a:lnTo>
                    <a:pt x="1383" y="527"/>
                  </a:lnTo>
                  <a:lnTo>
                    <a:pt x="1385" y="520"/>
                  </a:lnTo>
                  <a:lnTo>
                    <a:pt x="1387" y="514"/>
                  </a:lnTo>
                  <a:lnTo>
                    <a:pt x="1387" y="509"/>
                  </a:lnTo>
                  <a:lnTo>
                    <a:pt x="1386" y="506"/>
                  </a:lnTo>
                  <a:lnTo>
                    <a:pt x="1382" y="494"/>
                  </a:lnTo>
                  <a:lnTo>
                    <a:pt x="1378" y="477"/>
                  </a:lnTo>
                  <a:lnTo>
                    <a:pt x="1375" y="469"/>
                  </a:lnTo>
                  <a:lnTo>
                    <a:pt x="1373" y="462"/>
                  </a:lnTo>
                  <a:lnTo>
                    <a:pt x="1371" y="457"/>
                  </a:lnTo>
                  <a:lnTo>
                    <a:pt x="1369" y="455"/>
                  </a:lnTo>
                  <a:lnTo>
                    <a:pt x="1364" y="456"/>
                  </a:lnTo>
                  <a:lnTo>
                    <a:pt x="1355" y="462"/>
                  </a:lnTo>
                  <a:lnTo>
                    <a:pt x="1342" y="470"/>
                  </a:lnTo>
                  <a:lnTo>
                    <a:pt x="1330" y="479"/>
                  </a:lnTo>
                  <a:lnTo>
                    <a:pt x="1316" y="489"/>
                  </a:lnTo>
                  <a:lnTo>
                    <a:pt x="1306" y="498"/>
                  </a:lnTo>
                  <a:lnTo>
                    <a:pt x="1303" y="501"/>
                  </a:lnTo>
                  <a:lnTo>
                    <a:pt x="1299" y="506"/>
                  </a:lnTo>
                  <a:lnTo>
                    <a:pt x="1298" y="508"/>
                  </a:lnTo>
                  <a:lnTo>
                    <a:pt x="1298" y="510"/>
                  </a:lnTo>
                  <a:lnTo>
                    <a:pt x="1305" y="517"/>
                  </a:lnTo>
                  <a:lnTo>
                    <a:pt x="1311" y="526"/>
                  </a:lnTo>
                  <a:lnTo>
                    <a:pt x="1314" y="529"/>
                  </a:lnTo>
                  <a:lnTo>
                    <a:pt x="1315" y="533"/>
                  </a:lnTo>
                  <a:lnTo>
                    <a:pt x="1316" y="535"/>
                  </a:lnTo>
                  <a:lnTo>
                    <a:pt x="1315" y="538"/>
                  </a:lnTo>
                  <a:lnTo>
                    <a:pt x="1312" y="541"/>
                  </a:lnTo>
                  <a:lnTo>
                    <a:pt x="1308" y="544"/>
                  </a:lnTo>
                  <a:lnTo>
                    <a:pt x="1306" y="548"/>
                  </a:lnTo>
                  <a:lnTo>
                    <a:pt x="1305" y="551"/>
                  </a:lnTo>
                  <a:lnTo>
                    <a:pt x="1307" y="554"/>
                  </a:lnTo>
                  <a:lnTo>
                    <a:pt x="1309" y="559"/>
                  </a:lnTo>
                  <a:lnTo>
                    <a:pt x="1311" y="564"/>
                  </a:lnTo>
                  <a:lnTo>
                    <a:pt x="1311" y="571"/>
                  </a:lnTo>
                  <a:lnTo>
                    <a:pt x="1310" y="578"/>
                  </a:lnTo>
                  <a:lnTo>
                    <a:pt x="1309" y="587"/>
                  </a:lnTo>
                  <a:lnTo>
                    <a:pt x="1307" y="595"/>
                  </a:lnTo>
                  <a:lnTo>
                    <a:pt x="1305" y="599"/>
                  </a:lnTo>
                  <a:lnTo>
                    <a:pt x="1299" y="597"/>
                  </a:lnTo>
                  <a:lnTo>
                    <a:pt x="1292" y="594"/>
                  </a:lnTo>
                  <a:lnTo>
                    <a:pt x="1288" y="591"/>
                  </a:lnTo>
                  <a:lnTo>
                    <a:pt x="1285" y="587"/>
                  </a:lnTo>
                  <a:lnTo>
                    <a:pt x="1283" y="584"/>
                  </a:lnTo>
                  <a:lnTo>
                    <a:pt x="1282" y="580"/>
                  </a:lnTo>
                  <a:lnTo>
                    <a:pt x="1279" y="571"/>
                  </a:lnTo>
                  <a:lnTo>
                    <a:pt x="1274" y="557"/>
                  </a:lnTo>
                  <a:lnTo>
                    <a:pt x="1269" y="544"/>
                  </a:lnTo>
                  <a:lnTo>
                    <a:pt x="1266" y="536"/>
                  </a:lnTo>
                  <a:lnTo>
                    <a:pt x="1266" y="534"/>
                  </a:lnTo>
                  <a:lnTo>
                    <a:pt x="1267" y="532"/>
                  </a:lnTo>
                  <a:lnTo>
                    <a:pt x="1268" y="530"/>
                  </a:lnTo>
                  <a:lnTo>
                    <a:pt x="1270" y="529"/>
                  </a:lnTo>
                  <a:lnTo>
                    <a:pt x="1273" y="526"/>
                  </a:lnTo>
                  <a:lnTo>
                    <a:pt x="1275" y="523"/>
                  </a:lnTo>
                  <a:lnTo>
                    <a:pt x="1273" y="520"/>
                  </a:lnTo>
                  <a:lnTo>
                    <a:pt x="1269" y="516"/>
                  </a:lnTo>
                  <a:lnTo>
                    <a:pt x="1267" y="513"/>
                  </a:lnTo>
                  <a:lnTo>
                    <a:pt x="1266" y="511"/>
                  </a:lnTo>
                  <a:lnTo>
                    <a:pt x="1266" y="509"/>
                  </a:lnTo>
                  <a:lnTo>
                    <a:pt x="1268" y="506"/>
                  </a:lnTo>
                  <a:lnTo>
                    <a:pt x="1279" y="495"/>
                  </a:lnTo>
                  <a:lnTo>
                    <a:pt x="1296" y="478"/>
                  </a:lnTo>
                  <a:lnTo>
                    <a:pt x="1305" y="469"/>
                  </a:lnTo>
                  <a:lnTo>
                    <a:pt x="1311" y="462"/>
                  </a:lnTo>
                  <a:lnTo>
                    <a:pt x="1313" y="459"/>
                  </a:lnTo>
                  <a:lnTo>
                    <a:pt x="1314" y="455"/>
                  </a:lnTo>
                  <a:lnTo>
                    <a:pt x="1315" y="454"/>
                  </a:lnTo>
                  <a:lnTo>
                    <a:pt x="1314" y="453"/>
                  </a:lnTo>
                  <a:lnTo>
                    <a:pt x="1310" y="453"/>
                  </a:lnTo>
                  <a:lnTo>
                    <a:pt x="1301" y="453"/>
                  </a:lnTo>
                  <a:lnTo>
                    <a:pt x="1290" y="455"/>
                  </a:lnTo>
                  <a:lnTo>
                    <a:pt x="1277" y="459"/>
                  </a:lnTo>
                  <a:lnTo>
                    <a:pt x="1265" y="462"/>
                  </a:lnTo>
                  <a:lnTo>
                    <a:pt x="1253" y="465"/>
                  </a:lnTo>
                  <a:lnTo>
                    <a:pt x="1245" y="469"/>
                  </a:lnTo>
                  <a:lnTo>
                    <a:pt x="1241" y="473"/>
                  </a:lnTo>
                  <a:lnTo>
                    <a:pt x="1232" y="485"/>
                  </a:lnTo>
                  <a:lnTo>
                    <a:pt x="1221" y="501"/>
                  </a:lnTo>
                  <a:lnTo>
                    <a:pt x="1215" y="510"/>
                  </a:lnTo>
                  <a:lnTo>
                    <a:pt x="1209" y="519"/>
                  </a:lnTo>
                  <a:lnTo>
                    <a:pt x="1205" y="529"/>
                  </a:lnTo>
                  <a:lnTo>
                    <a:pt x="1203" y="537"/>
                  </a:lnTo>
                  <a:lnTo>
                    <a:pt x="1202" y="553"/>
                  </a:lnTo>
                  <a:lnTo>
                    <a:pt x="1203" y="567"/>
                  </a:lnTo>
                  <a:lnTo>
                    <a:pt x="1203" y="574"/>
                  </a:lnTo>
                  <a:lnTo>
                    <a:pt x="1205" y="579"/>
                  </a:lnTo>
                  <a:lnTo>
                    <a:pt x="1207" y="583"/>
                  </a:lnTo>
                  <a:lnTo>
                    <a:pt x="1210" y="586"/>
                  </a:lnTo>
                  <a:lnTo>
                    <a:pt x="1223" y="590"/>
                  </a:lnTo>
                  <a:lnTo>
                    <a:pt x="1241" y="592"/>
                  </a:lnTo>
                  <a:lnTo>
                    <a:pt x="1248" y="593"/>
                  </a:lnTo>
                  <a:lnTo>
                    <a:pt x="1253" y="595"/>
                  </a:lnTo>
                  <a:lnTo>
                    <a:pt x="1255" y="595"/>
                  </a:lnTo>
                  <a:lnTo>
                    <a:pt x="1255" y="596"/>
                  </a:lnTo>
                  <a:lnTo>
                    <a:pt x="1255" y="597"/>
                  </a:lnTo>
                  <a:lnTo>
                    <a:pt x="1253" y="598"/>
                  </a:lnTo>
                  <a:lnTo>
                    <a:pt x="1241" y="602"/>
                  </a:lnTo>
                  <a:lnTo>
                    <a:pt x="1224" y="606"/>
                  </a:lnTo>
                  <a:lnTo>
                    <a:pt x="1217" y="607"/>
                  </a:lnTo>
                  <a:lnTo>
                    <a:pt x="1211" y="609"/>
                  </a:lnTo>
                  <a:lnTo>
                    <a:pt x="1210" y="610"/>
                  </a:lnTo>
                  <a:lnTo>
                    <a:pt x="1209" y="612"/>
                  </a:lnTo>
                  <a:lnTo>
                    <a:pt x="1209" y="612"/>
                  </a:lnTo>
                  <a:lnTo>
                    <a:pt x="1210" y="613"/>
                  </a:lnTo>
                  <a:lnTo>
                    <a:pt x="1227" y="620"/>
                  </a:lnTo>
                  <a:lnTo>
                    <a:pt x="1254" y="635"/>
                  </a:lnTo>
                  <a:lnTo>
                    <a:pt x="1279" y="648"/>
                  </a:lnTo>
                  <a:lnTo>
                    <a:pt x="1291" y="653"/>
                  </a:lnTo>
                  <a:lnTo>
                    <a:pt x="1290" y="659"/>
                  </a:lnTo>
                  <a:lnTo>
                    <a:pt x="1288" y="670"/>
                  </a:lnTo>
                  <a:lnTo>
                    <a:pt x="1287" y="676"/>
                  </a:lnTo>
                  <a:lnTo>
                    <a:pt x="1287" y="683"/>
                  </a:lnTo>
                  <a:lnTo>
                    <a:pt x="1287" y="687"/>
                  </a:lnTo>
                  <a:lnTo>
                    <a:pt x="1289" y="690"/>
                  </a:lnTo>
                  <a:lnTo>
                    <a:pt x="1292" y="692"/>
                  </a:lnTo>
                  <a:lnTo>
                    <a:pt x="1297" y="693"/>
                  </a:lnTo>
                  <a:lnTo>
                    <a:pt x="1298" y="694"/>
                  </a:lnTo>
                  <a:lnTo>
                    <a:pt x="1299" y="696"/>
                  </a:lnTo>
                  <a:lnTo>
                    <a:pt x="1300" y="697"/>
                  </a:lnTo>
                  <a:lnTo>
                    <a:pt x="1299" y="700"/>
                  </a:lnTo>
                  <a:lnTo>
                    <a:pt x="1287" y="707"/>
                  </a:lnTo>
                  <a:lnTo>
                    <a:pt x="1272" y="717"/>
                  </a:lnTo>
                  <a:lnTo>
                    <a:pt x="1271" y="725"/>
                  </a:lnTo>
                  <a:lnTo>
                    <a:pt x="1270" y="733"/>
                  </a:lnTo>
                  <a:lnTo>
                    <a:pt x="1270" y="737"/>
                  </a:lnTo>
                  <a:lnTo>
                    <a:pt x="1268" y="741"/>
                  </a:lnTo>
                  <a:lnTo>
                    <a:pt x="1267" y="746"/>
                  </a:lnTo>
                  <a:lnTo>
                    <a:pt x="1264" y="750"/>
                  </a:lnTo>
                  <a:lnTo>
                    <a:pt x="1254" y="763"/>
                  </a:lnTo>
                  <a:lnTo>
                    <a:pt x="1248" y="774"/>
                  </a:lnTo>
                  <a:lnTo>
                    <a:pt x="1245" y="774"/>
                  </a:lnTo>
                  <a:lnTo>
                    <a:pt x="1240" y="771"/>
                  </a:lnTo>
                  <a:lnTo>
                    <a:pt x="1235" y="767"/>
                  </a:lnTo>
                  <a:lnTo>
                    <a:pt x="1230" y="760"/>
                  </a:lnTo>
                  <a:lnTo>
                    <a:pt x="1227" y="754"/>
                  </a:lnTo>
                  <a:lnTo>
                    <a:pt x="1225" y="748"/>
                  </a:lnTo>
                  <a:lnTo>
                    <a:pt x="1224" y="744"/>
                  </a:lnTo>
                  <a:lnTo>
                    <a:pt x="1224" y="740"/>
                  </a:lnTo>
                  <a:lnTo>
                    <a:pt x="1225" y="738"/>
                  </a:lnTo>
                  <a:lnTo>
                    <a:pt x="1226" y="735"/>
                  </a:lnTo>
                  <a:lnTo>
                    <a:pt x="1232" y="726"/>
                  </a:lnTo>
                  <a:lnTo>
                    <a:pt x="1237" y="717"/>
                  </a:lnTo>
                  <a:lnTo>
                    <a:pt x="1238" y="709"/>
                  </a:lnTo>
                  <a:lnTo>
                    <a:pt x="1239" y="702"/>
                  </a:lnTo>
                  <a:lnTo>
                    <a:pt x="1237" y="697"/>
                  </a:lnTo>
                  <a:lnTo>
                    <a:pt x="1233" y="694"/>
                  </a:lnTo>
                  <a:lnTo>
                    <a:pt x="1228" y="691"/>
                  </a:lnTo>
                  <a:lnTo>
                    <a:pt x="1222" y="689"/>
                  </a:lnTo>
                  <a:lnTo>
                    <a:pt x="1210" y="686"/>
                  </a:lnTo>
                  <a:lnTo>
                    <a:pt x="1205" y="686"/>
                  </a:lnTo>
                  <a:lnTo>
                    <a:pt x="1203" y="694"/>
                  </a:lnTo>
                  <a:lnTo>
                    <a:pt x="1200" y="712"/>
                  </a:lnTo>
                  <a:lnTo>
                    <a:pt x="1199" y="720"/>
                  </a:lnTo>
                  <a:lnTo>
                    <a:pt x="1197" y="728"/>
                  </a:lnTo>
                  <a:lnTo>
                    <a:pt x="1196" y="730"/>
                  </a:lnTo>
                  <a:lnTo>
                    <a:pt x="1194" y="732"/>
                  </a:lnTo>
                  <a:lnTo>
                    <a:pt x="1193" y="733"/>
                  </a:lnTo>
                  <a:lnTo>
                    <a:pt x="1190" y="732"/>
                  </a:lnTo>
                  <a:lnTo>
                    <a:pt x="1185" y="731"/>
                  </a:lnTo>
                  <a:lnTo>
                    <a:pt x="1181" y="729"/>
                  </a:lnTo>
                  <a:lnTo>
                    <a:pt x="1179" y="728"/>
                  </a:lnTo>
                  <a:lnTo>
                    <a:pt x="1179" y="726"/>
                  </a:lnTo>
                  <a:lnTo>
                    <a:pt x="1179" y="723"/>
                  </a:lnTo>
                  <a:lnTo>
                    <a:pt x="1179" y="718"/>
                  </a:lnTo>
                  <a:lnTo>
                    <a:pt x="1182" y="707"/>
                  </a:lnTo>
                  <a:lnTo>
                    <a:pt x="1184" y="696"/>
                  </a:lnTo>
                  <a:lnTo>
                    <a:pt x="1185" y="691"/>
                  </a:lnTo>
                  <a:lnTo>
                    <a:pt x="1184" y="686"/>
                  </a:lnTo>
                  <a:lnTo>
                    <a:pt x="1183" y="682"/>
                  </a:lnTo>
                  <a:lnTo>
                    <a:pt x="1181" y="679"/>
                  </a:lnTo>
                  <a:lnTo>
                    <a:pt x="1177" y="676"/>
                  </a:lnTo>
                  <a:lnTo>
                    <a:pt x="1171" y="674"/>
                  </a:lnTo>
                  <a:lnTo>
                    <a:pt x="1163" y="673"/>
                  </a:lnTo>
                  <a:lnTo>
                    <a:pt x="1156" y="671"/>
                  </a:lnTo>
                  <a:lnTo>
                    <a:pt x="1150" y="669"/>
                  </a:lnTo>
                  <a:lnTo>
                    <a:pt x="1145" y="667"/>
                  </a:lnTo>
                  <a:lnTo>
                    <a:pt x="1144" y="665"/>
                  </a:lnTo>
                  <a:lnTo>
                    <a:pt x="1143" y="664"/>
                  </a:lnTo>
                  <a:lnTo>
                    <a:pt x="1143" y="661"/>
                  </a:lnTo>
                  <a:lnTo>
                    <a:pt x="1144" y="659"/>
                  </a:lnTo>
                  <a:lnTo>
                    <a:pt x="1151" y="648"/>
                  </a:lnTo>
                  <a:lnTo>
                    <a:pt x="1154" y="640"/>
                  </a:lnTo>
                  <a:lnTo>
                    <a:pt x="1156" y="635"/>
                  </a:lnTo>
                  <a:lnTo>
                    <a:pt x="1155" y="629"/>
                  </a:lnTo>
                  <a:lnTo>
                    <a:pt x="1145" y="621"/>
                  </a:lnTo>
                  <a:lnTo>
                    <a:pt x="1131" y="603"/>
                  </a:lnTo>
                  <a:lnTo>
                    <a:pt x="1128" y="599"/>
                  </a:lnTo>
                  <a:lnTo>
                    <a:pt x="1124" y="594"/>
                  </a:lnTo>
                  <a:lnTo>
                    <a:pt x="1122" y="588"/>
                  </a:lnTo>
                  <a:lnTo>
                    <a:pt x="1121" y="583"/>
                  </a:lnTo>
                  <a:lnTo>
                    <a:pt x="1120" y="578"/>
                  </a:lnTo>
                  <a:lnTo>
                    <a:pt x="1120" y="574"/>
                  </a:lnTo>
                  <a:lnTo>
                    <a:pt x="1122" y="569"/>
                  </a:lnTo>
                  <a:lnTo>
                    <a:pt x="1125" y="564"/>
                  </a:lnTo>
                  <a:lnTo>
                    <a:pt x="1138" y="552"/>
                  </a:lnTo>
                  <a:lnTo>
                    <a:pt x="1145" y="545"/>
                  </a:lnTo>
                  <a:lnTo>
                    <a:pt x="1147" y="542"/>
                  </a:lnTo>
                  <a:lnTo>
                    <a:pt x="1149" y="540"/>
                  </a:lnTo>
                  <a:lnTo>
                    <a:pt x="1147" y="538"/>
                  </a:lnTo>
                  <a:lnTo>
                    <a:pt x="1145" y="535"/>
                  </a:lnTo>
                  <a:lnTo>
                    <a:pt x="1136" y="530"/>
                  </a:lnTo>
                  <a:lnTo>
                    <a:pt x="1124" y="526"/>
                  </a:lnTo>
                  <a:lnTo>
                    <a:pt x="1122" y="525"/>
                  </a:lnTo>
                  <a:lnTo>
                    <a:pt x="1121" y="523"/>
                  </a:lnTo>
                  <a:lnTo>
                    <a:pt x="1121" y="522"/>
                  </a:lnTo>
                  <a:lnTo>
                    <a:pt x="1121" y="521"/>
                  </a:lnTo>
                  <a:lnTo>
                    <a:pt x="1125" y="519"/>
                  </a:lnTo>
                  <a:lnTo>
                    <a:pt x="1135" y="516"/>
                  </a:lnTo>
                  <a:lnTo>
                    <a:pt x="1145" y="514"/>
                  </a:lnTo>
                  <a:lnTo>
                    <a:pt x="1152" y="513"/>
                  </a:lnTo>
                  <a:lnTo>
                    <a:pt x="1156" y="513"/>
                  </a:lnTo>
                  <a:lnTo>
                    <a:pt x="1158" y="514"/>
                  </a:lnTo>
                  <a:lnTo>
                    <a:pt x="1161" y="518"/>
                  </a:lnTo>
                  <a:lnTo>
                    <a:pt x="1166" y="522"/>
                  </a:lnTo>
                  <a:lnTo>
                    <a:pt x="1171" y="523"/>
                  </a:lnTo>
                  <a:lnTo>
                    <a:pt x="1174" y="523"/>
                  </a:lnTo>
                  <a:lnTo>
                    <a:pt x="1176" y="521"/>
                  </a:lnTo>
                  <a:lnTo>
                    <a:pt x="1178" y="518"/>
                  </a:lnTo>
                  <a:lnTo>
                    <a:pt x="1181" y="511"/>
                  </a:lnTo>
                  <a:lnTo>
                    <a:pt x="1183" y="505"/>
                  </a:lnTo>
                  <a:lnTo>
                    <a:pt x="1185" y="498"/>
                  </a:lnTo>
                  <a:lnTo>
                    <a:pt x="1190" y="487"/>
                  </a:lnTo>
                  <a:lnTo>
                    <a:pt x="1197" y="475"/>
                  </a:lnTo>
                  <a:lnTo>
                    <a:pt x="1202" y="469"/>
                  </a:lnTo>
                  <a:lnTo>
                    <a:pt x="1208" y="465"/>
                  </a:lnTo>
                  <a:lnTo>
                    <a:pt x="1218" y="459"/>
                  </a:lnTo>
                  <a:lnTo>
                    <a:pt x="1222" y="454"/>
                  </a:lnTo>
                  <a:lnTo>
                    <a:pt x="1224" y="451"/>
                  </a:lnTo>
                  <a:lnTo>
                    <a:pt x="1225" y="449"/>
                  </a:lnTo>
                  <a:lnTo>
                    <a:pt x="1225" y="448"/>
                  </a:lnTo>
                  <a:lnTo>
                    <a:pt x="1224" y="446"/>
                  </a:lnTo>
                  <a:lnTo>
                    <a:pt x="1223" y="445"/>
                  </a:lnTo>
                  <a:lnTo>
                    <a:pt x="1219" y="443"/>
                  </a:lnTo>
                  <a:lnTo>
                    <a:pt x="1213" y="443"/>
                  </a:lnTo>
                  <a:lnTo>
                    <a:pt x="1207" y="444"/>
                  </a:lnTo>
                  <a:lnTo>
                    <a:pt x="1201" y="445"/>
                  </a:lnTo>
                  <a:lnTo>
                    <a:pt x="1188" y="448"/>
                  </a:lnTo>
                  <a:lnTo>
                    <a:pt x="1179" y="448"/>
                  </a:lnTo>
                  <a:lnTo>
                    <a:pt x="1172" y="448"/>
                  </a:lnTo>
                  <a:lnTo>
                    <a:pt x="1165" y="448"/>
                  </a:lnTo>
                  <a:lnTo>
                    <a:pt x="1160" y="449"/>
                  </a:lnTo>
                  <a:lnTo>
                    <a:pt x="1155" y="451"/>
                  </a:lnTo>
                  <a:lnTo>
                    <a:pt x="1147" y="454"/>
                  </a:lnTo>
                  <a:lnTo>
                    <a:pt x="1135" y="460"/>
                  </a:lnTo>
                  <a:lnTo>
                    <a:pt x="1130" y="463"/>
                  </a:lnTo>
                  <a:lnTo>
                    <a:pt x="1123" y="466"/>
                  </a:lnTo>
                  <a:lnTo>
                    <a:pt x="1119" y="470"/>
                  </a:lnTo>
                  <a:lnTo>
                    <a:pt x="1117" y="473"/>
                  </a:lnTo>
                  <a:lnTo>
                    <a:pt x="1120" y="482"/>
                  </a:lnTo>
                  <a:lnTo>
                    <a:pt x="1121" y="492"/>
                  </a:lnTo>
                  <a:lnTo>
                    <a:pt x="1118" y="501"/>
                  </a:lnTo>
                  <a:lnTo>
                    <a:pt x="1115" y="511"/>
                  </a:lnTo>
                  <a:lnTo>
                    <a:pt x="1114" y="519"/>
                  </a:lnTo>
                  <a:lnTo>
                    <a:pt x="1113" y="525"/>
                  </a:lnTo>
                  <a:lnTo>
                    <a:pt x="1114" y="530"/>
                  </a:lnTo>
                  <a:lnTo>
                    <a:pt x="1117" y="537"/>
                  </a:lnTo>
                  <a:lnTo>
                    <a:pt x="1118" y="541"/>
                  </a:lnTo>
                  <a:lnTo>
                    <a:pt x="1118" y="545"/>
                  </a:lnTo>
                  <a:lnTo>
                    <a:pt x="1118" y="550"/>
                  </a:lnTo>
                  <a:lnTo>
                    <a:pt x="1116" y="555"/>
                  </a:lnTo>
                  <a:lnTo>
                    <a:pt x="1106" y="572"/>
                  </a:lnTo>
                  <a:lnTo>
                    <a:pt x="1098" y="583"/>
                  </a:lnTo>
                  <a:lnTo>
                    <a:pt x="1094" y="586"/>
                  </a:lnTo>
                  <a:lnTo>
                    <a:pt x="1089" y="590"/>
                  </a:lnTo>
                  <a:lnTo>
                    <a:pt x="1087" y="592"/>
                  </a:lnTo>
                  <a:lnTo>
                    <a:pt x="1084" y="594"/>
                  </a:lnTo>
                  <a:lnTo>
                    <a:pt x="1083" y="598"/>
                  </a:lnTo>
                  <a:lnTo>
                    <a:pt x="1083" y="603"/>
                  </a:lnTo>
                  <a:lnTo>
                    <a:pt x="1084" y="607"/>
                  </a:lnTo>
                  <a:lnTo>
                    <a:pt x="1085" y="610"/>
                  </a:lnTo>
                  <a:lnTo>
                    <a:pt x="1087" y="614"/>
                  </a:lnTo>
                  <a:lnTo>
                    <a:pt x="1088" y="616"/>
                  </a:lnTo>
                  <a:lnTo>
                    <a:pt x="1090" y="618"/>
                  </a:lnTo>
                  <a:lnTo>
                    <a:pt x="1090" y="620"/>
                  </a:lnTo>
                  <a:lnTo>
                    <a:pt x="1090" y="623"/>
                  </a:lnTo>
                  <a:lnTo>
                    <a:pt x="1088" y="627"/>
                  </a:lnTo>
                  <a:lnTo>
                    <a:pt x="1083" y="638"/>
                  </a:lnTo>
                  <a:lnTo>
                    <a:pt x="1080" y="645"/>
                  </a:lnTo>
                  <a:lnTo>
                    <a:pt x="1081" y="648"/>
                  </a:lnTo>
                  <a:lnTo>
                    <a:pt x="1087" y="652"/>
                  </a:lnTo>
                  <a:lnTo>
                    <a:pt x="1094" y="658"/>
                  </a:lnTo>
                  <a:lnTo>
                    <a:pt x="1102" y="663"/>
                  </a:lnTo>
                  <a:lnTo>
                    <a:pt x="1111" y="668"/>
                  </a:lnTo>
                  <a:lnTo>
                    <a:pt x="1118" y="673"/>
                  </a:lnTo>
                  <a:lnTo>
                    <a:pt x="1121" y="675"/>
                  </a:lnTo>
                  <a:lnTo>
                    <a:pt x="1122" y="678"/>
                  </a:lnTo>
                  <a:lnTo>
                    <a:pt x="1123" y="680"/>
                  </a:lnTo>
                  <a:lnTo>
                    <a:pt x="1123" y="681"/>
                  </a:lnTo>
                  <a:lnTo>
                    <a:pt x="1121" y="692"/>
                  </a:lnTo>
                  <a:lnTo>
                    <a:pt x="1119" y="709"/>
                  </a:lnTo>
                  <a:lnTo>
                    <a:pt x="1118" y="718"/>
                  </a:lnTo>
                  <a:lnTo>
                    <a:pt x="1116" y="727"/>
                  </a:lnTo>
                  <a:lnTo>
                    <a:pt x="1113" y="734"/>
                  </a:lnTo>
                  <a:lnTo>
                    <a:pt x="1110" y="739"/>
                  </a:lnTo>
                  <a:lnTo>
                    <a:pt x="1100" y="747"/>
                  </a:lnTo>
                  <a:lnTo>
                    <a:pt x="1090" y="753"/>
                  </a:lnTo>
                  <a:lnTo>
                    <a:pt x="1086" y="756"/>
                  </a:lnTo>
                  <a:lnTo>
                    <a:pt x="1083" y="759"/>
                  </a:lnTo>
                  <a:lnTo>
                    <a:pt x="1080" y="762"/>
                  </a:lnTo>
                  <a:lnTo>
                    <a:pt x="1080" y="764"/>
                  </a:lnTo>
                  <a:lnTo>
                    <a:pt x="1083" y="771"/>
                  </a:lnTo>
                  <a:lnTo>
                    <a:pt x="1087" y="778"/>
                  </a:lnTo>
                  <a:lnTo>
                    <a:pt x="1088" y="781"/>
                  </a:lnTo>
                  <a:lnTo>
                    <a:pt x="1088" y="783"/>
                  </a:lnTo>
                  <a:lnTo>
                    <a:pt x="1087" y="785"/>
                  </a:lnTo>
                  <a:lnTo>
                    <a:pt x="1085" y="786"/>
                  </a:lnTo>
                  <a:lnTo>
                    <a:pt x="1080" y="786"/>
                  </a:lnTo>
                  <a:lnTo>
                    <a:pt x="1076" y="785"/>
                  </a:lnTo>
                  <a:lnTo>
                    <a:pt x="1072" y="783"/>
                  </a:lnTo>
                  <a:lnTo>
                    <a:pt x="1069" y="781"/>
                  </a:lnTo>
                  <a:lnTo>
                    <a:pt x="1066" y="779"/>
                  </a:lnTo>
                  <a:lnTo>
                    <a:pt x="1064" y="776"/>
                  </a:lnTo>
                  <a:lnTo>
                    <a:pt x="1062" y="774"/>
                  </a:lnTo>
                  <a:lnTo>
                    <a:pt x="1062" y="771"/>
                  </a:lnTo>
                  <a:lnTo>
                    <a:pt x="1064" y="764"/>
                  </a:lnTo>
                  <a:lnTo>
                    <a:pt x="1068" y="755"/>
                  </a:lnTo>
                  <a:lnTo>
                    <a:pt x="1070" y="751"/>
                  </a:lnTo>
                  <a:lnTo>
                    <a:pt x="1070" y="747"/>
                  </a:lnTo>
                  <a:lnTo>
                    <a:pt x="1070" y="745"/>
                  </a:lnTo>
                  <a:lnTo>
                    <a:pt x="1069" y="742"/>
                  </a:lnTo>
                  <a:lnTo>
                    <a:pt x="1067" y="740"/>
                  </a:lnTo>
                  <a:lnTo>
                    <a:pt x="1065" y="739"/>
                  </a:lnTo>
                  <a:lnTo>
                    <a:pt x="1062" y="737"/>
                  </a:lnTo>
                  <a:lnTo>
                    <a:pt x="1058" y="734"/>
                  </a:lnTo>
                  <a:lnTo>
                    <a:pt x="1057" y="732"/>
                  </a:lnTo>
                  <a:lnTo>
                    <a:pt x="1057" y="730"/>
                  </a:lnTo>
                  <a:lnTo>
                    <a:pt x="1057" y="728"/>
                  </a:lnTo>
                  <a:lnTo>
                    <a:pt x="1059" y="727"/>
                  </a:lnTo>
                  <a:lnTo>
                    <a:pt x="1062" y="726"/>
                  </a:lnTo>
                  <a:lnTo>
                    <a:pt x="1065" y="726"/>
                  </a:lnTo>
                  <a:lnTo>
                    <a:pt x="1068" y="725"/>
                  </a:lnTo>
                  <a:lnTo>
                    <a:pt x="1071" y="723"/>
                  </a:lnTo>
                  <a:lnTo>
                    <a:pt x="1074" y="719"/>
                  </a:lnTo>
                  <a:lnTo>
                    <a:pt x="1077" y="715"/>
                  </a:lnTo>
                  <a:lnTo>
                    <a:pt x="1079" y="710"/>
                  </a:lnTo>
                  <a:lnTo>
                    <a:pt x="1081" y="705"/>
                  </a:lnTo>
                  <a:lnTo>
                    <a:pt x="1083" y="700"/>
                  </a:lnTo>
                  <a:lnTo>
                    <a:pt x="1084" y="694"/>
                  </a:lnTo>
                  <a:lnTo>
                    <a:pt x="1084" y="688"/>
                  </a:lnTo>
                  <a:lnTo>
                    <a:pt x="1083" y="682"/>
                  </a:lnTo>
                  <a:lnTo>
                    <a:pt x="1079" y="674"/>
                  </a:lnTo>
                  <a:lnTo>
                    <a:pt x="1076" y="668"/>
                  </a:lnTo>
                  <a:lnTo>
                    <a:pt x="1071" y="664"/>
                  </a:lnTo>
                  <a:lnTo>
                    <a:pt x="1067" y="661"/>
                  </a:lnTo>
                  <a:lnTo>
                    <a:pt x="1064" y="661"/>
                  </a:lnTo>
                  <a:lnTo>
                    <a:pt x="1062" y="661"/>
                  </a:lnTo>
                  <a:lnTo>
                    <a:pt x="1058" y="662"/>
                  </a:lnTo>
                  <a:lnTo>
                    <a:pt x="1056" y="664"/>
                  </a:lnTo>
                  <a:lnTo>
                    <a:pt x="1043" y="679"/>
                  </a:lnTo>
                  <a:lnTo>
                    <a:pt x="1040" y="681"/>
                  </a:lnTo>
                  <a:lnTo>
                    <a:pt x="1033" y="684"/>
                  </a:lnTo>
                  <a:lnTo>
                    <a:pt x="1020" y="691"/>
                  </a:lnTo>
                  <a:lnTo>
                    <a:pt x="1014" y="696"/>
                  </a:lnTo>
                  <a:lnTo>
                    <a:pt x="1010" y="703"/>
                  </a:lnTo>
                  <a:lnTo>
                    <a:pt x="1009" y="706"/>
                  </a:lnTo>
                  <a:lnTo>
                    <a:pt x="1010" y="708"/>
                  </a:lnTo>
                  <a:lnTo>
                    <a:pt x="1011" y="711"/>
                  </a:lnTo>
                  <a:lnTo>
                    <a:pt x="1014" y="714"/>
                  </a:lnTo>
                  <a:lnTo>
                    <a:pt x="1022" y="719"/>
                  </a:lnTo>
                  <a:lnTo>
                    <a:pt x="1027" y="724"/>
                  </a:lnTo>
                  <a:lnTo>
                    <a:pt x="1032" y="725"/>
                  </a:lnTo>
                  <a:lnTo>
                    <a:pt x="1036" y="726"/>
                  </a:lnTo>
                  <a:lnTo>
                    <a:pt x="1042" y="726"/>
                  </a:lnTo>
                  <a:lnTo>
                    <a:pt x="1043" y="727"/>
                  </a:lnTo>
                  <a:lnTo>
                    <a:pt x="1045" y="729"/>
                  </a:lnTo>
                  <a:lnTo>
                    <a:pt x="1050" y="729"/>
                  </a:lnTo>
                  <a:lnTo>
                    <a:pt x="1052" y="730"/>
                  </a:lnTo>
                  <a:lnTo>
                    <a:pt x="1053" y="730"/>
                  </a:lnTo>
                  <a:lnTo>
                    <a:pt x="1053" y="732"/>
                  </a:lnTo>
                  <a:lnTo>
                    <a:pt x="1051" y="733"/>
                  </a:lnTo>
                  <a:lnTo>
                    <a:pt x="1043" y="738"/>
                  </a:lnTo>
                  <a:lnTo>
                    <a:pt x="1033" y="742"/>
                  </a:lnTo>
                  <a:lnTo>
                    <a:pt x="1029" y="745"/>
                  </a:lnTo>
                  <a:lnTo>
                    <a:pt x="1025" y="747"/>
                  </a:lnTo>
                  <a:lnTo>
                    <a:pt x="1024" y="749"/>
                  </a:lnTo>
                  <a:lnTo>
                    <a:pt x="1023" y="751"/>
                  </a:lnTo>
                  <a:lnTo>
                    <a:pt x="1024" y="757"/>
                  </a:lnTo>
                  <a:lnTo>
                    <a:pt x="1025" y="764"/>
                  </a:lnTo>
                  <a:lnTo>
                    <a:pt x="1025" y="767"/>
                  </a:lnTo>
                  <a:lnTo>
                    <a:pt x="1025" y="769"/>
                  </a:lnTo>
                  <a:lnTo>
                    <a:pt x="1024" y="770"/>
                  </a:lnTo>
                  <a:lnTo>
                    <a:pt x="1022" y="770"/>
                  </a:lnTo>
                  <a:lnTo>
                    <a:pt x="1006" y="769"/>
                  </a:lnTo>
                  <a:lnTo>
                    <a:pt x="980" y="769"/>
                  </a:lnTo>
                  <a:lnTo>
                    <a:pt x="965" y="769"/>
                  </a:lnTo>
                  <a:lnTo>
                    <a:pt x="953" y="768"/>
                  </a:lnTo>
                  <a:lnTo>
                    <a:pt x="942" y="767"/>
                  </a:lnTo>
                  <a:lnTo>
                    <a:pt x="935" y="763"/>
                  </a:lnTo>
                  <a:lnTo>
                    <a:pt x="924" y="755"/>
                  </a:lnTo>
                  <a:lnTo>
                    <a:pt x="911" y="747"/>
                  </a:lnTo>
                  <a:lnTo>
                    <a:pt x="903" y="745"/>
                  </a:lnTo>
                  <a:lnTo>
                    <a:pt x="897" y="744"/>
                  </a:lnTo>
                  <a:lnTo>
                    <a:pt x="894" y="744"/>
                  </a:lnTo>
                  <a:lnTo>
                    <a:pt x="891" y="745"/>
                  </a:lnTo>
                  <a:lnTo>
                    <a:pt x="889" y="746"/>
                  </a:lnTo>
                  <a:lnTo>
                    <a:pt x="888" y="749"/>
                  </a:lnTo>
                  <a:lnTo>
                    <a:pt x="879" y="759"/>
                  </a:lnTo>
                  <a:lnTo>
                    <a:pt x="871" y="769"/>
                  </a:lnTo>
                  <a:lnTo>
                    <a:pt x="867" y="773"/>
                  </a:lnTo>
                  <a:lnTo>
                    <a:pt x="865" y="777"/>
                  </a:lnTo>
                  <a:lnTo>
                    <a:pt x="864" y="780"/>
                  </a:lnTo>
                  <a:lnTo>
                    <a:pt x="864" y="783"/>
                  </a:lnTo>
                  <a:lnTo>
                    <a:pt x="868" y="790"/>
                  </a:lnTo>
                  <a:lnTo>
                    <a:pt x="873" y="798"/>
                  </a:lnTo>
                  <a:lnTo>
                    <a:pt x="874" y="802"/>
                  </a:lnTo>
                  <a:lnTo>
                    <a:pt x="876" y="805"/>
                  </a:lnTo>
                  <a:lnTo>
                    <a:pt x="876" y="808"/>
                  </a:lnTo>
                  <a:lnTo>
                    <a:pt x="875" y="811"/>
                  </a:lnTo>
                  <a:lnTo>
                    <a:pt x="870" y="818"/>
                  </a:lnTo>
                  <a:lnTo>
                    <a:pt x="865" y="828"/>
                  </a:lnTo>
                  <a:lnTo>
                    <a:pt x="861" y="833"/>
                  </a:lnTo>
                  <a:lnTo>
                    <a:pt x="858" y="836"/>
                  </a:lnTo>
                  <a:lnTo>
                    <a:pt x="857" y="836"/>
                  </a:lnTo>
                  <a:lnTo>
                    <a:pt x="856" y="836"/>
                  </a:lnTo>
                  <a:lnTo>
                    <a:pt x="854" y="835"/>
                  </a:lnTo>
                  <a:lnTo>
                    <a:pt x="853" y="833"/>
                  </a:lnTo>
                  <a:lnTo>
                    <a:pt x="849" y="822"/>
                  </a:lnTo>
                  <a:lnTo>
                    <a:pt x="843" y="810"/>
                  </a:lnTo>
                  <a:lnTo>
                    <a:pt x="839" y="804"/>
                  </a:lnTo>
                  <a:lnTo>
                    <a:pt x="836" y="798"/>
                  </a:lnTo>
                  <a:lnTo>
                    <a:pt x="833" y="794"/>
                  </a:lnTo>
                  <a:lnTo>
                    <a:pt x="829" y="790"/>
                  </a:lnTo>
                  <a:lnTo>
                    <a:pt x="816" y="784"/>
                  </a:lnTo>
                  <a:lnTo>
                    <a:pt x="811" y="783"/>
                  </a:lnTo>
                  <a:lnTo>
                    <a:pt x="803" y="789"/>
                  </a:lnTo>
                  <a:lnTo>
                    <a:pt x="794" y="794"/>
                  </a:lnTo>
                  <a:lnTo>
                    <a:pt x="785" y="795"/>
                  </a:lnTo>
                  <a:lnTo>
                    <a:pt x="765" y="797"/>
                  </a:lnTo>
                  <a:lnTo>
                    <a:pt x="744" y="798"/>
                  </a:lnTo>
                  <a:lnTo>
                    <a:pt x="734" y="799"/>
                  </a:lnTo>
                  <a:lnTo>
                    <a:pt x="730" y="797"/>
                  </a:lnTo>
                  <a:lnTo>
                    <a:pt x="728" y="795"/>
                  </a:lnTo>
                  <a:lnTo>
                    <a:pt x="728" y="793"/>
                  </a:lnTo>
                  <a:lnTo>
                    <a:pt x="729" y="792"/>
                  </a:lnTo>
                  <a:lnTo>
                    <a:pt x="730" y="790"/>
                  </a:lnTo>
                  <a:lnTo>
                    <a:pt x="734" y="788"/>
                  </a:lnTo>
                  <a:lnTo>
                    <a:pt x="741" y="782"/>
                  </a:lnTo>
                  <a:lnTo>
                    <a:pt x="747" y="776"/>
                  </a:lnTo>
                  <a:lnTo>
                    <a:pt x="750" y="771"/>
                  </a:lnTo>
                  <a:lnTo>
                    <a:pt x="751" y="769"/>
                  </a:lnTo>
                  <a:lnTo>
                    <a:pt x="750" y="766"/>
                  </a:lnTo>
                  <a:lnTo>
                    <a:pt x="747" y="758"/>
                  </a:lnTo>
                  <a:lnTo>
                    <a:pt x="744" y="754"/>
                  </a:lnTo>
                  <a:lnTo>
                    <a:pt x="740" y="751"/>
                  </a:lnTo>
                  <a:lnTo>
                    <a:pt x="736" y="749"/>
                  </a:lnTo>
                  <a:lnTo>
                    <a:pt x="729" y="748"/>
                  </a:lnTo>
                  <a:lnTo>
                    <a:pt x="719" y="750"/>
                  </a:lnTo>
                  <a:lnTo>
                    <a:pt x="710" y="753"/>
                  </a:lnTo>
                  <a:lnTo>
                    <a:pt x="706" y="754"/>
                  </a:lnTo>
                  <a:lnTo>
                    <a:pt x="702" y="755"/>
                  </a:lnTo>
                  <a:lnTo>
                    <a:pt x="700" y="754"/>
                  </a:lnTo>
                  <a:lnTo>
                    <a:pt x="697" y="753"/>
                  </a:lnTo>
                  <a:lnTo>
                    <a:pt x="684" y="746"/>
                  </a:lnTo>
                  <a:lnTo>
                    <a:pt x="663" y="736"/>
                  </a:lnTo>
                  <a:lnTo>
                    <a:pt x="652" y="732"/>
                  </a:lnTo>
                  <a:lnTo>
                    <a:pt x="640" y="730"/>
                  </a:lnTo>
                  <a:lnTo>
                    <a:pt x="636" y="730"/>
                  </a:lnTo>
                  <a:lnTo>
                    <a:pt x="632" y="730"/>
                  </a:lnTo>
                  <a:lnTo>
                    <a:pt x="629" y="730"/>
                  </a:lnTo>
                  <a:lnTo>
                    <a:pt x="627" y="732"/>
                  </a:lnTo>
                  <a:lnTo>
                    <a:pt x="620" y="740"/>
                  </a:lnTo>
                  <a:lnTo>
                    <a:pt x="615" y="747"/>
                  </a:lnTo>
                  <a:lnTo>
                    <a:pt x="612" y="749"/>
                  </a:lnTo>
                  <a:lnTo>
                    <a:pt x="611" y="751"/>
                  </a:lnTo>
                  <a:lnTo>
                    <a:pt x="609" y="751"/>
                  </a:lnTo>
                  <a:lnTo>
                    <a:pt x="607" y="750"/>
                  </a:lnTo>
                  <a:lnTo>
                    <a:pt x="605" y="742"/>
                  </a:lnTo>
                  <a:lnTo>
                    <a:pt x="603" y="730"/>
                  </a:lnTo>
                  <a:lnTo>
                    <a:pt x="603" y="725"/>
                  </a:lnTo>
                  <a:lnTo>
                    <a:pt x="602" y="719"/>
                  </a:lnTo>
                  <a:lnTo>
                    <a:pt x="601" y="718"/>
                  </a:lnTo>
                  <a:lnTo>
                    <a:pt x="600" y="718"/>
                  </a:lnTo>
                  <a:lnTo>
                    <a:pt x="598" y="718"/>
                  </a:lnTo>
                  <a:lnTo>
                    <a:pt x="597" y="719"/>
                  </a:lnTo>
                  <a:lnTo>
                    <a:pt x="591" y="730"/>
                  </a:lnTo>
                  <a:lnTo>
                    <a:pt x="583" y="741"/>
                  </a:lnTo>
                  <a:lnTo>
                    <a:pt x="579" y="748"/>
                  </a:lnTo>
                  <a:lnTo>
                    <a:pt x="575" y="752"/>
                  </a:lnTo>
                  <a:lnTo>
                    <a:pt x="573" y="754"/>
                  </a:lnTo>
                  <a:lnTo>
                    <a:pt x="572" y="755"/>
                  </a:lnTo>
                  <a:lnTo>
                    <a:pt x="569" y="746"/>
                  </a:lnTo>
                  <a:lnTo>
                    <a:pt x="565" y="730"/>
                  </a:lnTo>
                  <a:lnTo>
                    <a:pt x="563" y="722"/>
                  </a:lnTo>
                  <a:lnTo>
                    <a:pt x="561" y="715"/>
                  </a:lnTo>
                  <a:lnTo>
                    <a:pt x="559" y="713"/>
                  </a:lnTo>
                  <a:lnTo>
                    <a:pt x="558" y="711"/>
                  </a:lnTo>
                  <a:lnTo>
                    <a:pt x="555" y="711"/>
                  </a:lnTo>
                  <a:lnTo>
                    <a:pt x="554" y="711"/>
                  </a:lnTo>
                  <a:lnTo>
                    <a:pt x="549" y="716"/>
                  </a:lnTo>
                  <a:lnTo>
                    <a:pt x="547" y="720"/>
                  </a:lnTo>
                  <a:lnTo>
                    <a:pt x="546" y="725"/>
                  </a:lnTo>
                  <a:lnTo>
                    <a:pt x="547" y="729"/>
                  </a:lnTo>
                  <a:lnTo>
                    <a:pt x="548" y="733"/>
                  </a:lnTo>
                  <a:lnTo>
                    <a:pt x="547" y="737"/>
                  </a:lnTo>
                  <a:lnTo>
                    <a:pt x="544" y="742"/>
                  </a:lnTo>
                  <a:lnTo>
                    <a:pt x="538" y="749"/>
                  </a:lnTo>
                  <a:lnTo>
                    <a:pt x="533" y="751"/>
                  </a:lnTo>
                  <a:lnTo>
                    <a:pt x="529" y="751"/>
                  </a:lnTo>
                  <a:lnTo>
                    <a:pt x="526" y="751"/>
                  </a:lnTo>
                  <a:lnTo>
                    <a:pt x="522" y="749"/>
                  </a:lnTo>
                  <a:lnTo>
                    <a:pt x="519" y="748"/>
                  </a:lnTo>
                  <a:lnTo>
                    <a:pt x="516" y="747"/>
                  </a:lnTo>
                  <a:lnTo>
                    <a:pt x="513" y="749"/>
                  </a:lnTo>
                  <a:lnTo>
                    <a:pt x="510" y="752"/>
                  </a:lnTo>
                  <a:lnTo>
                    <a:pt x="501" y="764"/>
                  </a:lnTo>
                  <a:lnTo>
                    <a:pt x="489" y="779"/>
                  </a:lnTo>
                  <a:lnTo>
                    <a:pt x="483" y="790"/>
                  </a:lnTo>
                  <a:lnTo>
                    <a:pt x="476" y="801"/>
                  </a:lnTo>
                  <a:lnTo>
                    <a:pt x="471" y="810"/>
                  </a:lnTo>
                  <a:lnTo>
                    <a:pt x="467" y="813"/>
                  </a:lnTo>
                  <a:lnTo>
                    <a:pt x="465" y="812"/>
                  </a:lnTo>
                  <a:lnTo>
                    <a:pt x="460" y="811"/>
                  </a:lnTo>
                  <a:lnTo>
                    <a:pt x="457" y="810"/>
                  </a:lnTo>
                  <a:lnTo>
                    <a:pt x="456" y="808"/>
                  </a:lnTo>
                  <a:lnTo>
                    <a:pt x="455" y="806"/>
                  </a:lnTo>
                  <a:lnTo>
                    <a:pt x="455" y="804"/>
                  </a:lnTo>
                  <a:lnTo>
                    <a:pt x="456" y="801"/>
                  </a:lnTo>
                  <a:lnTo>
                    <a:pt x="457" y="797"/>
                  </a:lnTo>
                  <a:lnTo>
                    <a:pt x="457" y="793"/>
                  </a:lnTo>
                  <a:lnTo>
                    <a:pt x="457" y="790"/>
                  </a:lnTo>
                  <a:lnTo>
                    <a:pt x="456" y="785"/>
                  </a:lnTo>
                  <a:lnTo>
                    <a:pt x="455" y="783"/>
                  </a:lnTo>
                  <a:lnTo>
                    <a:pt x="453" y="782"/>
                  </a:lnTo>
                  <a:lnTo>
                    <a:pt x="451" y="782"/>
                  </a:lnTo>
                  <a:lnTo>
                    <a:pt x="445" y="783"/>
                  </a:lnTo>
                  <a:lnTo>
                    <a:pt x="441" y="785"/>
                  </a:lnTo>
                  <a:lnTo>
                    <a:pt x="439" y="788"/>
                  </a:lnTo>
                  <a:lnTo>
                    <a:pt x="437" y="791"/>
                  </a:lnTo>
                  <a:lnTo>
                    <a:pt x="436" y="794"/>
                  </a:lnTo>
                  <a:lnTo>
                    <a:pt x="436" y="797"/>
                  </a:lnTo>
                  <a:lnTo>
                    <a:pt x="436" y="805"/>
                  </a:lnTo>
                  <a:lnTo>
                    <a:pt x="435" y="812"/>
                  </a:lnTo>
                  <a:lnTo>
                    <a:pt x="434" y="817"/>
                  </a:lnTo>
                  <a:lnTo>
                    <a:pt x="432" y="821"/>
                  </a:lnTo>
                  <a:lnTo>
                    <a:pt x="431" y="822"/>
                  </a:lnTo>
                  <a:lnTo>
                    <a:pt x="429" y="822"/>
                  </a:lnTo>
                  <a:lnTo>
                    <a:pt x="427" y="822"/>
                  </a:lnTo>
                  <a:lnTo>
                    <a:pt x="425" y="821"/>
                  </a:lnTo>
                  <a:lnTo>
                    <a:pt x="420" y="819"/>
                  </a:lnTo>
                  <a:lnTo>
                    <a:pt x="418" y="818"/>
                  </a:lnTo>
                  <a:lnTo>
                    <a:pt x="415" y="815"/>
                  </a:lnTo>
                  <a:lnTo>
                    <a:pt x="409" y="806"/>
                  </a:lnTo>
                  <a:lnTo>
                    <a:pt x="404" y="802"/>
                  </a:lnTo>
                  <a:lnTo>
                    <a:pt x="399" y="799"/>
                  </a:lnTo>
                  <a:lnTo>
                    <a:pt x="394" y="797"/>
                  </a:lnTo>
                  <a:lnTo>
                    <a:pt x="390" y="796"/>
                  </a:lnTo>
                  <a:lnTo>
                    <a:pt x="382" y="797"/>
                  </a:lnTo>
                  <a:lnTo>
                    <a:pt x="370" y="798"/>
                  </a:lnTo>
                  <a:lnTo>
                    <a:pt x="361" y="799"/>
                  </a:lnTo>
                  <a:lnTo>
                    <a:pt x="357" y="799"/>
                  </a:lnTo>
                  <a:lnTo>
                    <a:pt x="357" y="797"/>
                  </a:lnTo>
                  <a:lnTo>
                    <a:pt x="356" y="792"/>
                  </a:lnTo>
                  <a:lnTo>
                    <a:pt x="354" y="790"/>
                  </a:lnTo>
                  <a:lnTo>
                    <a:pt x="352" y="789"/>
                  </a:lnTo>
                  <a:lnTo>
                    <a:pt x="348" y="790"/>
                  </a:lnTo>
                  <a:lnTo>
                    <a:pt x="343" y="793"/>
                  </a:lnTo>
                  <a:lnTo>
                    <a:pt x="333" y="800"/>
                  </a:lnTo>
                  <a:lnTo>
                    <a:pt x="328" y="805"/>
                  </a:lnTo>
                  <a:lnTo>
                    <a:pt x="326" y="806"/>
                  </a:lnTo>
                  <a:lnTo>
                    <a:pt x="325" y="806"/>
                  </a:lnTo>
                  <a:lnTo>
                    <a:pt x="324" y="806"/>
                  </a:lnTo>
                  <a:lnTo>
                    <a:pt x="324" y="805"/>
                  </a:lnTo>
                  <a:lnTo>
                    <a:pt x="321" y="801"/>
                  </a:lnTo>
                  <a:lnTo>
                    <a:pt x="319" y="799"/>
                  </a:lnTo>
                  <a:lnTo>
                    <a:pt x="317" y="798"/>
                  </a:lnTo>
                  <a:lnTo>
                    <a:pt x="316" y="798"/>
                  </a:lnTo>
                  <a:lnTo>
                    <a:pt x="315" y="798"/>
                  </a:lnTo>
                  <a:lnTo>
                    <a:pt x="312" y="799"/>
                  </a:lnTo>
                  <a:lnTo>
                    <a:pt x="305" y="805"/>
                  </a:lnTo>
                  <a:lnTo>
                    <a:pt x="300" y="808"/>
                  </a:lnTo>
                  <a:lnTo>
                    <a:pt x="297" y="807"/>
                  </a:lnTo>
                  <a:lnTo>
                    <a:pt x="290" y="804"/>
                  </a:lnTo>
                  <a:lnTo>
                    <a:pt x="286" y="803"/>
                  </a:lnTo>
                  <a:lnTo>
                    <a:pt x="283" y="803"/>
                  </a:lnTo>
                  <a:lnTo>
                    <a:pt x="280" y="803"/>
                  </a:lnTo>
                  <a:lnTo>
                    <a:pt x="278" y="803"/>
                  </a:lnTo>
                  <a:lnTo>
                    <a:pt x="275" y="807"/>
                  </a:lnTo>
                  <a:lnTo>
                    <a:pt x="271" y="813"/>
                  </a:lnTo>
                  <a:lnTo>
                    <a:pt x="269" y="815"/>
                  </a:lnTo>
                  <a:lnTo>
                    <a:pt x="268" y="816"/>
                  </a:lnTo>
                  <a:lnTo>
                    <a:pt x="267" y="816"/>
                  </a:lnTo>
                  <a:lnTo>
                    <a:pt x="267" y="814"/>
                  </a:lnTo>
                  <a:lnTo>
                    <a:pt x="267" y="808"/>
                  </a:lnTo>
                  <a:lnTo>
                    <a:pt x="268" y="801"/>
                  </a:lnTo>
                  <a:lnTo>
                    <a:pt x="267" y="799"/>
                  </a:lnTo>
                  <a:lnTo>
                    <a:pt x="266" y="797"/>
                  </a:lnTo>
                  <a:lnTo>
                    <a:pt x="265" y="797"/>
                  </a:lnTo>
                  <a:lnTo>
                    <a:pt x="262" y="799"/>
                  </a:lnTo>
                  <a:lnTo>
                    <a:pt x="256" y="805"/>
                  </a:lnTo>
                  <a:lnTo>
                    <a:pt x="252" y="811"/>
                  </a:lnTo>
                  <a:lnTo>
                    <a:pt x="249" y="816"/>
                  </a:lnTo>
                  <a:lnTo>
                    <a:pt x="247" y="819"/>
                  </a:lnTo>
                  <a:lnTo>
                    <a:pt x="246" y="822"/>
                  </a:lnTo>
                  <a:lnTo>
                    <a:pt x="245" y="823"/>
                  </a:lnTo>
                  <a:lnTo>
                    <a:pt x="245" y="818"/>
                  </a:lnTo>
                  <a:lnTo>
                    <a:pt x="249" y="810"/>
                  </a:lnTo>
                  <a:lnTo>
                    <a:pt x="249" y="808"/>
                  </a:lnTo>
                  <a:lnTo>
                    <a:pt x="249" y="806"/>
                  </a:lnTo>
                  <a:lnTo>
                    <a:pt x="249" y="805"/>
                  </a:lnTo>
                  <a:lnTo>
                    <a:pt x="246" y="805"/>
                  </a:lnTo>
                  <a:lnTo>
                    <a:pt x="245" y="804"/>
                  </a:lnTo>
                  <a:lnTo>
                    <a:pt x="243" y="802"/>
                  </a:lnTo>
                  <a:lnTo>
                    <a:pt x="241" y="802"/>
                  </a:lnTo>
                  <a:lnTo>
                    <a:pt x="239" y="802"/>
                  </a:lnTo>
                  <a:lnTo>
                    <a:pt x="237" y="804"/>
                  </a:lnTo>
                  <a:lnTo>
                    <a:pt x="234" y="806"/>
                  </a:lnTo>
                  <a:lnTo>
                    <a:pt x="228" y="815"/>
                  </a:lnTo>
                  <a:lnTo>
                    <a:pt x="219" y="824"/>
                  </a:lnTo>
                  <a:lnTo>
                    <a:pt x="212" y="832"/>
                  </a:lnTo>
                  <a:lnTo>
                    <a:pt x="209" y="835"/>
                  </a:lnTo>
                  <a:lnTo>
                    <a:pt x="209" y="833"/>
                  </a:lnTo>
                  <a:lnTo>
                    <a:pt x="209" y="832"/>
                  </a:lnTo>
                  <a:lnTo>
                    <a:pt x="208" y="833"/>
                  </a:lnTo>
                  <a:lnTo>
                    <a:pt x="208" y="834"/>
                  </a:lnTo>
                  <a:lnTo>
                    <a:pt x="203" y="837"/>
                  </a:lnTo>
                  <a:lnTo>
                    <a:pt x="201" y="841"/>
                  </a:lnTo>
                  <a:lnTo>
                    <a:pt x="192" y="854"/>
                  </a:lnTo>
                  <a:lnTo>
                    <a:pt x="181" y="867"/>
                  </a:lnTo>
                  <a:lnTo>
                    <a:pt x="177" y="871"/>
                  </a:lnTo>
                  <a:lnTo>
                    <a:pt x="173" y="877"/>
                  </a:lnTo>
                  <a:lnTo>
                    <a:pt x="169" y="884"/>
                  </a:lnTo>
                  <a:lnTo>
                    <a:pt x="165" y="892"/>
                  </a:lnTo>
                  <a:lnTo>
                    <a:pt x="154" y="911"/>
                  </a:lnTo>
                  <a:lnTo>
                    <a:pt x="147" y="924"/>
                  </a:lnTo>
                  <a:lnTo>
                    <a:pt x="138" y="932"/>
                  </a:lnTo>
                  <a:lnTo>
                    <a:pt x="129" y="945"/>
                  </a:lnTo>
                  <a:lnTo>
                    <a:pt x="124" y="954"/>
                  </a:lnTo>
                  <a:lnTo>
                    <a:pt x="122" y="961"/>
                  </a:lnTo>
                  <a:lnTo>
                    <a:pt x="123" y="965"/>
                  </a:lnTo>
                  <a:lnTo>
                    <a:pt x="126" y="968"/>
                  </a:lnTo>
                  <a:lnTo>
                    <a:pt x="129" y="973"/>
                  </a:lnTo>
                  <a:lnTo>
                    <a:pt x="129" y="978"/>
                  </a:lnTo>
                  <a:lnTo>
                    <a:pt x="129" y="990"/>
                  </a:lnTo>
                  <a:lnTo>
                    <a:pt x="129" y="995"/>
                  </a:lnTo>
                  <a:lnTo>
                    <a:pt x="131" y="994"/>
                  </a:lnTo>
                  <a:lnTo>
                    <a:pt x="134" y="992"/>
                  </a:lnTo>
                  <a:lnTo>
                    <a:pt x="135" y="991"/>
                  </a:lnTo>
                  <a:lnTo>
                    <a:pt x="136" y="991"/>
                  </a:lnTo>
                  <a:lnTo>
                    <a:pt x="137" y="992"/>
                  </a:lnTo>
                  <a:lnTo>
                    <a:pt x="137" y="993"/>
                  </a:lnTo>
                  <a:lnTo>
                    <a:pt x="135" y="1001"/>
                  </a:lnTo>
                  <a:lnTo>
                    <a:pt x="135" y="1005"/>
                  </a:lnTo>
                  <a:lnTo>
                    <a:pt x="134" y="1011"/>
                  </a:lnTo>
                  <a:lnTo>
                    <a:pt x="132" y="1017"/>
                  </a:lnTo>
                  <a:lnTo>
                    <a:pt x="130" y="1020"/>
                  </a:lnTo>
                  <a:lnTo>
                    <a:pt x="129" y="1022"/>
                  </a:lnTo>
                  <a:lnTo>
                    <a:pt x="127" y="1022"/>
                  </a:lnTo>
                  <a:lnTo>
                    <a:pt x="125" y="1020"/>
                  </a:lnTo>
                  <a:lnTo>
                    <a:pt x="121" y="1013"/>
                  </a:lnTo>
                  <a:lnTo>
                    <a:pt x="120" y="1011"/>
                  </a:lnTo>
                  <a:lnTo>
                    <a:pt x="118" y="1015"/>
                  </a:lnTo>
                  <a:lnTo>
                    <a:pt x="111" y="1024"/>
                  </a:lnTo>
                  <a:lnTo>
                    <a:pt x="104" y="1035"/>
                  </a:lnTo>
                  <a:lnTo>
                    <a:pt x="98" y="1045"/>
                  </a:lnTo>
                  <a:lnTo>
                    <a:pt x="88" y="1056"/>
                  </a:lnTo>
                  <a:lnTo>
                    <a:pt x="84" y="1062"/>
                  </a:lnTo>
                  <a:lnTo>
                    <a:pt x="86" y="1067"/>
                  </a:lnTo>
                  <a:lnTo>
                    <a:pt x="88" y="1073"/>
                  </a:lnTo>
                  <a:lnTo>
                    <a:pt x="87" y="1076"/>
                  </a:lnTo>
                  <a:lnTo>
                    <a:pt x="86" y="1081"/>
                  </a:lnTo>
                  <a:lnTo>
                    <a:pt x="86" y="1085"/>
                  </a:lnTo>
                  <a:lnTo>
                    <a:pt x="87" y="1088"/>
                  </a:lnTo>
                  <a:lnTo>
                    <a:pt x="96" y="1088"/>
                  </a:lnTo>
                  <a:lnTo>
                    <a:pt x="103" y="1087"/>
                  </a:lnTo>
                  <a:lnTo>
                    <a:pt x="108" y="1084"/>
                  </a:lnTo>
                  <a:lnTo>
                    <a:pt x="113" y="1078"/>
                  </a:lnTo>
                  <a:lnTo>
                    <a:pt x="115" y="1074"/>
                  </a:lnTo>
                  <a:lnTo>
                    <a:pt x="118" y="1069"/>
                  </a:lnTo>
                  <a:lnTo>
                    <a:pt x="119" y="1068"/>
                  </a:lnTo>
                  <a:lnTo>
                    <a:pt x="119" y="1067"/>
                  </a:lnTo>
                  <a:lnTo>
                    <a:pt x="120" y="1068"/>
                  </a:lnTo>
                  <a:lnTo>
                    <a:pt x="119" y="1070"/>
                  </a:lnTo>
                  <a:lnTo>
                    <a:pt x="119" y="1080"/>
                  </a:lnTo>
                  <a:lnTo>
                    <a:pt x="120" y="1085"/>
                  </a:lnTo>
                  <a:lnTo>
                    <a:pt x="120" y="1087"/>
                  </a:lnTo>
                  <a:lnTo>
                    <a:pt x="120" y="1089"/>
                  </a:lnTo>
                  <a:lnTo>
                    <a:pt x="119" y="1091"/>
                  </a:lnTo>
                  <a:lnTo>
                    <a:pt x="116" y="1095"/>
                  </a:lnTo>
                  <a:lnTo>
                    <a:pt x="109" y="1102"/>
                  </a:lnTo>
                  <a:lnTo>
                    <a:pt x="104" y="1106"/>
                  </a:lnTo>
                  <a:lnTo>
                    <a:pt x="101" y="1117"/>
                  </a:lnTo>
                  <a:lnTo>
                    <a:pt x="96" y="1125"/>
                  </a:lnTo>
                  <a:lnTo>
                    <a:pt x="93" y="1124"/>
                  </a:lnTo>
                  <a:lnTo>
                    <a:pt x="92" y="1123"/>
                  </a:lnTo>
                  <a:lnTo>
                    <a:pt x="91" y="1123"/>
                  </a:lnTo>
                  <a:lnTo>
                    <a:pt x="90" y="1123"/>
                  </a:lnTo>
                  <a:lnTo>
                    <a:pt x="89" y="1124"/>
                  </a:lnTo>
                  <a:lnTo>
                    <a:pt x="88" y="1126"/>
                  </a:lnTo>
                  <a:lnTo>
                    <a:pt x="82" y="1137"/>
                  </a:lnTo>
                  <a:lnTo>
                    <a:pt x="79" y="1147"/>
                  </a:lnTo>
                  <a:lnTo>
                    <a:pt x="78" y="1153"/>
                  </a:lnTo>
                  <a:lnTo>
                    <a:pt x="75" y="1158"/>
                  </a:lnTo>
                  <a:lnTo>
                    <a:pt x="72" y="1161"/>
                  </a:lnTo>
                  <a:lnTo>
                    <a:pt x="71" y="1163"/>
                  </a:lnTo>
                  <a:lnTo>
                    <a:pt x="68" y="1168"/>
                  </a:lnTo>
                  <a:lnTo>
                    <a:pt x="66" y="1178"/>
                  </a:lnTo>
                  <a:lnTo>
                    <a:pt x="64" y="1192"/>
                  </a:lnTo>
                  <a:lnTo>
                    <a:pt x="63" y="1202"/>
                  </a:lnTo>
                  <a:lnTo>
                    <a:pt x="63" y="1210"/>
                  </a:lnTo>
                  <a:lnTo>
                    <a:pt x="64" y="1214"/>
                  </a:lnTo>
                  <a:lnTo>
                    <a:pt x="66" y="1220"/>
                  </a:lnTo>
                  <a:lnTo>
                    <a:pt x="70" y="1232"/>
                  </a:lnTo>
                  <a:lnTo>
                    <a:pt x="70" y="1233"/>
                  </a:lnTo>
                  <a:lnTo>
                    <a:pt x="71" y="1234"/>
                  </a:lnTo>
                  <a:lnTo>
                    <a:pt x="72" y="1234"/>
                  </a:lnTo>
                  <a:lnTo>
                    <a:pt x="75" y="1234"/>
                  </a:lnTo>
                  <a:lnTo>
                    <a:pt x="77" y="1232"/>
                  </a:lnTo>
                  <a:lnTo>
                    <a:pt x="79" y="1230"/>
                  </a:lnTo>
                  <a:lnTo>
                    <a:pt x="81" y="1227"/>
                  </a:lnTo>
                  <a:lnTo>
                    <a:pt x="83" y="1224"/>
                  </a:lnTo>
                  <a:lnTo>
                    <a:pt x="84" y="1223"/>
                  </a:lnTo>
                  <a:lnTo>
                    <a:pt x="85" y="1224"/>
                  </a:lnTo>
                  <a:lnTo>
                    <a:pt x="84" y="1232"/>
                  </a:lnTo>
                  <a:lnTo>
                    <a:pt x="81" y="1244"/>
                  </a:lnTo>
                  <a:lnTo>
                    <a:pt x="80" y="1251"/>
                  </a:lnTo>
                  <a:lnTo>
                    <a:pt x="79" y="1257"/>
                  </a:lnTo>
                  <a:lnTo>
                    <a:pt x="79" y="1262"/>
                  </a:lnTo>
                  <a:lnTo>
                    <a:pt x="80" y="1266"/>
                  </a:lnTo>
                  <a:lnTo>
                    <a:pt x="81" y="1268"/>
                  </a:lnTo>
                  <a:lnTo>
                    <a:pt x="83" y="1269"/>
                  </a:lnTo>
                  <a:lnTo>
                    <a:pt x="86" y="1269"/>
                  </a:lnTo>
                  <a:lnTo>
                    <a:pt x="88" y="1267"/>
                  </a:lnTo>
                  <a:lnTo>
                    <a:pt x="92" y="1263"/>
                  </a:lnTo>
                  <a:lnTo>
                    <a:pt x="97" y="1258"/>
                  </a:lnTo>
                  <a:lnTo>
                    <a:pt x="99" y="1259"/>
                  </a:lnTo>
                  <a:lnTo>
                    <a:pt x="103" y="1263"/>
                  </a:lnTo>
                  <a:lnTo>
                    <a:pt x="108" y="1259"/>
                  </a:lnTo>
                  <a:lnTo>
                    <a:pt x="115" y="1251"/>
                  </a:lnTo>
                  <a:lnTo>
                    <a:pt x="119" y="1247"/>
                  </a:lnTo>
                  <a:lnTo>
                    <a:pt x="121" y="1245"/>
                  </a:lnTo>
                  <a:lnTo>
                    <a:pt x="122" y="1244"/>
                  </a:lnTo>
                  <a:lnTo>
                    <a:pt x="121" y="1247"/>
                  </a:lnTo>
                  <a:lnTo>
                    <a:pt x="119" y="1252"/>
                  </a:lnTo>
                  <a:lnTo>
                    <a:pt x="116" y="1256"/>
                  </a:lnTo>
                  <a:lnTo>
                    <a:pt x="114" y="1259"/>
                  </a:lnTo>
                  <a:lnTo>
                    <a:pt x="113" y="1264"/>
                  </a:lnTo>
                  <a:lnTo>
                    <a:pt x="114" y="1273"/>
                  </a:lnTo>
                  <a:lnTo>
                    <a:pt x="114" y="1275"/>
                  </a:lnTo>
                  <a:lnTo>
                    <a:pt x="110" y="1284"/>
                  </a:lnTo>
                  <a:lnTo>
                    <a:pt x="104" y="1297"/>
                  </a:lnTo>
                  <a:lnTo>
                    <a:pt x="97" y="1307"/>
                  </a:lnTo>
                  <a:lnTo>
                    <a:pt x="83" y="1326"/>
                  </a:lnTo>
                  <a:lnTo>
                    <a:pt x="69" y="1345"/>
                  </a:lnTo>
                  <a:lnTo>
                    <a:pt x="61" y="1356"/>
                  </a:lnTo>
                  <a:lnTo>
                    <a:pt x="53" y="1371"/>
                  </a:lnTo>
                  <a:lnTo>
                    <a:pt x="45" y="1383"/>
                  </a:lnTo>
                  <a:lnTo>
                    <a:pt x="40" y="1386"/>
                  </a:lnTo>
                  <a:lnTo>
                    <a:pt x="37" y="1391"/>
                  </a:lnTo>
                  <a:lnTo>
                    <a:pt x="37" y="1394"/>
                  </a:lnTo>
                  <a:lnTo>
                    <a:pt x="36" y="1397"/>
                  </a:lnTo>
                  <a:lnTo>
                    <a:pt x="35" y="1399"/>
                  </a:lnTo>
                  <a:lnTo>
                    <a:pt x="34" y="1400"/>
                  </a:lnTo>
                  <a:lnTo>
                    <a:pt x="31" y="1402"/>
                  </a:lnTo>
                  <a:lnTo>
                    <a:pt x="27" y="1404"/>
                  </a:lnTo>
                  <a:lnTo>
                    <a:pt x="25" y="1406"/>
                  </a:lnTo>
                  <a:lnTo>
                    <a:pt x="24" y="1409"/>
                  </a:lnTo>
                  <a:lnTo>
                    <a:pt x="21" y="1414"/>
                  </a:lnTo>
                  <a:lnTo>
                    <a:pt x="17" y="1419"/>
                  </a:lnTo>
                  <a:lnTo>
                    <a:pt x="13" y="1426"/>
                  </a:lnTo>
                  <a:lnTo>
                    <a:pt x="10" y="1434"/>
                  </a:lnTo>
                  <a:lnTo>
                    <a:pt x="9" y="1436"/>
                  </a:lnTo>
                  <a:lnTo>
                    <a:pt x="8" y="1437"/>
                  </a:lnTo>
                  <a:lnTo>
                    <a:pt x="6" y="1437"/>
                  </a:lnTo>
                  <a:lnTo>
                    <a:pt x="4" y="1438"/>
                  </a:lnTo>
                  <a:lnTo>
                    <a:pt x="3" y="1438"/>
                  </a:lnTo>
                  <a:lnTo>
                    <a:pt x="1" y="1439"/>
                  </a:lnTo>
                  <a:lnTo>
                    <a:pt x="1" y="1442"/>
                  </a:lnTo>
                  <a:lnTo>
                    <a:pt x="0" y="1447"/>
                  </a:lnTo>
                  <a:lnTo>
                    <a:pt x="0" y="1454"/>
                  </a:lnTo>
                  <a:lnTo>
                    <a:pt x="1" y="1458"/>
                  </a:lnTo>
                  <a:lnTo>
                    <a:pt x="2" y="1458"/>
                  </a:lnTo>
                  <a:lnTo>
                    <a:pt x="3" y="1455"/>
                  </a:lnTo>
                  <a:lnTo>
                    <a:pt x="6" y="1446"/>
                  </a:lnTo>
                  <a:lnTo>
                    <a:pt x="10" y="1439"/>
                  </a:lnTo>
                  <a:lnTo>
                    <a:pt x="12" y="1440"/>
                  </a:lnTo>
                  <a:lnTo>
                    <a:pt x="15" y="1438"/>
                  </a:lnTo>
                  <a:lnTo>
                    <a:pt x="18" y="1435"/>
                  </a:lnTo>
                  <a:lnTo>
                    <a:pt x="21" y="1430"/>
                  </a:lnTo>
                  <a:lnTo>
                    <a:pt x="23" y="1422"/>
                  </a:lnTo>
                  <a:lnTo>
                    <a:pt x="24" y="1415"/>
                  </a:lnTo>
                  <a:lnTo>
                    <a:pt x="25" y="1413"/>
                  </a:lnTo>
                  <a:lnTo>
                    <a:pt x="26" y="1410"/>
                  </a:lnTo>
                  <a:lnTo>
                    <a:pt x="27" y="1409"/>
                  </a:lnTo>
                  <a:lnTo>
                    <a:pt x="30" y="1408"/>
                  </a:lnTo>
                  <a:lnTo>
                    <a:pt x="34" y="1409"/>
                  </a:lnTo>
                  <a:lnTo>
                    <a:pt x="36" y="1409"/>
                  </a:lnTo>
                  <a:lnTo>
                    <a:pt x="39" y="1407"/>
                  </a:lnTo>
                  <a:lnTo>
                    <a:pt x="42" y="1400"/>
                  </a:lnTo>
                  <a:lnTo>
                    <a:pt x="46" y="1392"/>
                  </a:lnTo>
                  <a:lnTo>
                    <a:pt x="48" y="1387"/>
                  </a:lnTo>
                  <a:lnTo>
                    <a:pt x="50" y="1385"/>
                  </a:lnTo>
                  <a:lnTo>
                    <a:pt x="52" y="1384"/>
                  </a:lnTo>
                  <a:lnTo>
                    <a:pt x="54" y="1384"/>
                  </a:lnTo>
                  <a:lnTo>
                    <a:pt x="55" y="1385"/>
                  </a:lnTo>
                  <a:lnTo>
                    <a:pt x="57" y="1385"/>
                  </a:lnTo>
                  <a:lnTo>
                    <a:pt x="59" y="1384"/>
                  </a:lnTo>
                  <a:lnTo>
                    <a:pt x="61" y="1383"/>
                  </a:lnTo>
                  <a:lnTo>
                    <a:pt x="62" y="1381"/>
                  </a:lnTo>
                  <a:lnTo>
                    <a:pt x="65" y="1377"/>
                  </a:lnTo>
                  <a:lnTo>
                    <a:pt x="66" y="1375"/>
                  </a:lnTo>
                  <a:lnTo>
                    <a:pt x="66" y="1371"/>
                  </a:lnTo>
                  <a:lnTo>
                    <a:pt x="68" y="1365"/>
                  </a:lnTo>
                  <a:lnTo>
                    <a:pt x="70" y="1362"/>
                  </a:lnTo>
                  <a:lnTo>
                    <a:pt x="72" y="1361"/>
                  </a:lnTo>
                  <a:lnTo>
                    <a:pt x="75" y="1361"/>
                  </a:lnTo>
                  <a:lnTo>
                    <a:pt x="77" y="1364"/>
                  </a:lnTo>
                  <a:lnTo>
                    <a:pt x="79" y="1369"/>
                  </a:lnTo>
                  <a:lnTo>
                    <a:pt x="82" y="1372"/>
                  </a:lnTo>
                  <a:lnTo>
                    <a:pt x="85" y="1374"/>
                  </a:lnTo>
                  <a:lnTo>
                    <a:pt x="88" y="1375"/>
                  </a:lnTo>
                  <a:lnTo>
                    <a:pt x="91" y="1375"/>
                  </a:lnTo>
                  <a:lnTo>
                    <a:pt x="92" y="1375"/>
                  </a:lnTo>
                  <a:lnTo>
                    <a:pt x="93" y="1373"/>
                  </a:lnTo>
                  <a:lnTo>
                    <a:pt x="92" y="1369"/>
                  </a:lnTo>
                  <a:lnTo>
                    <a:pt x="89" y="1361"/>
                  </a:lnTo>
                  <a:lnTo>
                    <a:pt x="85" y="1354"/>
                  </a:lnTo>
                  <a:lnTo>
                    <a:pt x="84" y="1351"/>
                  </a:lnTo>
                  <a:lnTo>
                    <a:pt x="83" y="1349"/>
                  </a:lnTo>
                  <a:lnTo>
                    <a:pt x="83" y="1347"/>
                  </a:lnTo>
                  <a:lnTo>
                    <a:pt x="84" y="1346"/>
                  </a:lnTo>
                  <a:lnTo>
                    <a:pt x="88" y="1345"/>
                  </a:lnTo>
                  <a:lnTo>
                    <a:pt x="92" y="1343"/>
                  </a:lnTo>
                  <a:lnTo>
                    <a:pt x="96" y="1342"/>
                  </a:lnTo>
                  <a:lnTo>
                    <a:pt x="98" y="1340"/>
                  </a:lnTo>
                  <a:lnTo>
                    <a:pt x="99" y="1338"/>
                  </a:lnTo>
                  <a:lnTo>
                    <a:pt x="101" y="1335"/>
                  </a:lnTo>
                  <a:lnTo>
                    <a:pt x="106" y="1325"/>
                  </a:lnTo>
                  <a:lnTo>
                    <a:pt x="115" y="1310"/>
                  </a:lnTo>
                  <a:lnTo>
                    <a:pt x="126" y="1294"/>
                  </a:lnTo>
                  <a:lnTo>
                    <a:pt x="132" y="1281"/>
                  </a:lnTo>
                  <a:lnTo>
                    <a:pt x="136" y="1271"/>
                  </a:lnTo>
                  <a:lnTo>
                    <a:pt x="143" y="1258"/>
                  </a:lnTo>
                  <a:lnTo>
                    <a:pt x="149" y="1245"/>
                  </a:lnTo>
                  <a:lnTo>
                    <a:pt x="153" y="1237"/>
                  </a:lnTo>
                  <a:lnTo>
                    <a:pt x="158" y="1225"/>
                  </a:lnTo>
                  <a:lnTo>
                    <a:pt x="166" y="1207"/>
                  </a:lnTo>
                  <a:lnTo>
                    <a:pt x="172" y="1189"/>
                  </a:lnTo>
                  <a:lnTo>
                    <a:pt x="175" y="1180"/>
                  </a:lnTo>
                  <a:lnTo>
                    <a:pt x="179" y="1174"/>
                  </a:lnTo>
                  <a:lnTo>
                    <a:pt x="190" y="1159"/>
                  </a:lnTo>
                  <a:lnTo>
                    <a:pt x="195" y="1153"/>
                  </a:lnTo>
                  <a:lnTo>
                    <a:pt x="199" y="1148"/>
                  </a:lnTo>
                  <a:lnTo>
                    <a:pt x="201" y="1146"/>
                  </a:lnTo>
                  <a:lnTo>
                    <a:pt x="202" y="1145"/>
                  </a:lnTo>
                  <a:lnTo>
                    <a:pt x="203" y="1145"/>
                  </a:lnTo>
                  <a:lnTo>
                    <a:pt x="203" y="1146"/>
                  </a:lnTo>
                  <a:lnTo>
                    <a:pt x="203" y="1153"/>
                  </a:lnTo>
                  <a:lnTo>
                    <a:pt x="202" y="1158"/>
                  </a:lnTo>
                  <a:lnTo>
                    <a:pt x="200" y="1162"/>
                  </a:lnTo>
                  <a:lnTo>
                    <a:pt x="198" y="1163"/>
                  </a:lnTo>
                  <a:lnTo>
                    <a:pt x="196" y="1164"/>
                  </a:lnTo>
                  <a:lnTo>
                    <a:pt x="194" y="1164"/>
                  </a:lnTo>
                  <a:lnTo>
                    <a:pt x="192" y="1166"/>
                  </a:lnTo>
                  <a:lnTo>
                    <a:pt x="189" y="1172"/>
                  </a:lnTo>
                  <a:lnTo>
                    <a:pt x="181" y="1189"/>
                  </a:lnTo>
                  <a:lnTo>
                    <a:pt x="177" y="1201"/>
                  </a:lnTo>
                  <a:lnTo>
                    <a:pt x="176" y="1207"/>
                  </a:lnTo>
                  <a:lnTo>
                    <a:pt x="174" y="1214"/>
                  </a:lnTo>
                  <a:lnTo>
                    <a:pt x="172" y="1221"/>
                  </a:lnTo>
                  <a:lnTo>
                    <a:pt x="169" y="1225"/>
                  </a:lnTo>
                  <a:lnTo>
                    <a:pt x="167" y="1232"/>
                  </a:lnTo>
                  <a:lnTo>
                    <a:pt x="164" y="1242"/>
                  </a:lnTo>
                  <a:lnTo>
                    <a:pt x="159" y="1254"/>
                  </a:lnTo>
                  <a:lnTo>
                    <a:pt x="153" y="1263"/>
                  </a:lnTo>
                  <a:lnTo>
                    <a:pt x="147" y="1269"/>
                  </a:lnTo>
                  <a:lnTo>
                    <a:pt x="142" y="1274"/>
                  </a:lnTo>
                  <a:lnTo>
                    <a:pt x="140" y="1276"/>
                  </a:lnTo>
                  <a:lnTo>
                    <a:pt x="137" y="1278"/>
                  </a:lnTo>
                  <a:lnTo>
                    <a:pt x="136" y="1280"/>
                  </a:lnTo>
                  <a:lnTo>
                    <a:pt x="136" y="1283"/>
                  </a:lnTo>
                  <a:lnTo>
                    <a:pt x="136" y="1286"/>
                  </a:lnTo>
                  <a:lnTo>
                    <a:pt x="137" y="1288"/>
                  </a:lnTo>
                  <a:lnTo>
                    <a:pt x="138" y="1290"/>
                  </a:lnTo>
                  <a:lnTo>
                    <a:pt x="141" y="1291"/>
                  </a:lnTo>
                  <a:lnTo>
                    <a:pt x="142" y="1293"/>
                  </a:lnTo>
                  <a:lnTo>
                    <a:pt x="143" y="1295"/>
                  </a:lnTo>
                  <a:lnTo>
                    <a:pt x="142" y="1297"/>
                  </a:lnTo>
                  <a:lnTo>
                    <a:pt x="141" y="1300"/>
                  </a:lnTo>
                  <a:lnTo>
                    <a:pt x="137" y="1307"/>
                  </a:lnTo>
                  <a:lnTo>
                    <a:pt x="135" y="1313"/>
                  </a:lnTo>
                  <a:lnTo>
                    <a:pt x="135" y="1318"/>
                  </a:lnTo>
                  <a:lnTo>
                    <a:pt x="136" y="1320"/>
                  </a:lnTo>
                  <a:lnTo>
                    <a:pt x="143" y="1312"/>
                  </a:lnTo>
                  <a:lnTo>
                    <a:pt x="148" y="1304"/>
                  </a:lnTo>
                  <a:lnTo>
                    <a:pt x="154" y="1299"/>
                  </a:lnTo>
                  <a:lnTo>
                    <a:pt x="163" y="1288"/>
                  </a:lnTo>
                  <a:lnTo>
                    <a:pt x="165" y="1282"/>
                  </a:lnTo>
                  <a:lnTo>
                    <a:pt x="167" y="1271"/>
                  </a:lnTo>
                  <a:lnTo>
                    <a:pt x="169" y="1260"/>
                  </a:lnTo>
                  <a:lnTo>
                    <a:pt x="169" y="1255"/>
                  </a:lnTo>
                  <a:lnTo>
                    <a:pt x="169" y="1252"/>
                  </a:lnTo>
                  <a:lnTo>
                    <a:pt x="169" y="1244"/>
                  </a:lnTo>
                  <a:lnTo>
                    <a:pt x="170" y="1239"/>
                  </a:lnTo>
                  <a:lnTo>
                    <a:pt x="172" y="1234"/>
                  </a:lnTo>
                  <a:lnTo>
                    <a:pt x="175" y="1228"/>
                  </a:lnTo>
                  <a:lnTo>
                    <a:pt x="180" y="1221"/>
                  </a:lnTo>
                  <a:lnTo>
                    <a:pt x="198" y="1202"/>
                  </a:lnTo>
                  <a:lnTo>
                    <a:pt x="205" y="1196"/>
                  </a:lnTo>
                  <a:lnTo>
                    <a:pt x="208" y="1192"/>
                  </a:lnTo>
                  <a:lnTo>
                    <a:pt x="211" y="1186"/>
                  </a:lnTo>
                  <a:lnTo>
                    <a:pt x="213" y="1184"/>
                  </a:lnTo>
                  <a:lnTo>
                    <a:pt x="215" y="1181"/>
                  </a:lnTo>
                  <a:lnTo>
                    <a:pt x="216" y="1183"/>
                  </a:lnTo>
                  <a:lnTo>
                    <a:pt x="218" y="1185"/>
                  </a:lnTo>
                  <a:lnTo>
                    <a:pt x="219" y="1186"/>
                  </a:lnTo>
                  <a:lnTo>
                    <a:pt x="219" y="1186"/>
                  </a:lnTo>
                  <a:lnTo>
                    <a:pt x="220" y="1186"/>
                  </a:lnTo>
                  <a:lnTo>
                    <a:pt x="221" y="1186"/>
                  </a:lnTo>
                  <a:lnTo>
                    <a:pt x="224" y="1183"/>
                  </a:lnTo>
                  <a:lnTo>
                    <a:pt x="227" y="1179"/>
                  </a:lnTo>
                  <a:lnTo>
                    <a:pt x="228" y="1174"/>
                  </a:lnTo>
                  <a:lnTo>
                    <a:pt x="229" y="1170"/>
                  </a:lnTo>
                  <a:lnTo>
                    <a:pt x="230" y="1167"/>
                  </a:lnTo>
                  <a:lnTo>
                    <a:pt x="229" y="1165"/>
                  </a:lnTo>
                  <a:lnTo>
                    <a:pt x="229" y="1162"/>
                  </a:lnTo>
                  <a:lnTo>
                    <a:pt x="229" y="1158"/>
                  </a:lnTo>
                  <a:lnTo>
                    <a:pt x="230" y="1154"/>
                  </a:lnTo>
                  <a:lnTo>
                    <a:pt x="232" y="1150"/>
                  </a:lnTo>
                  <a:lnTo>
                    <a:pt x="233" y="1147"/>
                  </a:lnTo>
                  <a:lnTo>
                    <a:pt x="235" y="1145"/>
                  </a:lnTo>
                  <a:lnTo>
                    <a:pt x="236" y="1145"/>
                  </a:lnTo>
                  <a:lnTo>
                    <a:pt x="238" y="1146"/>
                  </a:lnTo>
                  <a:lnTo>
                    <a:pt x="238" y="1147"/>
                  </a:lnTo>
                  <a:lnTo>
                    <a:pt x="239" y="1149"/>
                  </a:lnTo>
                  <a:lnTo>
                    <a:pt x="243" y="1157"/>
                  </a:lnTo>
                  <a:lnTo>
                    <a:pt x="249" y="1162"/>
                  </a:lnTo>
                  <a:lnTo>
                    <a:pt x="252" y="1165"/>
                  </a:lnTo>
                  <a:lnTo>
                    <a:pt x="253" y="1166"/>
                  </a:lnTo>
                  <a:lnTo>
                    <a:pt x="257" y="1168"/>
                  </a:lnTo>
                  <a:lnTo>
                    <a:pt x="267" y="1174"/>
                  </a:lnTo>
                  <a:lnTo>
                    <a:pt x="271" y="1174"/>
                  </a:lnTo>
                  <a:lnTo>
                    <a:pt x="273" y="1173"/>
                  </a:lnTo>
                  <a:lnTo>
                    <a:pt x="275" y="1172"/>
                  </a:lnTo>
                  <a:lnTo>
                    <a:pt x="277" y="1170"/>
                  </a:lnTo>
                  <a:lnTo>
                    <a:pt x="280" y="1168"/>
                  </a:lnTo>
                  <a:lnTo>
                    <a:pt x="283" y="1168"/>
                  </a:lnTo>
                  <a:lnTo>
                    <a:pt x="288" y="1169"/>
                  </a:lnTo>
                  <a:lnTo>
                    <a:pt x="295" y="1172"/>
                  </a:lnTo>
                  <a:lnTo>
                    <a:pt x="306" y="1181"/>
                  </a:lnTo>
                  <a:lnTo>
                    <a:pt x="315" y="1188"/>
                  </a:lnTo>
                  <a:lnTo>
                    <a:pt x="322" y="1194"/>
                  </a:lnTo>
                  <a:lnTo>
                    <a:pt x="327" y="1200"/>
                  </a:lnTo>
                  <a:lnTo>
                    <a:pt x="331" y="1202"/>
                  </a:lnTo>
                  <a:lnTo>
                    <a:pt x="337" y="1203"/>
                  </a:lnTo>
                  <a:lnTo>
                    <a:pt x="341" y="1203"/>
                  </a:lnTo>
                  <a:lnTo>
                    <a:pt x="346" y="1205"/>
                  </a:lnTo>
                  <a:lnTo>
                    <a:pt x="349" y="1206"/>
                  </a:lnTo>
                  <a:lnTo>
                    <a:pt x="352" y="1209"/>
                  </a:lnTo>
                  <a:lnTo>
                    <a:pt x="354" y="1214"/>
                  </a:lnTo>
                  <a:lnTo>
                    <a:pt x="355" y="1223"/>
                  </a:lnTo>
                  <a:lnTo>
                    <a:pt x="354" y="1241"/>
                  </a:lnTo>
                  <a:lnTo>
                    <a:pt x="354" y="1256"/>
                  </a:lnTo>
                  <a:lnTo>
                    <a:pt x="354" y="1261"/>
                  </a:lnTo>
                  <a:lnTo>
                    <a:pt x="355" y="1266"/>
                  </a:lnTo>
                  <a:lnTo>
                    <a:pt x="357" y="1271"/>
                  </a:lnTo>
                  <a:lnTo>
                    <a:pt x="361" y="1275"/>
                  </a:lnTo>
                  <a:lnTo>
                    <a:pt x="371" y="1285"/>
                  </a:lnTo>
                  <a:lnTo>
                    <a:pt x="386" y="1302"/>
                  </a:lnTo>
                  <a:lnTo>
                    <a:pt x="400" y="1320"/>
                  </a:lnTo>
                  <a:lnTo>
                    <a:pt x="411" y="1330"/>
                  </a:lnTo>
                  <a:lnTo>
                    <a:pt x="415" y="1333"/>
                  </a:lnTo>
                  <a:lnTo>
                    <a:pt x="420" y="1335"/>
                  </a:lnTo>
                  <a:lnTo>
                    <a:pt x="426" y="1335"/>
                  </a:lnTo>
                  <a:lnTo>
                    <a:pt x="430" y="1337"/>
                  </a:lnTo>
                  <a:lnTo>
                    <a:pt x="435" y="1338"/>
                  </a:lnTo>
                  <a:lnTo>
                    <a:pt x="439" y="1340"/>
                  </a:lnTo>
                  <a:lnTo>
                    <a:pt x="442" y="1345"/>
                  </a:lnTo>
                  <a:lnTo>
                    <a:pt x="444" y="1351"/>
                  </a:lnTo>
                  <a:lnTo>
                    <a:pt x="447" y="1361"/>
                  </a:lnTo>
                  <a:lnTo>
                    <a:pt x="451" y="1370"/>
                  </a:lnTo>
                  <a:lnTo>
                    <a:pt x="455" y="1380"/>
                  </a:lnTo>
                  <a:lnTo>
                    <a:pt x="459" y="1389"/>
                  </a:lnTo>
                  <a:lnTo>
                    <a:pt x="466" y="1404"/>
                  </a:lnTo>
                  <a:lnTo>
                    <a:pt x="470" y="1410"/>
                  </a:lnTo>
                  <a:lnTo>
                    <a:pt x="471" y="1412"/>
                  </a:lnTo>
                  <a:lnTo>
                    <a:pt x="472" y="1419"/>
                  </a:lnTo>
                  <a:lnTo>
                    <a:pt x="473" y="1426"/>
                  </a:lnTo>
                  <a:lnTo>
                    <a:pt x="472" y="1432"/>
                  </a:lnTo>
                  <a:lnTo>
                    <a:pt x="471" y="1440"/>
                  </a:lnTo>
                  <a:lnTo>
                    <a:pt x="469" y="1449"/>
                  </a:lnTo>
                  <a:lnTo>
                    <a:pt x="467" y="1454"/>
                  </a:lnTo>
                  <a:lnTo>
                    <a:pt x="466" y="1458"/>
                  </a:lnTo>
                  <a:lnTo>
                    <a:pt x="467" y="1461"/>
                  </a:lnTo>
                  <a:lnTo>
                    <a:pt x="469" y="1464"/>
                  </a:lnTo>
                  <a:lnTo>
                    <a:pt x="474" y="1471"/>
                  </a:lnTo>
                  <a:lnTo>
                    <a:pt x="480" y="1476"/>
                  </a:lnTo>
                  <a:lnTo>
                    <a:pt x="487" y="1482"/>
                  </a:lnTo>
                  <a:lnTo>
                    <a:pt x="495" y="1488"/>
                  </a:lnTo>
                  <a:lnTo>
                    <a:pt x="498" y="1493"/>
                  </a:lnTo>
                  <a:lnTo>
                    <a:pt x="501" y="1497"/>
                  </a:lnTo>
                  <a:lnTo>
                    <a:pt x="503" y="1502"/>
                  </a:lnTo>
                  <a:lnTo>
                    <a:pt x="505" y="1508"/>
                  </a:lnTo>
                  <a:lnTo>
                    <a:pt x="514" y="1530"/>
                  </a:lnTo>
                  <a:lnTo>
                    <a:pt x="520" y="1550"/>
                  </a:lnTo>
                  <a:lnTo>
                    <a:pt x="522" y="1562"/>
                  </a:lnTo>
                  <a:lnTo>
                    <a:pt x="524" y="1573"/>
                  </a:lnTo>
                  <a:lnTo>
                    <a:pt x="525" y="1586"/>
                  </a:lnTo>
                  <a:lnTo>
                    <a:pt x="525" y="1601"/>
                  </a:lnTo>
                  <a:lnTo>
                    <a:pt x="523" y="1615"/>
                  </a:lnTo>
                  <a:lnTo>
                    <a:pt x="521" y="1630"/>
                  </a:lnTo>
                  <a:lnTo>
                    <a:pt x="517" y="1642"/>
                  </a:lnTo>
                  <a:lnTo>
                    <a:pt x="513" y="1655"/>
                  </a:lnTo>
                  <a:lnTo>
                    <a:pt x="509" y="1668"/>
                  </a:lnTo>
                  <a:lnTo>
                    <a:pt x="506" y="1679"/>
                  </a:lnTo>
                  <a:lnTo>
                    <a:pt x="504" y="1691"/>
                  </a:lnTo>
                  <a:lnTo>
                    <a:pt x="504" y="1701"/>
                  </a:lnTo>
                  <a:lnTo>
                    <a:pt x="506" y="1713"/>
                  </a:lnTo>
                  <a:lnTo>
                    <a:pt x="509" y="1725"/>
                  </a:lnTo>
                  <a:lnTo>
                    <a:pt x="515" y="1739"/>
                  </a:lnTo>
                  <a:lnTo>
                    <a:pt x="521" y="1754"/>
                  </a:lnTo>
                  <a:lnTo>
                    <a:pt x="533" y="1781"/>
                  </a:lnTo>
                  <a:lnTo>
                    <a:pt x="545" y="1806"/>
                  </a:lnTo>
                  <a:lnTo>
                    <a:pt x="554" y="1830"/>
                  </a:lnTo>
                  <a:lnTo>
                    <a:pt x="565" y="1854"/>
                  </a:lnTo>
                  <a:lnTo>
                    <a:pt x="570" y="1865"/>
                  </a:lnTo>
                  <a:lnTo>
                    <a:pt x="575" y="1874"/>
                  </a:lnTo>
                  <a:lnTo>
                    <a:pt x="581" y="1882"/>
                  </a:lnTo>
                  <a:lnTo>
                    <a:pt x="586" y="1888"/>
                  </a:lnTo>
                  <a:lnTo>
                    <a:pt x="598" y="1894"/>
                  </a:lnTo>
                  <a:lnTo>
                    <a:pt x="613" y="1900"/>
                  </a:lnTo>
                  <a:lnTo>
                    <a:pt x="620" y="1902"/>
                  </a:lnTo>
                  <a:lnTo>
                    <a:pt x="627" y="1905"/>
                  </a:lnTo>
                  <a:lnTo>
                    <a:pt x="632" y="1910"/>
                  </a:lnTo>
                  <a:lnTo>
                    <a:pt x="635" y="1915"/>
                  </a:lnTo>
                  <a:lnTo>
                    <a:pt x="641" y="1926"/>
                  </a:lnTo>
                  <a:lnTo>
                    <a:pt x="649" y="1940"/>
                  </a:lnTo>
                  <a:lnTo>
                    <a:pt x="656" y="1954"/>
                  </a:lnTo>
                  <a:lnTo>
                    <a:pt x="659" y="1963"/>
                  </a:lnTo>
                  <a:lnTo>
                    <a:pt x="661" y="1970"/>
                  </a:lnTo>
                  <a:lnTo>
                    <a:pt x="662" y="1981"/>
                  </a:lnTo>
                  <a:lnTo>
                    <a:pt x="666" y="1992"/>
                  </a:lnTo>
                  <a:lnTo>
                    <a:pt x="670" y="2002"/>
                  </a:lnTo>
                  <a:lnTo>
                    <a:pt x="684" y="2012"/>
                  </a:lnTo>
                  <a:lnTo>
                    <a:pt x="696" y="2022"/>
                  </a:lnTo>
                  <a:lnTo>
                    <a:pt x="698" y="2036"/>
                  </a:lnTo>
                  <a:lnTo>
                    <a:pt x="698" y="2042"/>
                  </a:lnTo>
                  <a:lnTo>
                    <a:pt x="696" y="2043"/>
                  </a:lnTo>
                  <a:lnTo>
                    <a:pt x="693" y="2045"/>
                  </a:lnTo>
                  <a:lnTo>
                    <a:pt x="692" y="2047"/>
                  </a:lnTo>
                  <a:lnTo>
                    <a:pt x="691" y="2049"/>
                  </a:lnTo>
                  <a:lnTo>
                    <a:pt x="691" y="2052"/>
                  </a:lnTo>
                  <a:lnTo>
                    <a:pt x="692" y="2054"/>
                  </a:lnTo>
                  <a:lnTo>
                    <a:pt x="705" y="2064"/>
                  </a:lnTo>
                  <a:lnTo>
                    <a:pt x="721" y="2072"/>
                  </a:lnTo>
                  <a:lnTo>
                    <a:pt x="726" y="2078"/>
                  </a:lnTo>
                  <a:lnTo>
                    <a:pt x="733" y="2088"/>
                  </a:lnTo>
                  <a:lnTo>
                    <a:pt x="735" y="2092"/>
                  </a:lnTo>
                  <a:lnTo>
                    <a:pt x="737" y="2097"/>
                  </a:lnTo>
                  <a:lnTo>
                    <a:pt x="739" y="2102"/>
                  </a:lnTo>
                  <a:lnTo>
                    <a:pt x="739" y="2107"/>
                  </a:lnTo>
                  <a:lnTo>
                    <a:pt x="739" y="2114"/>
                  </a:lnTo>
                  <a:lnTo>
                    <a:pt x="740" y="2118"/>
                  </a:lnTo>
                  <a:lnTo>
                    <a:pt x="742" y="2122"/>
                  </a:lnTo>
                  <a:lnTo>
                    <a:pt x="746" y="2127"/>
                  </a:lnTo>
                  <a:lnTo>
                    <a:pt x="759" y="2132"/>
                  </a:lnTo>
                  <a:lnTo>
                    <a:pt x="771" y="2137"/>
                  </a:lnTo>
                  <a:lnTo>
                    <a:pt x="777" y="2141"/>
                  </a:lnTo>
                  <a:lnTo>
                    <a:pt x="780" y="2141"/>
                  </a:lnTo>
                  <a:lnTo>
                    <a:pt x="781" y="2142"/>
                  </a:lnTo>
                  <a:lnTo>
                    <a:pt x="782" y="2143"/>
                  </a:lnTo>
                  <a:lnTo>
                    <a:pt x="783" y="2144"/>
                  </a:lnTo>
                  <a:lnTo>
                    <a:pt x="783" y="2148"/>
                  </a:lnTo>
                  <a:lnTo>
                    <a:pt x="783" y="2155"/>
                  </a:lnTo>
                  <a:lnTo>
                    <a:pt x="784" y="2159"/>
                  </a:lnTo>
                  <a:lnTo>
                    <a:pt x="785" y="2162"/>
                  </a:lnTo>
                  <a:lnTo>
                    <a:pt x="787" y="2163"/>
                  </a:lnTo>
                  <a:lnTo>
                    <a:pt x="791" y="2163"/>
                  </a:lnTo>
                  <a:lnTo>
                    <a:pt x="796" y="2161"/>
                  </a:lnTo>
                  <a:lnTo>
                    <a:pt x="799" y="2159"/>
                  </a:lnTo>
                  <a:lnTo>
                    <a:pt x="801" y="2157"/>
                  </a:lnTo>
                  <a:lnTo>
                    <a:pt x="802" y="2154"/>
                  </a:lnTo>
                  <a:lnTo>
                    <a:pt x="801" y="2151"/>
                  </a:lnTo>
                  <a:lnTo>
                    <a:pt x="799" y="2144"/>
                  </a:lnTo>
                  <a:lnTo>
                    <a:pt x="795" y="2138"/>
                  </a:lnTo>
                  <a:lnTo>
                    <a:pt x="790" y="2133"/>
                  </a:lnTo>
                  <a:lnTo>
                    <a:pt x="783" y="2126"/>
                  </a:lnTo>
                  <a:lnTo>
                    <a:pt x="776" y="2115"/>
                  </a:lnTo>
                  <a:lnTo>
                    <a:pt x="768" y="2104"/>
                  </a:lnTo>
                  <a:lnTo>
                    <a:pt x="763" y="2093"/>
                  </a:lnTo>
                  <a:lnTo>
                    <a:pt x="761" y="2086"/>
                  </a:lnTo>
                  <a:lnTo>
                    <a:pt x="759" y="2081"/>
                  </a:lnTo>
                  <a:lnTo>
                    <a:pt x="757" y="2077"/>
                  </a:lnTo>
                  <a:lnTo>
                    <a:pt x="754" y="2074"/>
                  </a:lnTo>
                  <a:lnTo>
                    <a:pt x="752" y="2073"/>
                  </a:lnTo>
                  <a:lnTo>
                    <a:pt x="744" y="2062"/>
                  </a:lnTo>
                  <a:lnTo>
                    <a:pt x="728" y="2040"/>
                  </a:lnTo>
                  <a:lnTo>
                    <a:pt x="713" y="2018"/>
                  </a:lnTo>
                  <a:lnTo>
                    <a:pt x="705" y="2007"/>
                  </a:lnTo>
                  <a:lnTo>
                    <a:pt x="702" y="2001"/>
                  </a:lnTo>
                  <a:lnTo>
                    <a:pt x="697" y="1991"/>
                  </a:lnTo>
                  <a:lnTo>
                    <a:pt x="696" y="1986"/>
                  </a:lnTo>
                  <a:lnTo>
                    <a:pt x="694" y="1981"/>
                  </a:lnTo>
                  <a:lnTo>
                    <a:pt x="694" y="1977"/>
                  </a:lnTo>
                  <a:lnTo>
                    <a:pt x="696" y="1974"/>
                  </a:lnTo>
                  <a:lnTo>
                    <a:pt x="701" y="1970"/>
                  </a:lnTo>
                  <a:lnTo>
                    <a:pt x="705" y="1968"/>
                  </a:lnTo>
                  <a:lnTo>
                    <a:pt x="707" y="1967"/>
                  </a:lnTo>
                  <a:lnTo>
                    <a:pt x="710" y="1968"/>
                  </a:lnTo>
                  <a:lnTo>
                    <a:pt x="713" y="1970"/>
                  </a:lnTo>
                  <a:lnTo>
                    <a:pt x="715" y="1975"/>
                  </a:lnTo>
                  <a:lnTo>
                    <a:pt x="720" y="1985"/>
                  </a:lnTo>
                  <a:lnTo>
                    <a:pt x="725" y="1996"/>
                  </a:lnTo>
                  <a:lnTo>
                    <a:pt x="727" y="1999"/>
                  </a:lnTo>
                  <a:lnTo>
                    <a:pt x="728" y="2003"/>
                  </a:lnTo>
                  <a:lnTo>
                    <a:pt x="728" y="2007"/>
                  </a:lnTo>
                  <a:lnTo>
                    <a:pt x="729" y="2011"/>
                  </a:lnTo>
                  <a:lnTo>
                    <a:pt x="729" y="2017"/>
                  </a:lnTo>
                  <a:lnTo>
                    <a:pt x="730" y="2021"/>
                  </a:lnTo>
                  <a:lnTo>
                    <a:pt x="734" y="2025"/>
                  </a:lnTo>
                  <a:lnTo>
                    <a:pt x="739" y="2029"/>
                  </a:lnTo>
                  <a:lnTo>
                    <a:pt x="745" y="2035"/>
                  </a:lnTo>
                  <a:lnTo>
                    <a:pt x="751" y="2043"/>
                  </a:lnTo>
                  <a:lnTo>
                    <a:pt x="759" y="2051"/>
                  </a:lnTo>
                  <a:lnTo>
                    <a:pt x="766" y="2061"/>
                  </a:lnTo>
                  <a:lnTo>
                    <a:pt x="778" y="2077"/>
                  </a:lnTo>
                  <a:lnTo>
                    <a:pt x="785" y="2088"/>
                  </a:lnTo>
                  <a:lnTo>
                    <a:pt x="789" y="2093"/>
                  </a:lnTo>
                  <a:lnTo>
                    <a:pt x="796" y="2100"/>
                  </a:lnTo>
                  <a:lnTo>
                    <a:pt x="807" y="2109"/>
                  </a:lnTo>
                  <a:lnTo>
                    <a:pt x="817" y="2119"/>
                  </a:lnTo>
                  <a:lnTo>
                    <a:pt x="828" y="2128"/>
                  </a:lnTo>
                  <a:lnTo>
                    <a:pt x="836" y="2136"/>
                  </a:lnTo>
                  <a:lnTo>
                    <a:pt x="844" y="2144"/>
                  </a:lnTo>
                  <a:lnTo>
                    <a:pt x="851" y="2155"/>
                  </a:lnTo>
                  <a:lnTo>
                    <a:pt x="858" y="2166"/>
                  </a:lnTo>
                  <a:lnTo>
                    <a:pt x="867" y="2175"/>
                  </a:lnTo>
                  <a:lnTo>
                    <a:pt x="871" y="2179"/>
                  </a:lnTo>
                  <a:lnTo>
                    <a:pt x="873" y="2182"/>
                  </a:lnTo>
                  <a:lnTo>
                    <a:pt x="874" y="2186"/>
                  </a:lnTo>
                  <a:lnTo>
                    <a:pt x="873" y="2192"/>
                  </a:lnTo>
                  <a:lnTo>
                    <a:pt x="870" y="2200"/>
                  </a:lnTo>
                  <a:lnTo>
                    <a:pt x="867" y="2206"/>
                  </a:lnTo>
                  <a:lnTo>
                    <a:pt x="866" y="2208"/>
                  </a:lnTo>
                  <a:lnTo>
                    <a:pt x="865" y="2211"/>
                  </a:lnTo>
                  <a:lnTo>
                    <a:pt x="865" y="2212"/>
                  </a:lnTo>
                  <a:lnTo>
                    <a:pt x="866" y="2215"/>
                  </a:lnTo>
                  <a:lnTo>
                    <a:pt x="870" y="2222"/>
                  </a:lnTo>
                  <a:lnTo>
                    <a:pt x="879" y="2231"/>
                  </a:lnTo>
                  <a:lnTo>
                    <a:pt x="893" y="2244"/>
                  </a:lnTo>
                  <a:lnTo>
                    <a:pt x="908" y="2255"/>
                  </a:lnTo>
                  <a:lnTo>
                    <a:pt x="916" y="2262"/>
                  </a:lnTo>
                  <a:lnTo>
                    <a:pt x="927" y="2267"/>
                  </a:lnTo>
                  <a:lnTo>
                    <a:pt x="939" y="2273"/>
                  </a:lnTo>
                  <a:lnTo>
                    <a:pt x="953" y="2278"/>
                  </a:lnTo>
                  <a:lnTo>
                    <a:pt x="978" y="2289"/>
                  </a:lnTo>
                  <a:lnTo>
                    <a:pt x="997" y="2297"/>
                  </a:lnTo>
                  <a:lnTo>
                    <a:pt x="1014" y="2307"/>
                  </a:lnTo>
                  <a:lnTo>
                    <a:pt x="1033" y="2319"/>
                  </a:lnTo>
                  <a:lnTo>
                    <a:pt x="1043" y="2324"/>
                  </a:lnTo>
                  <a:lnTo>
                    <a:pt x="1051" y="2328"/>
                  </a:lnTo>
                  <a:lnTo>
                    <a:pt x="1054" y="2329"/>
                  </a:lnTo>
                  <a:lnTo>
                    <a:pt x="1057" y="2329"/>
                  </a:lnTo>
                  <a:lnTo>
                    <a:pt x="1059" y="2329"/>
                  </a:lnTo>
                  <a:lnTo>
                    <a:pt x="1061" y="2327"/>
                  </a:lnTo>
                  <a:lnTo>
                    <a:pt x="1068" y="2318"/>
                  </a:lnTo>
                  <a:lnTo>
                    <a:pt x="1077" y="2311"/>
                  </a:lnTo>
                  <a:lnTo>
                    <a:pt x="1081" y="2307"/>
                  </a:lnTo>
                  <a:lnTo>
                    <a:pt x="1087" y="2305"/>
                  </a:lnTo>
                  <a:lnTo>
                    <a:pt x="1090" y="2304"/>
                  </a:lnTo>
                  <a:lnTo>
                    <a:pt x="1093" y="2305"/>
                  </a:lnTo>
                  <a:lnTo>
                    <a:pt x="1097" y="2309"/>
                  </a:lnTo>
                  <a:lnTo>
                    <a:pt x="1101" y="2315"/>
                  </a:lnTo>
                  <a:lnTo>
                    <a:pt x="1103" y="2317"/>
                  </a:lnTo>
                  <a:lnTo>
                    <a:pt x="1107" y="2320"/>
                  </a:lnTo>
                  <a:lnTo>
                    <a:pt x="1111" y="2322"/>
                  </a:lnTo>
                  <a:lnTo>
                    <a:pt x="1116" y="2322"/>
                  </a:lnTo>
                  <a:lnTo>
                    <a:pt x="1122" y="2324"/>
                  </a:lnTo>
                  <a:lnTo>
                    <a:pt x="1129" y="2327"/>
                  </a:lnTo>
                  <a:lnTo>
                    <a:pt x="1134" y="2330"/>
                  </a:lnTo>
                  <a:lnTo>
                    <a:pt x="1140" y="2334"/>
                  </a:lnTo>
                  <a:lnTo>
                    <a:pt x="1150" y="2343"/>
                  </a:lnTo>
                  <a:lnTo>
                    <a:pt x="1158" y="2351"/>
                  </a:lnTo>
                  <a:lnTo>
                    <a:pt x="1167" y="2358"/>
                  </a:lnTo>
                  <a:lnTo>
                    <a:pt x="1182" y="2365"/>
                  </a:lnTo>
                  <a:lnTo>
                    <a:pt x="1196" y="2372"/>
                  </a:lnTo>
                  <a:lnTo>
                    <a:pt x="1205" y="2377"/>
                  </a:lnTo>
                  <a:lnTo>
                    <a:pt x="1207" y="2377"/>
                  </a:lnTo>
                  <a:lnTo>
                    <a:pt x="1210" y="2376"/>
                  </a:lnTo>
                  <a:lnTo>
                    <a:pt x="1215" y="2375"/>
                  </a:lnTo>
                  <a:lnTo>
                    <a:pt x="1219" y="2373"/>
                  </a:lnTo>
                  <a:lnTo>
                    <a:pt x="1221" y="2373"/>
                  </a:lnTo>
                  <a:lnTo>
                    <a:pt x="1223" y="2373"/>
                  </a:lnTo>
                  <a:lnTo>
                    <a:pt x="1225" y="2373"/>
                  </a:lnTo>
                  <a:lnTo>
                    <a:pt x="1227" y="2374"/>
                  </a:lnTo>
                  <a:lnTo>
                    <a:pt x="1230" y="2376"/>
                  </a:lnTo>
                  <a:lnTo>
                    <a:pt x="1232" y="2379"/>
                  </a:lnTo>
                  <a:lnTo>
                    <a:pt x="1235" y="2383"/>
                  </a:lnTo>
                  <a:lnTo>
                    <a:pt x="1239" y="2388"/>
                  </a:lnTo>
                  <a:lnTo>
                    <a:pt x="1248" y="2407"/>
                  </a:lnTo>
                  <a:lnTo>
                    <a:pt x="1255" y="2420"/>
                  </a:lnTo>
                  <a:lnTo>
                    <a:pt x="1262" y="2428"/>
                  </a:lnTo>
                  <a:lnTo>
                    <a:pt x="1269" y="2437"/>
                  </a:lnTo>
                  <a:lnTo>
                    <a:pt x="1274" y="2443"/>
                  </a:lnTo>
                  <a:lnTo>
                    <a:pt x="1283" y="2449"/>
                  </a:lnTo>
                  <a:lnTo>
                    <a:pt x="1292" y="2457"/>
                  </a:lnTo>
                  <a:lnTo>
                    <a:pt x="1303" y="2464"/>
                  </a:lnTo>
                  <a:lnTo>
                    <a:pt x="1321" y="2476"/>
                  </a:lnTo>
                  <a:lnTo>
                    <a:pt x="1331" y="2484"/>
                  </a:lnTo>
                  <a:lnTo>
                    <a:pt x="1337" y="2489"/>
                  </a:lnTo>
                  <a:lnTo>
                    <a:pt x="1349" y="2496"/>
                  </a:lnTo>
                  <a:lnTo>
                    <a:pt x="1356" y="2499"/>
                  </a:lnTo>
                  <a:lnTo>
                    <a:pt x="1363" y="2501"/>
                  </a:lnTo>
                  <a:lnTo>
                    <a:pt x="1371" y="2501"/>
                  </a:lnTo>
                  <a:lnTo>
                    <a:pt x="1378" y="2500"/>
                  </a:lnTo>
                  <a:lnTo>
                    <a:pt x="1384" y="2496"/>
                  </a:lnTo>
                  <a:lnTo>
                    <a:pt x="1390" y="2493"/>
                  </a:lnTo>
                  <a:lnTo>
                    <a:pt x="1394" y="2490"/>
                  </a:lnTo>
                  <a:lnTo>
                    <a:pt x="1398" y="2487"/>
                  </a:lnTo>
                  <a:lnTo>
                    <a:pt x="1401" y="2485"/>
                  </a:lnTo>
                  <a:lnTo>
                    <a:pt x="1405" y="2484"/>
                  </a:lnTo>
                  <a:lnTo>
                    <a:pt x="1410" y="2485"/>
                  </a:lnTo>
                  <a:lnTo>
                    <a:pt x="1417" y="2488"/>
                  </a:lnTo>
                  <a:lnTo>
                    <a:pt x="1422" y="2491"/>
                  </a:lnTo>
                  <a:lnTo>
                    <a:pt x="1428" y="2493"/>
                  </a:lnTo>
                  <a:lnTo>
                    <a:pt x="1432" y="2494"/>
                  </a:lnTo>
                  <a:lnTo>
                    <a:pt x="1437" y="2495"/>
                  </a:lnTo>
                  <a:lnTo>
                    <a:pt x="1441" y="2496"/>
                  </a:lnTo>
                  <a:lnTo>
                    <a:pt x="1443" y="2497"/>
                  </a:lnTo>
                  <a:lnTo>
                    <a:pt x="1445" y="2501"/>
                  </a:lnTo>
                  <a:lnTo>
                    <a:pt x="1446" y="2505"/>
                  </a:lnTo>
                  <a:lnTo>
                    <a:pt x="1446" y="2510"/>
                  </a:lnTo>
                  <a:lnTo>
                    <a:pt x="1449" y="2515"/>
                  </a:lnTo>
                  <a:lnTo>
                    <a:pt x="1452" y="2521"/>
                  </a:lnTo>
                  <a:lnTo>
                    <a:pt x="1456" y="2527"/>
                  </a:lnTo>
                  <a:lnTo>
                    <a:pt x="1458" y="2533"/>
                  </a:lnTo>
                  <a:lnTo>
                    <a:pt x="1458" y="2540"/>
                  </a:lnTo>
                  <a:lnTo>
                    <a:pt x="1458" y="2545"/>
                  </a:lnTo>
                  <a:lnTo>
                    <a:pt x="1456" y="2548"/>
                  </a:lnTo>
                  <a:lnTo>
                    <a:pt x="1453" y="2552"/>
                  </a:lnTo>
                  <a:lnTo>
                    <a:pt x="1449" y="2557"/>
                  </a:lnTo>
                  <a:lnTo>
                    <a:pt x="1430" y="2577"/>
                  </a:lnTo>
                  <a:lnTo>
                    <a:pt x="1409" y="2599"/>
                  </a:lnTo>
                  <a:lnTo>
                    <a:pt x="1400" y="2610"/>
                  </a:lnTo>
                  <a:lnTo>
                    <a:pt x="1392" y="2620"/>
                  </a:lnTo>
                  <a:lnTo>
                    <a:pt x="1385" y="2627"/>
                  </a:lnTo>
                  <a:lnTo>
                    <a:pt x="1382" y="2634"/>
                  </a:lnTo>
                  <a:lnTo>
                    <a:pt x="1382" y="2640"/>
                  </a:lnTo>
                  <a:lnTo>
                    <a:pt x="1382" y="2648"/>
                  </a:lnTo>
                  <a:lnTo>
                    <a:pt x="1383" y="2657"/>
                  </a:lnTo>
                  <a:lnTo>
                    <a:pt x="1385" y="2665"/>
                  </a:lnTo>
                  <a:lnTo>
                    <a:pt x="1390" y="2681"/>
                  </a:lnTo>
                  <a:lnTo>
                    <a:pt x="1391" y="2687"/>
                  </a:lnTo>
                  <a:lnTo>
                    <a:pt x="1386" y="2691"/>
                  </a:lnTo>
                  <a:lnTo>
                    <a:pt x="1377" y="2702"/>
                  </a:lnTo>
                  <a:lnTo>
                    <a:pt x="1373" y="2708"/>
                  </a:lnTo>
                  <a:lnTo>
                    <a:pt x="1370" y="2715"/>
                  </a:lnTo>
                  <a:lnTo>
                    <a:pt x="1369" y="2720"/>
                  </a:lnTo>
                  <a:lnTo>
                    <a:pt x="1369" y="2723"/>
                  </a:lnTo>
                  <a:lnTo>
                    <a:pt x="1369" y="2727"/>
                  </a:lnTo>
                  <a:lnTo>
                    <a:pt x="1370" y="2730"/>
                  </a:lnTo>
                  <a:lnTo>
                    <a:pt x="1375" y="2736"/>
                  </a:lnTo>
                  <a:lnTo>
                    <a:pt x="1382" y="2745"/>
                  </a:lnTo>
                  <a:lnTo>
                    <a:pt x="1391" y="2753"/>
                  </a:lnTo>
                  <a:lnTo>
                    <a:pt x="1401" y="2763"/>
                  </a:lnTo>
                  <a:lnTo>
                    <a:pt x="1412" y="2773"/>
                  </a:lnTo>
                  <a:lnTo>
                    <a:pt x="1422" y="2786"/>
                  </a:lnTo>
                  <a:lnTo>
                    <a:pt x="1427" y="2793"/>
                  </a:lnTo>
                  <a:lnTo>
                    <a:pt x="1431" y="2800"/>
                  </a:lnTo>
                  <a:lnTo>
                    <a:pt x="1436" y="2809"/>
                  </a:lnTo>
                  <a:lnTo>
                    <a:pt x="1439" y="2817"/>
                  </a:lnTo>
                  <a:lnTo>
                    <a:pt x="1444" y="2833"/>
                  </a:lnTo>
                  <a:lnTo>
                    <a:pt x="1449" y="2845"/>
                  </a:lnTo>
                  <a:lnTo>
                    <a:pt x="1453" y="2855"/>
                  </a:lnTo>
                  <a:lnTo>
                    <a:pt x="1458" y="2862"/>
                  </a:lnTo>
                  <a:lnTo>
                    <a:pt x="1468" y="2875"/>
                  </a:lnTo>
                  <a:lnTo>
                    <a:pt x="1483" y="2890"/>
                  </a:lnTo>
                  <a:lnTo>
                    <a:pt x="1489" y="2896"/>
                  </a:lnTo>
                  <a:lnTo>
                    <a:pt x="1495" y="2900"/>
                  </a:lnTo>
                  <a:lnTo>
                    <a:pt x="1504" y="2904"/>
                  </a:lnTo>
                  <a:lnTo>
                    <a:pt x="1512" y="2908"/>
                  </a:lnTo>
                  <a:lnTo>
                    <a:pt x="1531" y="2916"/>
                  </a:lnTo>
                  <a:lnTo>
                    <a:pt x="1550" y="2923"/>
                  </a:lnTo>
                  <a:lnTo>
                    <a:pt x="1569" y="2930"/>
                  </a:lnTo>
                  <a:lnTo>
                    <a:pt x="1583" y="2938"/>
                  </a:lnTo>
                  <a:lnTo>
                    <a:pt x="1589" y="2941"/>
                  </a:lnTo>
                  <a:lnTo>
                    <a:pt x="1593" y="2944"/>
                  </a:lnTo>
                  <a:lnTo>
                    <a:pt x="1595" y="2948"/>
                  </a:lnTo>
                  <a:lnTo>
                    <a:pt x="1596" y="2951"/>
                  </a:lnTo>
                  <a:lnTo>
                    <a:pt x="1594" y="2964"/>
                  </a:lnTo>
                  <a:lnTo>
                    <a:pt x="1593" y="2976"/>
                  </a:lnTo>
                  <a:lnTo>
                    <a:pt x="1593" y="2988"/>
                  </a:lnTo>
                  <a:lnTo>
                    <a:pt x="1595" y="2997"/>
                  </a:lnTo>
                  <a:lnTo>
                    <a:pt x="1597" y="3004"/>
                  </a:lnTo>
                  <a:lnTo>
                    <a:pt x="1598" y="3007"/>
                  </a:lnTo>
                  <a:lnTo>
                    <a:pt x="1598" y="3010"/>
                  </a:lnTo>
                  <a:lnTo>
                    <a:pt x="1597" y="3012"/>
                  </a:lnTo>
                  <a:lnTo>
                    <a:pt x="1594" y="3021"/>
                  </a:lnTo>
                  <a:lnTo>
                    <a:pt x="1591" y="3034"/>
                  </a:lnTo>
                  <a:lnTo>
                    <a:pt x="1590" y="3048"/>
                  </a:lnTo>
                  <a:lnTo>
                    <a:pt x="1588" y="3056"/>
                  </a:lnTo>
                  <a:lnTo>
                    <a:pt x="1585" y="3063"/>
                  </a:lnTo>
                  <a:lnTo>
                    <a:pt x="1582" y="3076"/>
                  </a:lnTo>
                  <a:lnTo>
                    <a:pt x="1581" y="3087"/>
                  </a:lnTo>
                  <a:lnTo>
                    <a:pt x="1580" y="3093"/>
                  </a:lnTo>
                  <a:lnTo>
                    <a:pt x="1576" y="3093"/>
                  </a:lnTo>
                  <a:lnTo>
                    <a:pt x="1569" y="3092"/>
                  </a:lnTo>
                  <a:lnTo>
                    <a:pt x="1564" y="3092"/>
                  </a:lnTo>
                  <a:lnTo>
                    <a:pt x="1561" y="3093"/>
                  </a:lnTo>
                  <a:lnTo>
                    <a:pt x="1559" y="3094"/>
                  </a:lnTo>
                  <a:lnTo>
                    <a:pt x="1559" y="3096"/>
                  </a:lnTo>
                  <a:lnTo>
                    <a:pt x="1569" y="3102"/>
                  </a:lnTo>
                  <a:lnTo>
                    <a:pt x="1578" y="3107"/>
                  </a:lnTo>
                  <a:lnTo>
                    <a:pt x="1579" y="3112"/>
                  </a:lnTo>
                  <a:lnTo>
                    <a:pt x="1578" y="3118"/>
                  </a:lnTo>
                  <a:lnTo>
                    <a:pt x="1577" y="3122"/>
                  </a:lnTo>
                  <a:lnTo>
                    <a:pt x="1576" y="3125"/>
                  </a:lnTo>
                  <a:lnTo>
                    <a:pt x="1571" y="3130"/>
                  </a:lnTo>
                  <a:lnTo>
                    <a:pt x="1566" y="3134"/>
                  </a:lnTo>
                  <a:lnTo>
                    <a:pt x="1566" y="3143"/>
                  </a:lnTo>
                  <a:lnTo>
                    <a:pt x="1569" y="3154"/>
                  </a:lnTo>
                  <a:lnTo>
                    <a:pt x="1571" y="3158"/>
                  </a:lnTo>
                  <a:lnTo>
                    <a:pt x="1571" y="3160"/>
                  </a:lnTo>
                  <a:lnTo>
                    <a:pt x="1571" y="3162"/>
                  </a:lnTo>
                  <a:lnTo>
                    <a:pt x="1570" y="3164"/>
                  </a:lnTo>
                  <a:lnTo>
                    <a:pt x="1568" y="3171"/>
                  </a:lnTo>
                  <a:lnTo>
                    <a:pt x="1566" y="3178"/>
                  </a:lnTo>
                  <a:lnTo>
                    <a:pt x="1559" y="3190"/>
                  </a:lnTo>
                  <a:lnTo>
                    <a:pt x="1550" y="3206"/>
                  </a:lnTo>
                  <a:lnTo>
                    <a:pt x="1544" y="3212"/>
                  </a:lnTo>
                  <a:lnTo>
                    <a:pt x="1540" y="3216"/>
                  </a:lnTo>
                  <a:lnTo>
                    <a:pt x="1538" y="3219"/>
                  </a:lnTo>
                  <a:lnTo>
                    <a:pt x="1537" y="3221"/>
                  </a:lnTo>
                  <a:lnTo>
                    <a:pt x="1540" y="3224"/>
                  </a:lnTo>
                  <a:lnTo>
                    <a:pt x="1542" y="3225"/>
                  </a:lnTo>
                  <a:lnTo>
                    <a:pt x="1544" y="3226"/>
                  </a:lnTo>
                  <a:lnTo>
                    <a:pt x="1545" y="3227"/>
                  </a:lnTo>
                  <a:lnTo>
                    <a:pt x="1545" y="3227"/>
                  </a:lnTo>
                  <a:lnTo>
                    <a:pt x="1544" y="3228"/>
                  </a:lnTo>
                  <a:lnTo>
                    <a:pt x="1541" y="3230"/>
                  </a:lnTo>
                  <a:lnTo>
                    <a:pt x="1539" y="3230"/>
                  </a:lnTo>
                  <a:lnTo>
                    <a:pt x="1538" y="3231"/>
                  </a:lnTo>
                  <a:lnTo>
                    <a:pt x="1538" y="3233"/>
                  </a:lnTo>
                  <a:lnTo>
                    <a:pt x="1544" y="3239"/>
                  </a:lnTo>
                  <a:lnTo>
                    <a:pt x="1547" y="3246"/>
                  </a:lnTo>
                  <a:lnTo>
                    <a:pt x="1541" y="3251"/>
                  </a:lnTo>
                  <a:lnTo>
                    <a:pt x="1535" y="3256"/>
                  </a:lnTo>
                  <a:lnTo>
                    <a:pt x="1536" y="3260"/>
                  </a:lnTo>
                  <a:lnTo>
                    <a:pt x="1536" y="3271"/>
                  </a:lnTo>
                  <a:lnTo>
                    <a:pt x="1536" y="3277"/>
                  </a:lnTo>
                  <a:lnTo>
                    <a:pt x="1537" y="3283"/>
                  </a:lnTo>
                  <a:lnTo>
                    <a:pt x="1537" y="3285"/>
                  </a:lnTo>
                  <a:lnTo>
                    <a:pt x="1536" y="3289"/>
                  </a:lnTo>
                  <a:lnTo>
                    <a:pt x="1535" y="3291"/>
                  </a:lnTo>
                  <a:lnTo>
                    <a:pt x="1533" y="3292"/>
                  </a:lnTo>
                  <a:lnTo>
                    <a:pt x="1528" y="3295"/>
                  </a:lnTo>
                  <a:lnTo>
                    <a:pt x="1523" y="3297"/>
                  </a:lnTo>
                  <a:lnTo>
                    <a:pt x="1520" y="3298"/>
                  </a:lnTo>
                  <a:lnTo>
                    <a:pt x="1519" y="3299"/>
                  </a:lnTo>
                  <a:lnTo>
                    <a:pt x="1519" y="3301"/>
                  </a:lnTo>
                  <a:lnTo>
                    <a:pt x="1523" y="3304"/>
                  </a:lnTo>
                  <a:lnTo>
                    <a:pt x="1527" y="3308"/>
                  </a:lnTo>
                  <a:lnTo>
                    <a:pt x="1529" y="3312"/>
                  </a:lnTo>
                  <a:lnTo>
                    <a:pt x="1529" y="3314"/>
                  </a:lnTo>
                  <a:lnTo>
                    <a:pt x="1528" y="3315"/>
                  </a:lnTo>
                  <a:lnTo>
                    <a:pt x="1526" y="3316"/>
                  </a:lnTo>
                  <a:lnTo>
                    <a:pt x="1523" y="3316"/>
                  </a:lnTo>
                  <a:lnTo>
                    <a:pt x="1522" y="3316"/>
                  </a:lnTo>
                  <a:lnTo>
                    <a:pt x="1522" y="3316"/>
                  </a:lnTo>
                  <a:lnTo>
                    <a:pt x="1520" y="3317"/>
                  </a:lnTo>
                  <a:lnTo>
                    <a:pt x="1522" y="3319"/>
                  </a:lnTo>
                  <a:lnTo>
                    <a:pt x="1523" y="3321"/>
                  </a:lnTo>
                  <a:lnTo>
                    <a:pt x="1525" y="3323"/>
                  </a:lnTo>
                  <a:lnTo>
                    <a:pt x="1525" y="3323"/>
                  </a:lnTo>
                  <a:lnTo>
                    <a:pt x="1526" y="3324"/>
                  </a:lnTo>
                  <a:lnTo>
                    <a:pt x="1525" y="3325"/>
                  </a:lnTo>
                  <a:lnTo>
                    <a:pt x="1524" y="3327"/>
                  </a:lnTo>
                  <a:lnTo>
                    <a:pt x="1517" y="3329"/>
                  </a:lnTo>
                  <a:lnTo>
                    <a:pt x="1511" y="3333"/>
                  </a:lnTo>
                  <a:lnTo>
                    <a:pt x="1509" y="3334"/>
                  </a:lnTo>
                  <a:lnTo>
                    <a:pt x="1508" y="3336"/>
                  </a:lnTo>
                  <a:lnTo>
                    <a:pt x="1509" y="3338"/>
                  </a:lnTo>
                  <a:lnTo>
                    <a:pt x="1511" y="3341"/>
                  </a:lnTo>
                  <a:lnTo>
                    <a:pt x="1514" y="3343"/>
                  </a:lnTo>
                  <a:lnTo>
                    <a:pt x="1515" y="3344"/>
                  </a:lnTo>
                  <a:lnTo>
                    <a:pt x="1516" y="3344"/>
                  </a:lnTo>
                  <a:lnTo>
                    <a:pt x="1517" y="3344"/>
                  </a:lnTo>
                  <a:lnTo>
                    <a:pt x="1518" y="3340"/>
                  </a:lnTo>
                  <a:lnTo>
                    <a:pt x="1522" y="3337"/>
                  </a:lnTo>
                  <a:lnTo>
                    <a:pt x="1526" y="3335"/>
                  </a:lnTo>
                  <a:lnTo>
                    <a:pt x="1529" y="3334"/>
                  </a:lnTo>
                  <a:lnTo>
                    <a:pt x="1530" y="3335"/>
                  </a:lnTo>
                  <a:lnTo>
                    <a:pt x="1531" y="3336"/>
                  </a:lnTo>
                  <a:lnTo>
                    <a:pt x="1530" y="3337"/>
                  </a:lnTo>
                  <a:lnTo>
                    <a:pt x="1530" y="3339"/>
                  </a:lnTo>
                  <a:lnTo>
                    <a:pt x="1525" y="3344"/>
                  </a:lnTo>
                  <a:lnTo>
                    <a:pt x="1520" y="3347"/>
                  </a:lnTo>
                  <a:lnTo>
                    <a:pt x="1525" y="3353"/>
                  </a:lnTo>
                  <a:lnTo>
                    <a:pt x="1528" y="3360"/>
                  </a:lnTo>
                  <a:lnTo>
                    <a:pt x="1524" y="3362"/>
                  </a:lnTo>
                  <a:lnTo>
                    <a:pt x="1520" y="3366"/>
                  </a:lnTo>
                  <a:lnTo>
                    <a:pt x="1523" y="3370"/>
                  </a:lnTo>
                  <a:lnTo>
                    <a:pt x="1526" y="3372"/>
                  </a:lnTo>
                  <a:lnTo>
                    <a:pt x="1524" y="3375"/>
                  </a:lnTo>
                  <a:lnTo>
                    <a:pt x="1522" y="3378"/>
                  </a:lnTo>
                  <a:lnTo>
                    <a:pt x="1525" y="3380"/>
                  </a:lnTo>
                  <a:lnTo>
                    <a:pt x="1528" y="3382"/>
                  </a:lnTo>
                  <a:lnTo>
                    <a:pt x="1535" y="3385"/>
                  </a:lnTo>
                  <a:lnTo>
                    <a:pt x="1550" y="3391"/>
                  </a:lnTo>
                  <a:lnTo>
                    <a:pt x="1566" y="3399"/>
                  </a:lnTo>
                  <a:lnTo>
                    <a:pt x="1576" y="3402"/>
                  </a:lnTo>
                  <a:lnTo>
                    <a:pt x="1580" y="3403"/>
                  </a:lnTo>
                  <a:lnTo>
                    <a:pt x="1582" y="3404"/>
                  </a:lnTo>
                  <a:lnTo>
                    <a:pt x="1583" y="3405"/>
                  </a:lnTo>
                  <a:lnTo>
                    <a:pt x="1582" y="3406"/>
                  </a:lnTo>
                  <a:lnTo>
                    <a:pt x="1584" y="3406"/>
                  </a:lnTo>
                  <a:lnTo>
                    <a:pt x="1584" y="3406"/>
                  </a:lnTo>
                  <a:lnTo>
                    <a:pt x="1586" y="3407"/>
                  </a:lnTo>
                  <a:lnTo>
                    <a:pt x="1590" y="3407"/>
                  </a:lnTo>
                  <a:lnTo>
                    <a:pt x="1595" y="3408"/>
                  </a:lnTo>
                  <a:lnTo>
                    <a:pt x="1610" y="3409"/>
                  </a:lnTo>
                  <a:lnTo>
                    <a:pt x="1625" y="3410"/>
                  </a:lnTo>
                  <a:lnTo>
                    <a:pt x="1639" y="3411"/>
                  </a:lnTo>
                  <a:lnTo>
                    <a:pt x="1649" y="3413"/>
                  </a:lnTo>
                  <a:lnTo>
                    <a:pt x="1656" y="3413"/>
                  </a:lnTo>
                  <a:lnTo>
                    <a:pt x="1659" y="3412"/>
                  </a:lnTo>
                  <a:lnTo>
                    <a:pt x="1663" y="3411"/>
                  </a:lnTo>
                  <a:lnTo>
                    <a:pt x="1671" y="3408"/>
                  </a:lnTo>
                  <a:lnTo>
                    <a:pt x="1685" y="3405"/>
                  </a:lnTo>
                  <a:lnTo>
                    <a:pt x="1693" y="3406"/>
                  </a:lnTo>
                  <a:lnTo>
                    <a:pt x="1699" y="3406"/>
                  </a:lnTo>
                  <a:lnTo>
                    <a:pt x="1703" y="3406"/>
                  </a:lnTo>
                  <a:lnTo>
                    <a:pt x="1708" y="3406"/>
                  </a:lnTo>
                  <a:lnTo>
                    <a:pt x="1713" y="3405"/>
                  </a:lnTo>
                  <a:lnTo>
                    <a:pt x="1713" y="3405"/>
                  </a:lnTo>
                  <a:close/>
                  <a:moveTo>
                    <a:pt x="2792" y="423"/>
                  </a:moveTo>
                  <a:lnTo>
                    <a:pt x="2810" y="439"/>
                  </a:lnTo>
                  <a:lnTo>
                    <a:pt x="2828" y="455"/>
                  </a:lnTo>
                  <a:lnTo>
                    <a:pt x="2845" y="471"/>
                  </a:lnTo>
                  <a:lnTo>
                    <a:pt x="2862" y="488"/>
                  </a:lnTo>
                  <a:lnTo>
                    <a:pt x="2863" y="489"/>
                  </a:lnTo>
                  <a:lnTo>
                    <a:pt x="2863" y="489"/>
                  </a:lnTo>
                  <a:lnTo>
                    <a:pt x="2863" y="490"/>
                  </a:lnTo>
                  <a:lnTo>
                    <a:pt x="2875" y="503"/>
                  </a:lnTo>
                  <a:lnTo>
                    <a:pt x="2888" y="515"/>
                  </a:lnTo>
                  <a:lnTo>
                    <a:pt x="2896" y="523"/>
                  </a:lnTo>
                  <a:lnTo>
                    <a:pt x="2904" y="531"/>
                  </a:lnTo>
                  <a:lnTo>
                    <a:pt x="2906" y="534"/>
                  </a:lnTo>
                  <a:lnTo>
                    <a:pt x="2909" y="537"/>
                  </a:lnTo>
                  <a:lnTo>
                    <a:pt x="2915" y="544"/>
                  </a:lnTo>
                  <a:lnTo>
                    <a:pt x="2922" y="552"/>
                  </a:lnTo>
                  <a:lnTo>
                    <a:pt x="2929" y="559"/>
                  </a:lnTo>
                  <a:lnTo>
                    <a:pt x="2932" y="564"/>
                  </a:lnTo>
                  <a:lnTo>
                    <a:pt x="2935" y="567"/>
                  </a:lnTo>
                  <a:lnTo>
                    <a:pt x="2937" y="571"/>
                  </a:lnTo>
                  <a:lnTo>
                    <a:pt x="2937" y="573"/>
                  </a:lnTo>
                  <a:lnTo>
                    <a:pt x="2937" y="573"/>
                  </a:lnTo>
                  <a:lnTo>
                    <a:pt x="2937" y="573"/>
                  </a:lnTo>
                  <a:lnTo>
                    <a:pt x="2936" y="573"/>
                  </a:lnTo>
                  <a:lnTo>
                    <a:pt x="2932" y="566"/>
                  </a:lnTo>
                  <a:lnTo>
                    <a:pt x="2928" y="559"/>
                  </a:lnTo>
                  <a:lnTo>
                    <a:pt x="2921" y="555"/>
                  </a:lnTo>
                  <a:lnTo>
                    <a:pt x="2913" y="548"/>
                  </a:lnTo>
                  <a:lnTo>
                    <a:pt x="2906" y="539"/>
                  </a:lnTo>
                  <a:lnTo>
                    <a:pt x="2902" y="533"/>
                  </a:lnTo>
                  <a:lnTo>
                    <a:pt x="2896" y="526"/>
                  </a:lnTo>
                  <a:lnTo>
                    <a:pt x="2891" y="520"/>
                  </a:lnTo>
                  <a:lnTo>
                    <a:pt x="2884" y="513"/>
                  </a:lnTo>
                  <a:lnTo>
                    <a:pt x="2873" y="501"/>
                  </a:lnTo>
                  <a:lnTo>
                    <a:pt x="2875" y="506"/>
                  </a:lnTo>
                  <a:lnTo>
                    <a:pt x="2885" y="520"/>
                  </a:lnTo>
                  <a:lnTo>
                    <a:pt x="2895" y="537"/>
                  </a:lnTo>
                  <a:lnTo>
                    <a:pt x="2902" y="548"/>
                  </a:lnTo>
                  <a:lnTo>
                    <a:pt x="2905" y="552"/>
                  </a:lnTo>
                  <a:lnTo>
                    <a:pt x="2905" y="555"/>
                  </a:lnTo>
                  <a:lnTo>
                    <a:pt x="2902" y="555"/>
                  </a:lnTo>
                  <a:lnTo>
                    <a:pt x="2898" y="551"/>
                  </a:lnTo>
                  <a:lnTo>
                    <a:pt x="2889" y="541"/>
                  </a:lnTo>
                  <a:lnTo>
                    <a:pt x="2876" y="528"/>
                  </a:lnTo>
                  <a:lnTo>
                    <a:pt x="2863" y="513"/>
                  </a:lnTo>
                  <a:lnTo>
                    <a:pt x="2854" y="504"/>
                  </a:lnTo>
                  <a:lnTo>
                    <a:pt x="2852" y="501"/>
                  </a:lnTo>
                  <a:lnTo>
                    <a:pt x="2851" y="499"/>
                  </a:lnTo>
                  <a:lnTo>
                    <a:pt x="2852" y="499"/>
                  </a:lnTo>
                  <a:lnTo>
                    <a:pt x="2853" y="499"/>
                  </a:lnTo>
                  <a:lnTo>
                    <a:pt x="2855" y="499"/>
                  </a:lnTo>
                  <a:lnTo>
                    <a:pt x="2856" y="499"/>
                  </a:lnTo>
                  <a:lnTo>
                    <a:pt x="2857" y="499"/>
                  </a:lnTo>
                  <a:lnTo>
                    <a:pt x="2857" y="498"/>
                  </a:lnTo>
                  <a:lnTo>
                    <a:pt x="2849" y="490"/>
                  </a:lnTo>
                  <a:lnTo>
                    <a:pt x="2839" y="481"/>
                  </a:lnTo>
                  <a:lnTo>
                    <a:pt x="2834" y="475"/>
                  </a:lnTo>
                  <a:lnTo>
                    <a:pt x="2834" y="474"/>
                  </a:lnTo>
                  <a:lnTo>
                    <a:pt x="2836" y="474"/>
                  </a:lnTo>
                  <a:lnTo>
                    <a:pt x="2837" y="474"/>
                  </a:lnTo>
                  <a:lnTo>
                    <a:pt x="2837" y="474"/>
                  </a:lnTo>
                  <a:lnTo>
                    <a:pt x="2840" y="475"/>
                  </a:lnTo>
                  <a:lnTo>
                    <a:pt x="2841" y="475"/>
                  </a:lnTo>
                  <a:lnTo>
                    <a:pt x="2842" y="475"/>
                  </a:lnTo>
                  <a:lnTo>
                    <a:pt x="2841" y="474"/>
                  </a:lnTo>
                  <a:lnTo>
                    <a:pt x="2840" y="472"/>
                  </a:lnTo>
                  <a:lnTo>
                    <a:pt x="2832" y="468"/>
                  </a:lnTo>
                  <a:lnTo>
                    <a:pt x="2826" y="466"/>
                  </a:lnTo>
                  <a:lnTo>
                    <a:pt x="2819" y="459"/>
                  </a:lnTo>
                  <a:lnTo>
                    <a:pt x="2809" y="449"/>
                  </a:lnTo>
                  <a:lnTo>
                    <a:pt x="2808" y="449"/>
                  </a:lnTo>
                  <a:lnTo>
                    <a:pt x="2813" y="457"/>
                  </a:lnTo>
                  <a:lnTo>
                    <a:pt x="2812" y="456"/>
                  </a:lnTo>
                  <a:lnTo>
                    <a:pt x="2806" y="450"/>
                  </a:lnTo>
                  <a:lnTo>
                    <a:pt x="2798" y="441"/>
                  </a:lnTo>
                  <a:lnTo>
                    <a:pt x="2790" y="431"/>
                  </a:lnTo>
                  <a:lnTo>
                    <a:pt x="2788" y="430"/>
                  </a:lnTo>
                  <a:lnTo>
                    <a:pt x="2785" y="427"/>
                  </a:lnTo>
                  <a:lnTo>
                    <a:pt x="2782" y="425"/>
                  </a:lnTo>
                  <a:lnTo>
                    <a:pt x="2779" y="421"/>
                  </a:lnTo>
                  <a:lnTo>
                    <a:pt x="2785" y="426"/>
                  </a:lnTo>
                  <a:lnTo>
                    <a:pt x="2790" y="429"/>
                  </a:lnTo>
                  <a:lnTo>
                    <a:pt x="2782" y="421"/>
                  </a:lnTo>
                  <a:lnTo>
                    <a:pt x="2770" y="409"/>
                  </a:lnTo>
                  <a:lnTo>
                    <a:pt x="2759" y="399"/>
                  </a:lnTo>
                  <a:lnTo>
                    <a:pt x="2749" y="389"/>
                  </a:lnTo>
                  <a:lnTo>
                    <a:pt x="2751" y="388"/>
                  </a:lnTo>
                  <a:lnTo>
                    <a:pt x="2758" y="394"/>
                  </a:lnTo>
                  <a:lnTo>
                    <a:pt x="2767" y="402"/>
                  </a:lnTo>
                  <a:lnTo>
                    <a:pt x="2775" y="407"/>
                  </a:lnTo>
                  <a:lnTo>
                    <a:pt x="2788" y="420"/>
                  </a:lnTo>
                  <a:lnTo>
                    <a:pt x="2795" y="425"/>
                  </a:lnTo>
                  <a:lnTo>
                    <a:pt x="2793" y="424"/>
                  </a:lnTo>
                  <a:lnTo>
                    <a:pt x="2792" y="423"/>
                  </a:lnTo>
                  <a:close/>
                  <a:moveTo>
                    <a:pt x="3239" y="1053"/>
                  </a:moveTo>
                  <a:lnTo>
                    <a:pt x="3253" y="1090"/>
                  </a:lnTo>
                  <a:lnTo>
                    <a:pt x="3268" y="1129"/>
                  </a:lnTo>
                  <a:lnTo>
                    <a:pt x="3281" y="1168"/>
                  </a:lnTo>
                  <a:lnTo>
                    <a:pt x="3293" y="1208"/>
                  </a:lnTo>
                  <a:lnTo>
                    <a:pt x="3305" y="1247"/>
                  </a:lnTo>
                  <a:lnTo>
                    <a:pt x="3315" y="1287"/>
                  </a:lnTo>
                  <a:lnTo>
                    <a:pt x="3326" y="1328"/>
                  </a:lnTo>
                  <a:lnTo>
                    <a:pt x="3334" y="1369"/>
                  </a:lnTo>
                  <a:lnTo>
                    <a:pt x="3341" y="1410"/>
                  </a:lnTo>
                  <a:lnTo>
                    <a:pt x="3349" y="1452"/>
                  </a:lnTo>
                  <a:lnTo>
                    <a:pt x="3354" y="1494"/>
                  </a:lnTo>
                  <a:lnTo>
                    <a:pt x="3359" y="1536"/>
                  </a:lnTo>
                  <a:lnTo>
                    <a:pt x="3362" y="1579"/>
                  </a:lnTo>
                  <a:lnTo>
                    <a:pt x="3366" y="1622"/>
                  </a:lnTo>
                  <a:lnTo>
                    <a:pt x="3367" y="1664"/>
                  </a:lnTo>
                  <a:lnTo>
                    <a:pt x="3368" y="1707"/>
                  </a:lnTo>
                  <a:lnTo>
                    <a:pt x="3368" y="1738"/>
                  </a:lnTo>
                  <a:lnTo>
                    <a:pt x="3367" y="1768"/>
                  </a:lnTo>
                  <a:lnTo>
                    <a:pt x="3366" y="1799"/>
                  </a:lnTo>
                  <a:lnTo>
                    <a:pt x="3363" y="1829"/>
                  </a:lnTo>
                  <a:lnTo>
                    <a:pt x="3361" y="1859"/>
                  </a:lnTo>
                  <a:lnTo>
                    <a:pt x="3358" y="1889"/>
                  </a:lnTo>
                  <a:lnTo>
                    <a:pt x="3355" y="1918"/>
                  </a:lnTo>
                  <a:lnTo>
                    <a:pt x="3351" y="1948"/>
                  </a:lnTo>
                  <a:lnTo>
                    <a:pt x="3351" y="1948"/>
                  </a:lnTo>
                  <a:lnTo>
                    <a:pt x="3350" y="1956"/>
                  </a:lnTo>
                  <a:lnTo>
                    <a:pt x="3349" y="1957"/>
                  </a:lnTo>
                  <a:lnTo>
                    <a:pt x="3349" y="1949"/>
                  </a:lnTo>
                  <a:lnTo>
                    <a:pt x="3349" y="1937"/>
                  </a:lnTo>
                  <a:lnTo>
                    <a:pt x="3348" y="1923"/>
                  </a:lnTo>
                  <a:lnTo>
                    <a:pt x="3348" y="1916"/>
                  </a:lnTo>
                  <a:lnTo>
                    <a:pt x="3348" y="1914"/>
                  </a:lnTo>
                  <a:lnTo>
                    <a:pt x="3347" y="1913"/>
                  </a:lnTo>
                  <a:lnTo>
                    <a:pt x="3347" y="1912"/>
                  </a:lnTo>
                  <a:lnTo>
                    <a:pt x="3346" y="1913"/>
                  </a:lnTo>
                  <a:lnTo>
                    <a:pt x="3345" y="1918"/>
                  </a:lnTo>
                  <a:lnTo>
                    <a:pt x="3345" y="1923"/>
                  </a:lnTo>
                  <a:lnTo>
                    <a:pt x="3345" y="1930"/>
                  </a:lnTo>
                  <a:lnTo>
                    <a:pt x="3345" y="1938"/>
                  </a:lnTo>
                  <a:lnTo>
                    <a:pt x="3344" y="1953"/>
                  </a:lnTo>
                  <a:lnTo>
                    <a:pt x="3344" y="1968"/>
                  </a:lnTo>
                  <a:lnTo>
                    <a:pt x="3345" y="1967"/>
                  </a:lnTo>
                  <a:lnTo>
                    <a:pt x="3345" y="1971"/>
                  </a:lnTo>
                  <a:lnTo>
                    <a:pt x="3343" y="1985"/>
                  </a:lnTo>
                  <a:lnTo>
                    <a:pt x="3341" y="1997"/>
                  </a:lnTo>
                  <a:lnTo>
                    <a:pt x="3341" y="1998"/>
                  </a:lnTo>
                  <a:lnTo>
                    <a:pt x="3343" y="1992"/>
                  </a:lnTo>
                  <a:lnTo>
                    <a:pt x="3344" y="1989"/>
                  </a:lnTo>
                  <a:lnTo>
                    <a:pt x="3346" y="1982"/>
                  </a:lnTo>
                  <a:lnTo>
                    <a:pt x="3348" y="1970"/>
                  </a:lnTo>
                  <a:lnTo>
                    <a:pt x="3349" y="1962"/>
                  </a:lnTo>
                  <a:lnTo>
                    <a:pt x="3349" y="1963"/>
                  </a:lnTo>
                  <a:lnTo>
                    <a:pt x="3349" y="1963"/>
                  </a:lnTo>
                  <a:lnTo>
                    <a:pt x="3344" y="1998"/>
                  </a:lnTo>
                  <a:lnTo>
                    <a:pt x="3337" y="2032"/>
                  </a:lnTo>
                  <a:lnTo>
                    <a:pt x="3330" y="2067"/>
                  </a:lnTo>
                  <a:lnTo>
                    <a:pt x="3323" y="2100"/>
                  </a:lnTo>
                  <a:lnTo>
                    <a:pt x="3323" y="2100"/>
                  </a:lnTo>
                  <a:lnTo>
                    <a:pt x="3319" y="2110"/>
                  </a:lnTo>
                  <a:lnTo>
                    <a:pt x="3317" y="2120"/>
                  </a:lnTo>
                  <a:lnTo>
                    <a:pt x="3312" y="2136"/>
                  </a:lnTo>
                  <a:lnTo>
                    <a:pt x="3307" y="2152"/>
                  </a:lnTo>
                  <a:lnTo>
                    <a:pt x="3302" y="2164"/>
                  </a:lnTo>
                  <a:lnTo>
                    <a:pt x="3300" y="2170"/>
                  </a:lnTo>
                  <a:lnTo>
                    <a:pt x="3297" y="2174"/>
                  </a:lnTo>
                  <a:lnTo>
                    <a:pt x="3293" y="2180"/>
                  </a:lnTo>
                  <a:lnTo>
                    <a:pt x="3292" y="2182"/>
                  </a:lnTo>
                  <a:lnTo>
                    <a:pt x="3291" y="2184"/>
                  </a:lnTo>
                  <a:lnTo>
                    <a:pt x="3290" y="2183"/>
                  </a:lnTo>
                  <a:lnTo>
                    <a:pt x="3290" y="2181"/>
                  </a:lnTo>
                  <a:lnTo>
                    <a:pt x="3292" y="2170"/>
                  </a:lnTo>
                  <a:lnTo>
                    <a:pt x="3293" y="2153"/>
                  </a:lnTo>
                  <a:lnTo>
                    <a:pt x="3295" y="2138"/>
                  </a:lnTo>
                  <a:lnTo>
                    <a:pt x="3296" y="2131"/>
                  </a:lnTo>
                  <a:lnTo>
                    <a:pt x="3295" y="2127"/>
                  </a:lnTo>
                  <a:lnTo>
                    <a:pt x="3293" y="2115"/>
                  </a:lnTo>
                  <a:lnTo>
                    <a:pt x="3292" y="2108"/>
                  </a:lnTo>
                  <a:lnTo>
                    <a:pt x="3292" y="2100"/>
                  </a:lnTo>
                  <a:lnTo>
                    <a:pt x="3292" y="2092"/>
                  </a:lnTo>
                  <a:lnTo>
                    <a:pt x="3293" y="2085"/>
                  </a:lnTo>
                  <a:lnTo>
                    <a:pt x="3295" y="2073"/>
                  </a:lnTo>
                  <a:lnTo>
                    <a:pt x="3297" y="2062"/>
                  </a:lnTo>
                  <a:lnTo>
                    <a:pt x="3297" y="2052"/>
                  </a:lnTo>
                  <a:lnTo>
                    <a:pt x="3297" y="2045"/>
                  </a:lnTo>
                  <a:lnTo>
                    <a:pt x="3295" y="2032"/>
                  </a:lnTo>
                  <a:lnTo>
                    <a:pt x="3293" y="2012"/>
                  </a:lnTo>
                  <a:lnTo>
                    <a:pt x="3292" y="1992"/>
                  </a:lnTo>
                  <a:lnTo>
                    <a:pt x="3291" y="1980"/>
                  </a:lnTo>
                  <a:lnTo>
                    <a:pt x="3290" y="1971"/>
                  </a:lnTo>
                  <a:lnTo>
                    <a:pt x="3290" y="1959"/>
                  </a:lnTo>
                  <a:lnTo>
                    <a:pt x="3290" y="1946"/>
                  </a:lnTo>
                  <a:lnTo>
                    <a:pt x="3290" y="1938"/>
                  </a:lnTo>
                  <a:lnTo>
                    <a:pt x="3289" y="1938"/>
                  </a:lnTo>
                  <a:lnTo>
                    <a:pt x="3287" y="1945"/>
                  </a:lnTo>
                  <a:lnTo>
                    <a:pt x="3286" y="1955"/>
                  </a:lnTo>
                  <a:lnTo>
                    <a:pt x="3285" y="1962"/>
                  </a:lnTo>
                  <a:lnTo>
                    <a:pt x="3285" y="1964"/>
                  </a:lnTo>
                  <a:lnTo>
                    <a:pt x="3285" y="1964"/>
                  </a:lnTo>
                  <a:lnTo>
                    <a:pt x="3284" y="1964"/>
                  </a:lnTo>
                  <a:lnTo>
                    <a:pt x="3284" y="1964"/>
                  </a:lnTo>
                  <a:lnTo>
                    <a:pt x="3282" y="1962"/>
                  </a:lnTo>
                  <a:lnTo>
                    <a:pt x="3281" y="1958"/>
                  </a:lnTo>
                  <a:lnTo>
                    <a:pt x="3279" y="1949"/>
                  </a:lnTo>
                  <a:lnTo>
                    <a:pt x="3277" y="1946"/>
                  </a:lnTo>
                  <a:lnTo>
                    <a:pt x="3278" y="1956"/>
                  </a:lnTo>
                  <a:lnTo>
                    <a:pt x="3280" y="1966"/>
                  </a:lnTo>
                  <a:lnTo>
                    <a:pt x="3281" y="1970"/>
                  </a:lnTo>
                  <a:lnTo>
                    <a:pt x="3282" y="1979"/>
                  </a:lnTo>
                  <a:lnTo>
                    <a:pt x="3282" y="1986"/>
                  </a:lnTo>
                  <a:lnTo>
                    <a:pt x="3282" y="1996"/>
                  </a:lnTo>
                  <a:lnTo>
                    <a:pt x="3282" y="2004"/>
                  </a:lnTo>
                  <a:lnTo>
                    <a:pt x="3283" y="2010"/>
                  </a:lnTo>
                  <a:lnTo>
                    <a:pt x="3283" y="2020"/>
                  </a:lnTo>
                  <a:lnTo>
                    <a:pt x="3284" y="2033"/>
                  </a:lnTo>
                  <a:lnTo>
                    <a:pt x="3284" y="2047"/>
                  </a:lnTo>
                  <a:lnTo>
                    <a:pt x="3284" y="2053"/>
                  </a:lnTo>
                  <a:lnTo>
                    <a:pt x="3284" y="2065"/>
                  </a:lnTo>
                  <a:lnTo>
                    <a:pt x="3283" y="2085"/>
                  </a:lnTo>
                  <a:lnTo>
                    <a:pt x="3283" y="2095"/>
                  </a:lnTo>
                  <a:lnTo>
                    <a:pt x="3282" y="2109"/>
                  </a:lnTo>
                  <a:lnTo>
                    <a:pt x="3282" y="2121"/>
                  </a:lnTo>
                  <a:lnTo>
                    <a:pt x="3282" y="2128"/>
                  </a:lnTo>
                  <a:lnTo>
                    <a:pt x="3284" y="2131"/>
                  </a:lnTo>
                  <a:lnTo>
                    <a:pt x="3286" y="2135"/>
                  </a:lnTo>
                  <a:lnTo>
                    <a:pt x="3289" y="2140"/>
                  </a:lnTo>
                  <a:lnTo>
                    <a:pt x="3289" y="2145"/>
                  </a:lnTo>
                  <a:lnTo>
                    <a:pt x="3286" y="2157"/>
                  </a:lnTo>
                  <a:lnTo>
                    <a:pt x="3286" y="2165"/>
                  </a:lnTo>
                  <a:lnTo>
                    <a:pt x="3285" y="2179"/>
                  </a:lnTo>
                  <a:lnTo>
                    <a:pt x="3283" y="2197"/>
                  </a:lnTo>
                  <a:lnTo>
                    <a:pt x="3282" y="2202"/>
                  </a:lnTo>
                  <a:lnTo>
                    <a:pt x="3282" y="2207"/>
                  </a:lnTo>
                  <a:lnTo>
                    <a:pt x="3282" y="2209"/>
                  </a:lnTo>
                  <a:lnTo>
                    <a:pt x="3282" y="2210"/>
                  </a:lnTo>
                  <a:lnTo>
                    <a:pt x="3283" y="2210"/>
                  </a:lnTo>
                  <a:lnTo>
                    <a:pt x="3284" y="2209"/>
                  </a:lnTo>
                  <a:lnTo>
                    <a:pt x="3289" y="2200"/>
                  </a:lnTo>
                  <a:lnTo>
                    <a:pt x="3296" y="2185"/>
                  </a:lnTo>
                  <a:lnTo>
                    <a:pt x="3300" y="2179"/>
                  </a:lnTo>
                  <a:lnTo>
                    <a:pt x="3302" y="2174"/>
                  </a:lnTo>
                  <a:lnTo>
                    <a:pt x="3303" y="2173"/>
                  </a:lnTo>
                  <a:lnTo>
                    <a:pt x="3303" y="2173"/>
                  </a:lnTo>
                  <a:lnTo>
                    <a:pt x="3303" y="2174"/>
                  </a:lnTo>
                  <a:lnTo>
                    <a:pt x="3303" y="2176"/>
                  </a:lnTo>
                  <a:lnTo>
                    <a:pt x="3297" y="2194"/>
                  </a:lnTo>
                  <a:lnTo>
                    <a:pt x="3289" y="2220"/>
                  </a:lnTo>
                  <a:lnTo>
                    <a:pt x="3281" y="2245"/>
                  </a:lnTo>
                  <a:lnTo>
                    <a:pt x="3275" y="2263"/>
                  </a:lnTo>
                  <a:lnTo>
                    <a:pt x="3270" y="2277"/>
                  </a:lnTo>
                  <a:lnTo>
                    <a:pt x="3263" y="2294"/>
                  </a:lnTo>
                  <a:lnTo>
                    <a:pt x="3257" y="2312"/>
                  </a:lnTo>
                  <a:lnTo>
                    <a:pt x="3250" y="2327"/>
                  </a:lnTo>
                  <a:lnTo>
                    <a:pt x="3241" y="2348"/>
                  </a:lnTo>
                  <a:lnTo>
                    <a:pt x="3227" y="2376"/>
                  </a:lnTo>
                  <a:lnTo>
                    <a:pt x="3215" y="2403"/>
                  </a:lnTo>
                  <a:lnTo>
                    <a:pt x="3206" y="2422"/>
                  </a:lnTo>
                  <a:lnTo>
                    <a:pt x="3201" y="2434"/>
                  </a:lnTo>
                  <a:lnTo>
                    <a:pt x="3197" y="2443"/>
                  </a:lnTo>
                  <a:lnTo>
                    <a:pt x="3193" y="2453"/>
                  </a:lnTo>
                  <a:lnTo>
                    <a:pt x="3190" y="2462"/>
                  </a:lnTo>
                  <a:lnTo>
                    <a:pt x="3183" y="2475"/>
                  </a:lnTo>
                  <a:lnTo>
                    <a:pt x="3181" y="2481"/>
                  </a:lnTo>
                  <a:lnTo>
                    <a:pt x="3177" y="2490"/>
                  </a:lnTo>
                  <a:lnTo>
                    <a:pt x="3171" y="2506"/>
                  </a:lnTo>
                  <a:lnTo>
                    <a:pt x="3163" y="2519"/>
                  </a:lnTo>
                  <a:lnTo>
                    <a:pt x="3153" y="2539"/>
                  </a:lnTo>
                  <a:lnTo>
                    <a:pt x="3141" y="2560"/>
                  </a:lnTo>
                  <a:lnTo>
                    <a:pt x="3135" y="2571"/>
                  </a:lnTo>
                  <a:lnTo>
                    <a:pt x="3130" y="2579"/>
                  </a:lnTo>
                  <a:lnTo>
                    <a:pt x="3121" y="2594"/>
                  </a:lnTo>
                  <a:lnTo>
                    <a:pt x="3112" y="2610"/>
                  </a:lnTo>
                  <a:lnTo>
                    <a:pt x="3106" y="2620"/>
                  </a:lnTo>
                  <a:lnTo>
                    <a:pt x="3096" y="2633"/>
                  </a:lnTo>
                  <a:lnTo>
                    <a:pt x="3090" y="2644"/>
                  </a:lnTo>
                  <a:lnTo>
                    <a:pt x="3088" y="2648"/>
                  </a:lnTo>
                  <a:lnTo>
                    <a:pt x="3085" y="2654"/>
                  </a:lnTo>
                  <a:lnTo>
                    <a:pt x="3081" y="2660"/>
                  </a:lnTo>
                  <a:lnTo>
                    <a:pt x="3074" y="2669"/>
                  </a:lnTo>
                  <a:lnTo>
                    <a:pt x="3067" y="2680"/>
                  </a:lnTo>
                  <a:lnTo>
                    <a:pt x="3062" y="2688"/>
                  </a:lnTo>
                  <a:lnTo>
                    <a:pt x="3059" y="2691"/>
                  </a:lnTo>
                  <a:lnTo>
                    <a:pt x="3056" y="2695"/>
                  </a:lnTo>
                  <a:lnTo>
                    <a:pt x="3050" y="2704"/>
                  </a:lnTo>
                  <a:lnTo>
                    <a:pt x="3044" y="2713"/>
                  </a:lnTo>
                  <a:lnTo>
                    <a:pt x="3042" y="2715"/>
                  </a:lnTo>
                  <a:lnTo>
                    <a:pt x="3042" y="2715"/>
                  </a:lnTo>
                  <a:lnTo>
                    <a:pt x="3042" y="2715"/>
                  </a:lnTo>
                  <a:lnTo>
                    <a:pt x="3034" y="2726"/>
                  </a:lnTo>
                  <a:lnTo>
                    <a:pt x="3026" y="2736"/>
                  </a:lnTo>
                  <a:lnTo>
                    <a:pt x="3026" y="2736"/>
                  </a:lnTo>
                  <a:lnTo>
                    <a:pt x="3025" y="2739"/>
                  </a:lnTo>
                  <a:lnTo>
                    <a:pt x="3024" y="2739"/>
                  </a:lnTo>
                  <a:lnTo>
                    <a:pt x="3024" y="2739"/>
                  </a:lnTo>
                  <a:lnTo>
                    <a:pt x="3006" y="2764"/>
                  </a:lnTo>
                  <a:lnTo>
                    <a:pt x="2986" y="2788"/>
                  </a:lnTo>
                  <a:lnTo>
                    <a:pt x="2967" y="2812"/>
                  </a:lnTo>
                  <a:lnTo>
                    <a:pt x="2948" y="2835"/>
                  </a:lnTo>
                  <a:lnTo>
                    <a:pt x="2940" y="2843"/>
                  </a:lnTo>
                  <a:lnTo>
                    <a:pt x="2933" y="2852"/>
                  </a:lnTo>
                  <a:lnTo>
                    <a:pt x="2924" y="2859"/>
                  </a:lnTo>
                  <a:lnTo>
                    <a:pt x="2917" y="2867"/>
                  </a:lnTo>
                  <a:lnTo>
                    <a:pt x="2905" y="2880"/>
                  </a:lnTo>
                  <a:lnTo>
                    <a:pt x="2897" y="2887"/>
                  </a:lnTo>
                  <a:lnTo>
                    <a:pt x="2891" y="2892"/>
                  </a:lnTo>
                  <a:lnTo>
                    <a:pt x="2889" y="2892"/>
                  </a:lnTo>
                  <a:lnTo>
                    <a:pt x="2889" y="2890"/>
                  </a:lnTo>
                  <a:lnTo>
                    <a:pt x="2889" y="2888"/>
                  </a:lnTo>
                  <a:lnTo>
                    <a:pt x="2897" y="2878"/>
                  </a:lnTo>
                  <a:lnTo>
                    <a:pt x="2904" y="2866"/>
                  </a:lnTo>
                  <a:lnTo>
                    <a:pt x="2907" y="2854"/>
                  </a:lnTo>
                  <a:lnTo>
                    <a:pt x="2910" y="2838"/>
                  </a:lnTo>
                  <a:lnTo>
                    <a:pt x="2911" y="2832"/>
                  </a:lnTo>
                  <a:lnTo>
                    <a:pt x="2913" y="2824"/>
                  </a:lnTo>
                  <a:lnTo>
                    <a:pt x="2917" y="2815"/>
                  </a:lnTo>
                  <a:lnTo>
                    <a:pt x="2921" y="2805"/>
                  </a:lnTo>
                  <a:lnTo>
                    <a:pt x="2929" y="2791"/>
                  </a:lnTo>
                  <a:lnTo>
                    <a:pt x="2933" y="2782"/>
                  </a:lnTo>
                  <a:lnTo>
                    <a:pt x="2933" y="2777"/>
                  </a:lnTo>
                  <a:lnTo>
                    <a:pt x="2933" y="2771"/>
                  </a:lnTo>
                  <a:lnTo>
                    <a:pt x="2935" y="2763"/>
                  </a:lnTo>
                  <a:lnTo>
                    <a:pt x="2935" y="2753"/>
                  </a:lnTo>
                  <a:lnTo>
                    <a:pt x="2933" y="2751"/>
                  </a:lnTo>
                  <a:lnTo>
                    <a:pt x="2931" y="2747"/>
                  </a:lnTo>
                  <a:lnTo>
                    <a:pt x="2930" y="2745"/>
                  </a:lnTo>
                  <a:lnTo>
                    <a:pt x="2930" y="2743"/>
                  </a:lnTo>
                  <a:lnTo>
                    <a:pt x="2930" y="2739"/>
                  </a:lnTo>
                  <a:lnTo>
                    <a:pt x="2931" y="2737"/>
                  </a:lnTo>
                  <a:lnTo>
                    <a:pt x="2936" y="2725"/>
                  </a:lnTo>
                  <a:lnTo>
                    <a:pt x="2945" y="2706"/>
                  </a:lnTo>
                  <a:lnTo>
                    <a:pt x="2955" y="2687"/>
                  </a:lnTo>
                  <a:lnTo>
                    <a:pt x="2960" y="2677"/>
                  </a:lnTo>
                  <a:lnTo>
                    <a:pt x="2964" y="2671"/>
                  </a:lnTo>
                  <a:lnTo>
                    <a:pt x="2974" y="2662"/>
                  </a:lnTo>
                  <a:lnTo>
                    <a:pt x="2982" y="2650"/>
                  </a:lnTo>
                  <a:lnTo>
                    <a:pt x="2986" y="2642"/>
                  </a:lnTo>
                  <a:lnTo>
                    <a:pt x="2986" y="2631"/>
                  </a:lnTo>
                  <a:lnTo>
                    <a:pt x="2985" y="2623"/>
                  </a:lnTo>
                  <a:lnTo>
                    <a:pt x="2985" y="2617"/>
                  </a:lnTo>
                  <a:lnTo>
                    <a:pt x="2987" y="2609"/>
                  </a:lnTo>
                  <a:lnTo>
                    <a:pt x="2990" y="2603"/>
                  </a:lnTo>
                  <a:lnTo>
                    <a:pt x="2992" y="2598"/>
                  </a:lnTo>
                  <a:lnTo>
                    <a:pt x="2990" y="2590"/>
                  </a:lnTo>
                  <a:lnTo>
                    <a:pt x="2989" y="2581"/>
                  </a:lnTo>
                  <a:lnTo>
                    <a:pt x="2990" y="2576"/>
                  </a:lnTo>
                  <a:lnTo>
                    <a:pt x="2990" y="2567"/>
                  </a:lnTo>
                  <a:lnTo>
                    <a:pt x="2992" y="2561"/>
                  </a:lnTo>
                  <a:lnTo>
                    <a:pt x="2990" y="2555"/>
                  </a:lnTo>
                  <a:lnTo>
                    <a:pt x="2990" y="2551"/>
                  </a:lnTo>
                  <a:lnTo>
                    <a:pt x="2988" y="2547"/>
                  </a:lnTo>
                  <a:lnTo>
                    <a:pt x="2981" y="2541"/>
                  </a:lnTo>
                  <a:lnTo>
                    <a:pt x="2973" y="2536"/>
                  </a:lnTo>
                  <a:lnTo>
                    <a:pt x="2970" y="2533"/>
                  </a:lnTo>
                  <a:lnTo>
                    <a:pt x="2966" y="2530"/>
                  </a:lnTo>
                  <a:lnTo>
                    <a:pt x="2966" y="2528"/>
                  </a:lnTo>
                  <a:lnTo>
                    <a:pt x="2966" y="2525"/>
                  </a:lnTo>
                  <a:lnTo>
                    <a:pt x="2967" y="2523"/>
                  </a:lnTo>
                  <a:lnTo>
                    <a:pt x="2968" y="2519"/>
                  </a:lnTo>
                  <a:lnTo>
                    <a:pt x="2975" y="2506"/>
                  </a:lnTo>
                  <a:lnTo>
                    <a:pt x="2980" y="2491"/>
                  </a:lnTo>
                  <a:lnTo>
                    <a:pt x="2985" y="2480"/>
                  </a:lnTo>
                  <a:lnTo>
                    <a:pt x="2987" y="2471"/>
                  </a:lnTo>
                  <a:lnTo>
                    <a:pt x="2990" y="2464"/>
                  </a:lnTo>
                  <a:lnTo>
                    <a:pt x="2995" y="2453"/>
                  </a:lnTo>
                  <a:lnTo>
                    <a:pt x="2997" y="2448"/>
                  </a:lnTo>
                  <a:lnTo>
                    <a:pt x="2998" y="2443"/>
                  </a:lnTo>
                  <a:lnTo>
                    <a:pt x="2999" y="2439"/>
                  </a:lnTo>
                  <a:lnTo>
                    <a:pt x="2998" y="2437"/>
                  </a:lnTo>
                  <a:lnTo>
                    <a:pt x="2993" y="2434"/>
                  </a:lnTo>
                  <a:lnTo>
                    <a:pt x="2988" y="2430"/>
                  </a:lnTo>
                  <a:lnTo>
                    <a:pt x="2986" y="2429"/>
                  </a:lnTo>
                  <a:lnTo>
                    <a:pt x="2984" y="2429"/>
                  </a:lnTo>
                  <a:lnTo>
                    <a:pt x="2982" y="2429"/>
                  </a:lnTo>
                  <a:lnTo>
                    <a:pt x="2979" y="2430"/>
                  </a:lnTo>
                  <a:lnTo>
                    <a:pt x="2974" y="2432"/>
                  </a:lnTo>
                  <a:lnTo>
                    <a:pt x="2968" y="2435"/>
                  </a:lnTo>
                  <a:lnTo>
                    <a:pt x="2965" y="2436"/>
                  </a:lnTo>
                  <a:lnTo>
                    <a:pt x="2963" y="2436"/>
                  </a:lnTo>
                  <a:lnTo>
                    <a:pt x="2961" y="2436"/>
                  </a:lnTo>
                  <a:lnTo>
                    <a:pt x="2960" y="2435"/>
                  </a:lnTo>
                  <a:lnTo>
                    <a:pt x="2952" y="2422"/>
                  </a:lnTo>
                  <a:lnTo>
                    <a:pt x="2943" y="2412"/>
                  </a:lnTo>
                  <a:lnTo>
                    <a:pt x="2930" y="2413"/>
                  </a:lnTo>
                  <a:lnTo>
                    <a:pt x="2920" y="2413"/>
                  </a:lnTo>
                  <a:lnTo>
                    <a:pt x="2912" y="2418"/>
                  </a:lnTo>
                  <a:lnTo>
                    <a:pt x="2897" y="2428"/>
                  </a:lnTo>
                  <a:lnTo>
                    <a:pt x="2889" y="2436"/>
                  </a:lnTo>
                  <a:lnTo>
                    <a:pt x="2879" y="2444"/>
                  </a:lnTo>
                  <a:lnTo>
                    <a:pt x="2874" y="2448"/>
                  </a:lnTo>
                  <a:lnTo>
                    <a:pt x="2868" y="2451"/>
                  </a:lnTo>
                  <a:lnTo>
                    <a:pt x="2863" y="2453"/>
                  </a:lnTo>
                  <a:lnTo>
                    <a:pt x="2858" y="2453"/>
                  </a:lnTo>
                  <a:lnTo>
                    <a:pt x="2848" y="2453"/>
                  </a:lnTo>
                  <a:lnTo>
                    <a:pt x="2837" y="2454"/>
                  </a:lnTo>
                  <a:lnTo>
                    <a:pt x="2827" y="2457"/>
                  </a:lnTo>
                  <a:lnTo>
                    <a:pt x="2820" y="2460"/>
                  </a:lnTo>
                  <a:lnTo>
                    <a:pt x="2810" y="2465"/>
                  </a:lnTo>
                  <a:lnTo>
                    <a:pt x="2796" y="2471"/>
                  </a:lnTo>
                  <a:lnTo>
                    <a:pt x="2781" y="2478"/>
                  </a:lnTo>
                  <a:lnTo>
                    <a:pt x="2768" y="2482"/>
                  </a:lnTo>
                  <a:lnTo>
                    <a:pt x="2766" y="2482"/>
                  </a:lnTo>
                  <a:lnTo>
                    <a:pt x="2762" y="2481"/>
                  </a:lnTo>
                  <a:lnTo>
                    <a:pt x="2757" y="2479"/>
                  </a:lnTo>
                  <a:lnTo>
                    <a:pt x="2751" y="2474"/>
                  </a:lnTo>
                  <a:lnTo>
                    <a:pt x="2738" y="2466"/>
                  </a:lnTo>
                  <a:lnTo>
                    <a:pt x="2723" y="2456"/>
                  </a:lnTo>
                  <a:lnTo>
                    <a:pt x="2710" y="2444"/>
                  </a:lnTo>
                  <a:lnTo>
                    <a:pt x="2697" y="2434"/>
                  </a:lnTo>
                  <a:lnTo>
                    <a:pt x="2688" y="2425"/>
                  </a:lnTo>
                  <a:lnTo>
                    <a:pt x="2683" y="2419"/>
                  </a:lnTo>
                  <a:lnTo>
                    <a:pt x="2678" y="2405"/>
                  </a:lnTo>
                  <a:lnTo>
                    <a:pt x="2672" y="2388"/>
                  </a:lnTo>
                  <a:lnTo>
                    <a:pt x="2666" y="2373"/>
                  </a:lnTo>
                  <a:lnTo>
                    <a:pt x="2659" y="2364"/>
                  </a:lnTo>
                  <a:lnTo>
                    <a:pt x="2652" y="2359"/>
                  </a:lnTo>
                  <a:lnTo>
                    <a:pt x="2642" y="2353"/>
                  </a:lnTo>
                  <a:lnTo>
                    <a:pt x="2637" y="2350"/>
                  </a:lnTo>
                  <a:lnTo>
                    <a:pt x="2633" y="2346"/>
                  </a:lnTo>
                  <a:lnTo>
                    <a:pt x="2632" y="2342"/>
                  </a:lnTo>
                  <a:lnTo>
                    <a:pt x="2631" y="2340"/>
                  </a:lnTo>
                  <a:lnTo>
                    <a:pt x="2631" y="2337"/>
                  </a:lnTo>
                  <a:lnTo>
                    <a:pt x="2631" y="2335"/>
                  </a:lnTo>
                  <a:lnTo>
                    <a:pt x="2636" y="2318"/>
                  </a:lnTo>
                  <a:lnTo>
                    <a:pt x="2643" y="2298"/>
                  </a:lnTo>
                  <a:lnTo>
                    <a:pt x="2649" y="2281"/>
                  </a:lnTo>
                  <a:lnTo>
                    <a:pt x="2653" y="2270"/>
                  </a:lnTo>
                  <a:lnTo>
                    <a:pt x="2656" y="2259"/>
                  </a:lnTo>
                  <a:lnTo>
                    <a:pt x="2661" y="2234"/>
                  </a:lnTo>
                  <a:lnTo>
                    <a:pt x="2664" y="2222"/>
                  </a:lnTo>
                  <a:lnTo>
                    <a:pt x="2666" y="2209"/>
                  </a:lnTo>
                  <a:lnTo>
                    <a:pt x="2667" y="2199"/>
                  </a:lnTo>
                  <a:lnTo>
                    <a:pt x="2667" y="2192"/>
                  </a:lnTo>
                  <a:lnTo>
                    <a:pt x="2665" y="2179"/>
                  </a:lnTo>
                  <a:lnTo>
                    <a:pt x="2663" y="2164"/>
                  </a:lnTo>
                  <a:lnTo>
                    <a:pt x="2661" y="2157"/>
                  </a:lnTo>
                  <a:lnTo>
                    <a:pt x="2661" y="2151"/>
                  </a:lnTo>
                  <a:lnTo>
                    <a:pt x="2663" y="2146"/>
                  </a:lnTo>
                  <a:lnTo>
                    <a:pt x="2664" y="2143"/>
                  </a:lnTo>
                  <a:lnTo>
                    <a:pt x="2673" y="2129"/>
                  </a:lnTo>
                  <a:lnTo>
                    <a:pt x="2689" y="2099"/>
                  </a:lnTo>
                  <a:lnTo>
                    <a:pt x="2698" y="2083"/>
                  </a:lnTo>
                  <a:lnTo>
                    <a:pt x="2707" y="2068"/>
                  </a:lnTo>
                  <a:lnTo>
                    <a:pt x="2715" y="2055"/>
                  </a:lnTo>
                  <a:lnTo>
                    <a:pt x="2721" y="2047"/>
                  </a:lnTo>
                  <a:lnTo>
                    <a:pt x="2736" y="2032"/>
                  </a:lnTo>
                  <a:lnTo>
                    <a:pt x="2753" y="2017"/>
                  </a:lnTo>
                  <a:lnTo>
                    <a:pt x="2767" y="2004"/>
                  </a:lnTo>
                  <a:lnTo>
                    <a:pt x="2773" y="1998"/>
                  </a:lnTo>
                  <a:lnTo>
                    <a:pt x="2773" y="1997"/>
                  </a:lnTo>
                  <a:lnTo>
                    <a:pt x="2773" y="1992"/>
                  </a:lnTo>
                  <a:lnTo>
                    <a:pt x="2774" y="1984"/>
                  </a:lnTo>
                  <a:lnTo>
                    <a:pt x="2779" y="1974"/>
                  </a:lnTo>
                  <a:lnTo>
                    <a:pt x="2784" y="1959"/>
                  </a:lnTo>
                  <a:lnTo>
                    <a:pt x="2788" y="1946"/>
                  </a:lnTo>
                  <a:lnTo>
                    <a:pt x="2790" y="1940"/>
                  </a:lnTo>
                  <a:lnTo>
                    <a:pt x="2792" y="1934"/>
                  </a:lnTo>
                  <a:lnTo>
                    <a:pt x="2796" y="1929"/>
                  </a:lnTo>
                  <a:lnTo>
                    <a:pt x="2799" y="1923"/>
                  </a:lnTo>
                  <a:lnTo>
                    <a:pt x="2807" y="1914"/>
                  </a:lnTo>
                  <a:lnTo>
                    <a:pt x="2817" y="1904"/>
                  </a:lnTo>
                  <a:lnTo>
                    <a:pt x="2825" y="1894"/>
                  </a:lnTo>
                  <a:lnTo>
                    <a:pt x="2833" y="1883"/>
                  </a:lnTo>
                  <a:lnTo>
                    <a:pt x="2840" y="1874"/>
                  </a:lnTo>
                  <a:lnTo>
                    <a:pt x="2846" y="1865"/>
                  </a:lnTo>
                  <a:lnTo>
                    <a:pt x="2849" y="1857"/>
                  </a:lnTo>
                  <a:lnTo>
                    <a:pt x="2851" y="1853"/>
                  </a:lnTo>
                  <a:lnTo>
                    <a:pt x="2852" y="1849"/>
                  </a:lnTo>
                  <a:lnTo>
                    <a:pt x="2854" y="1844"/>
                  </a:lnTo>
                  <a:lnTo>
                    <a:pt x="2855" y="1843"/>
                  </a:lnTo>
                  <a:lnTo>
                    <a:pt x="2856" y="1843"/>
                  </a:lnTo>
                  <a:lnTo>
                    <a:pt x="2858" y="1843"/>
                  </a:lnTo>
                  <a:lnTo>
                    <a:pt x="2861" y="1846"/>
                  </a:lnTo>
                  <a:lnTo>
                    <a:pt x="2863" y="1848"/>
                  </a:lnTo>
                  <a:lnTo>
                    <a:pt x="2865" y="1850"/>
                  </a:lnTo>
                  <a:lnTo>
                    <a:pt x="2868" y="1851"/>
                  </a:lnTo>
                  <a:lnTo>
                    <a:pt x="2870" y="1852"/>
                  </a:lnTo>
                  <a:lnTo>
                    <a:pt x="2876" y="1853"/>
                  </a:lnTo>
                  <a:lnTo>
                    <a:pt x="2882" y="1853"/>
                  </a:lnTo>
                  <a:lnTo>
                    <a:pt x="2890" y="1852"/>
                  </a:lnTo>
                  <a:lnTo>
                    <a:pt x="2902" y="1851"/>
                  </a:lnTo>
                  <a:lnTo>
                    <a:pt x="2917" y="1849"/>
                  </a:lnTo>
                  <a:lnTo>
                    <a:pt x="2928" y="1846"/>
                  </a:lnTo>
                  <a:lnTo>
                    <a:pt x="2935" y="1841"/>
                  </a:lnTo>
                  <a:lnTo>
                    <a:pt x="2943" y="1832"/>
                  </a:lnTo>
                  <a:lnTo>
                    <a:pt x="2952" y="1825"/>
                  </a:lnTo>
                  <a:lnTo>
                    <a:pt x="2959" y="1821"/>
                  </a:lnTo>
                  <a:lnTo>
                    <a:pt x="2967" y="1820"/>
                  </a:lnTo>
                  <a:lnTo>
                    <a:pt x="2981" y="1815"/>
                  </a:lnTo>
                  <a:lnTo>
                    <a:pt x="2997" y="1812"/>
                  </a:lnTo>
                  <a:lnTo>
                    <a:pt x="3012" y="1809"/>
                  </a:lnTo>
                  <a:lnTo>
                    <a:pt x="3028" y="1806"/>
                  </a:lnTo>
                  <a:lnTo>
                    <a:pt x="3045" y="1802"/>
                  </a:lnTo>
                  <a:lnTo>
                    <a:pt x="3052" y="1800"/>
                  </a:lnTo>
                  <a:lnTo>
                    <a:pt x="3060" y="1799"/>
                  </a:lnTo>
                  <a:lnTo>
                    <a:pt x="3065" y="1799"/>
                  </a:lnTo>
                  <a:lnTo>
                    <a:pt x="3069" y="1801"/>
                  </a:lnTo>
                  <a:lnTo>
                    <a:pt x="3075" y="1805"/>
                  </a:lnTo>
                  <a:lnTo>
                    <a:pt x="3081" y="1809"/>
                  </a:lnTo>
                  <a:lnTo>
                    <a:pt x="3083" y="1811"/>
                  </a:lnTo>
                  <a:lnTo>
                    <a:pt x="3085" y="1812"/>
                  </a:lnTo>
                  <a:lnTo>
                    <a:pt x="3085" y="1814"/>
                  </a:lnTo>
                  <a:lnTo>
                    <a:pt x="3085" y="1815"/>
                  </a:lnTo>
                  <a:lnTo>
                    <a:pt x="3082" y="1820"/>
                  </a:lnTo>
                  <a:lnTo>
                    <a:pt x="3078" y="1826"/>
                  </a:lnTo>
                  <a:lnTo>
                    <a:pt x="3077" y="1830"/>
                  </a:lnTo>
                  <a:lnTo>
                    <a:pt x="3077" y="1834"/>
                  </a:lnTo>
                  <a:lnTo>
                    <a:pt x="3077" y="1839"/>
                  </a:lnTo>
                  <a:lnTo>
                    <a:pt x="3080" y="1846"/>
                  </a:lnTo>
                  <a:lnTo>
                    <a:pt x="3083" y="1857"/>
                  </a:lnTo>
                  <a:lnTo>
                    <a:pt x="3085" y="1869"/>
                  </a:lnTo>
                  <a:lnTo>
                    <a:pt x="3086" y="1880"/>
                  </a:lnTo>
                  <a:lnTo>
                    <a:pt x="3088" y="1889"/>
                  </a:lnTo>
                  <a:lnTo>
                    <a:pt x="3090" y="1895"/>
                  </a:lnTo>
                  <a:lnTo>
                    <a:pt x="3093" y="1898"/>
                  </a:lnTo>
                  <a:lnTo>
                    <a:pt x="3097" y="1900"/>
                  </a:lnTo>
                  <a:lnTo>
                    <a:pt x="3103" y="1901"/>
                  </a:lnTo>
                  <a:lnTo>
                    <a:pt x="3110" y="1900"/>
                  </a:lnTo>
                  <a:lnTo>
                    <a:pt x="3116" y="1899"/>
                  </a:lnTo>
                  <a:lnTo>
                    <a:pt x="3118" y="1899"/>
                  </a:lnTo>
                  <a:lnTo>
                    <a:pt x="3121" y="1900"/>
                  </a:lnTo>
                  <a:lnTo>
                    <a:pt x="3124" y="1903"/>
                  </a:lnTo>
                  <a:lnTo>
                    <a:pt x="3127" y="1908"/>
                  </a:lnTo>
                  <a:lnTo>
                    <a:pt x="3129" y="1912"/>
                  </a:lnTo>
                  <a:lnTo>
                    <a:pt x="3133" y="1917"/>
                  </a:lnTo>
                  <a:lnTo>
                    <a:pt x="3138" y="1920"/>
                  </a:lnTo>
                  <a:lnTo>
                    <a:pt x="3143" y="1924"/>
                  </a:lnTo>
                  <a:lnTo>
                    <a:pt x="3155" y="1931"/>
                  </a:lnTo>
                  <a:lnTo>
                    <a:pt x="3165" y="1935"/>
                  </a:lnTo>
                  <a:lnTo>
                    <a:pt x="3169" y="1935"/>
                  </a:lnTo>
                  <a:lnTo>
                    <a:pt x="3171" y="1933"/>
                  </a:lnTo>
                  <a:lnTo>
                    <a:pt x="3173" y="1931"/>
                  </a:lnTo>
                  <a:lnTo>
                    <a:pt x="3175" y="1927"/>
                  </a:lnTo>
                  <a:lnTo>
                    <a:pt x="3179" y="1918"/>
                  </a:lnTo>
                  <a:lnTo>
                    <a:pt x="3183" y="1909"/>
                  </a:lnTo>
                  <a:lnTo>
                    <a:pt x="3187" y="1898"/>
                  </a:lnTo>
                  <a:lnTo>
                    <a:pt x="3192" y="1891"/>
                  </a:lnTo>
                  <a:lnTo>
                    <a:pt x="3194" y="1888"/>
                  </a:lnTo>
                  <a:lnTo>
                    <a:pt x="3196" y="1887"/>
                  </a:lnTo>
                  <a:lnTo>
                    <a:pt x="3198" y="1886"/>
                  </a:lnTo>
                  <a:lnTo>
                    <a:pt x="3200" y="1888"/>
                  </a:lnTo>
                  <a:lnTo>
                    <a:pt x="3207" y="1895"/>
                  </a:lnTo>
                  <a:lnTo>
                    <a:pt x="3215" y="1903"/>
                  </a:lnTo>
                  <a:lnTo>
                    <a:pt x="3221" y="1910"/>
                  </a:lnTo>
                  <a:lnTo>
                    <a:pt x="3229" y="1915"/>
                  </a:lnTo>
                  <a:lnTo>
                    <a:pt x="3238" y="1916"/>
                  </a:lnTo>
                  <a:lnTo>
                    <a:pt x="3247" y="1915"/>
                  </a:lnTo>
                  <a:lnTo>
                    <a:pt x="3255" y="1913"/>
                  </a:lnTo>
                  <a:lnTo>
                    <a:pt x="3258" y="1912"/>
                  </a:lnTo>
                  <a:lnTo>
                    <a:pt x="3258" y="1910"/>
                  </a:lnTo>
                  <a:lnTo>
                    <a:pt x="3261" y="1904"/>
                  </a:lnTo>
                  <a:lnTo>
                    <a:pt x="3263" y="1903"/>
                  </a:lnTo>
                  <a:lnTo>
                    <a:pt x="3264" y="1902"/>
                  </a:lnTo>
                  <a:lnTo>
                    <a:pt x="3267" y="1903"/>
                  </a:lnTo>
                  <a:lnTo>
                    <a:pt x="3269" y="1907"/>
                  </a:lnTo>
                  <a:lnTo>
                    <a:pt x="3273" y="1914"/>
                  </a:lnTo>
                  <a:lnTo>
                    <a:pt x="3275" y="1917"/>
                  </a:lnTo>
                  <a:lnTo>
                    <a:pt x="3277" y="1918"/>
                  </a:lnTo>
                  <a:lnTo>
                    <a:pt x="3278" y="1918"/>
                  </a:lnTo>
                  <a:lnTo>
                    <a:pt x="3279" y="1917"/>
                  </a:lnTo>
                  <a:lnTo>
                    <a:pt x="3281" y="1915"/>
                  </a:lnTo>
                  <a:lnTo>
                    <a:pt x="3288" y="1904"/>
                  </a:lnTo>
                  <a:lnTo>
                    <a:pt x="3291" y="1899"/>
                  </a:lnTo>
                  <a:lnTo>
                    <a:pt x="3291" y="1895"/>
                  </a:lnTo>
                  <a:lnTo>
                    <a:pt x="3292" y="1883"/>
                  </a:lnTo>
                  <a:lnTo>
                    <a:pt x="3293" y="1870"/>
                  </a:lnTo>
                  <a:lnTo>
                    <a:pt x="3295" y="1856"/>
                  </a:lnTo>
                  <a:lnTo>
                    <a:pt x="3300" y="1837"/>
                  </a:lnTo>
                  <a:lnTo>
                    <a:pt x="3302" y="1826"/>
                  </a:lnTo>
                  <a:lnTo>
                    <a:pt x="3303" y="1821"/>
                  </a:lnTo>
                  <a:lnTo>
                    <a:pt x="3303" y="1813"/>
                  </a:lnTo>
                  <a:lnTo>
                    <a:pt x="3303" y="1809"/>
                  </a:lnTo>
                  <a:lnTo>
                    <a:pt x="3303" y="1807"/>
                  </a:lnTo>
                  <a:lnTo>
                    <a:pt x="3302" y="1805"/>
                  </a:lnTo>
                  <a:lnTo>
                    <a:pt x="3301" y="1805"/>
                  </a:lnTo>
                  <a:lnTo>
                    <a:pt x="3296" y="1809"/>
                  </a:lnTo>
                  <a:lnTo>
                    <a:pt x="3293" y="1814"/>
                  </a:lnTo>
                  <a:lnTo>
                    <a:pt x="3291" y="1816"/>
                  </a:lnTo>
                  <a:lnTo>
                    <a:pt x="3290" y="1819"/>
                  </a:lnTo>
                  <a:lnTo>
                    <a:pt x="3288" y="1819"/>
                  </a:lnTo>
                  <a:lnTo>
                    <a:pt x="3287" y="1817"/>
                  </a:lnTo>
                  <a:lnTo>
                    <a:pt x="3285" y="1814"/>
                  </a:lnTo>
                  <a:lnTo>
                    <a:pt x="3282" y="1810"/>
                  </a:lnTo>
                  <a:lnTo>
                    <a:pt x="3281" y="1809"/>
                  </a:lnTo>
                  <a:lnTo>
                    <a:pt x="3279" y="1808"/>
                  </a:lnTo>
                  <a:lnTo>
                    <a:pt x="3278" y="1809"/>
                  </a:lnTo>
                  <a:lnTo>
                    <a:pt x="3275" y="1810"/>
                  </a:lnTo>
                  <a:lnTo>
                    <a:pt x="3268" y="1817"/>
                  </a:lnTo>
                  <a:lnTo>
                    <a:pt x="3263" y="1821"/>
                  </a:lnTo>
                  <a:lnTo>
                    <a:pt x="3251" y="1828"/>
                  </a:lnTo>
                  <a:lnTo>
                    <a:pt x="3241" y="1834"/>
                  </a:lnTo>
                  <a:lnTo>
                    <a:pt x="3240" y="1831"/>
                  </a:lnTo>
                  <a:lnTo>
                    <a:pt x="3238" y="1825"/>
                  </a:lnTo>
                  <a:lnTo>
                    <a:pt x="3236" y="1816"/>
                  </a:lnTo>
                  <a:lnTo>
                    <a:pt x="3236" y="1808"/>
                  </a:lnTo>
                  <a:lnTo>
                    <a:pt x="3238" y="1795"/>
                  </a:lnTo>
                  <a:lnTo>
                    <a:pt x="3240" y="1784"/>
                  </a:lnTo>
                  <a:lnTo>
                    <a:pt x="3239" y="1777"/>
                  </a:lnTo>
                  <a:lnTo>
                    <a:pt x="3238" y="1769"/>
                  </a:lnTo>
                  <a:lnTo>
                    <a:pt x="3237" y="1761"/>
                  </a:lnTo>
                  <a:lnTo>
                    <a:pt x="3238" y="1754"/>
                  </a:lnTo>
                  <a:lnTo>
                    <a:pt x="3240" y="1745"/>
                  </a:lnTo>
                  <a:lnTo>
                    <a:pt x="3242" y="1736"/>
                  </a:lnTo>
                  <a:lnTo>
                    <a:pt x="3245" y="1727"/>
                  </a:lnTo>
                  <a:lnTo>
                    <a:pt x="3246" y="1722"/>
                  </a:lnTo>
                  <a:lnTo>
                    <a:pt x="3240" y="1727"/>
                  </a:lnTo>
                  <a:lnTo>
                    <a:pt x="3229" y="1735"/>
                  </a:lnTo>
                  <a:lnTo>
                    <a:pt x="3227" y="1746"/>
                  </a:lnTo>
                  <a:lnTo>
                    <a:pt x="3225" y="1757"/>
                  </a:lnTo>
                  <a:lnTo>
                    <a:pt x="3222" y="1753"/>
                  </a:lnTo>
                  <a:lnTo>
                    <a:pt x="3217" y="1745"/>
                  </a:lnTo>
                  <a:lnTo>
                    <a:pt x="3215" y="1742"/>
                  </a:lnTo>
                  <a:lnTo>
                    <a:pt x="3212" y="1739"/>
                  </a:lnTo>
                  <a:lnTo>
                    <a:pt x="3210" y="1738"/>
                  </a:lnTo>
                  <a:lnTo>
                    <a:pt x="3209" y="1738"/>
                  </a:lnTo>
                  <a:lnTo>
                    <a:pt x="3209" y="1738"/>
                  </a:lnTo>
                  <a:lnTo>
                    <a:pt x="3208" y="1739"/>
                  </a:lnTo>
                  <a:lnTo>
                    <a:pt x="3207" y="1744"/>
                  </a:lnTo>
                  <a:lnTo>
                    <a:pt x="3207" y="1753"/>
                  </a:lnTo>
                  <a:lnTo>
                    <a:pt x="3208" y="1761"/>
                  </a:lnTo>
                  <a:lnTo>
                    <a:pt x="3209" y="1770"/>
                  </a:lnTo>
                  <a:lnTo>
                    <a:pt x="3209" y="1776"/>
                  </a:lnTo>
                  <a:lnTo>
                    <a:pt x="3209" y="1781"/>
                  </a:lnTo>
                  <a:lnTo>
                    <a:pt x="3208" y="1786"/>
                  </a:lnTo>
                  <a:lnTo>
                    <a:pt x="3206" y="1790"/>
                  </a:lnTo>
                  <a:lnTo>
                    <a:pt x="3203" y="1797"/>
                  </a:lnTo>
                  <a:lnTo>
                    <a:pt x="3202" y="1800"/>
                  </a:lnTo>
                  <a:lnTo>
                    <a:pt x="3200" y="1797"/>
                  </a:lnTo>
                  <a:lnTo>
                    <a:pt x="3195" y="1790"/>
                  </a:lnTo>
                  <a:lnTo>
                    <a:pt x="3191" y="1783"/>
                  </a:lnTo>
                  <a:lnTo>
                    <a:pt x="3188" y="1777"/>
                  </a:lnTo>
                  <a:lnTo>
                    <a:pt x="3187" y="1767"/>
                  </a:lnTo>
                  <a:lnTo>
                    <a:pt x="3183" y="1748"/>
                  </a:lnTo>
                  <a:lnTo>
                    <a:pt x="3179" y="1731"/>
                  </a:lnTo>
                  <a:lnTo>
                    <a:pt x="3178" y="1721"/>
                  </a:lnTo>
                  <a:lnTo>
                    <a:pt x="3175" y="1711"/>
                  </a:lnTo>
                  <a:lnTo>
                    <a:pt x="3170" y="1698"/>
                  </a:lnTo>
                  <a:lnTo>
                    <a:pt x="3163" y="1691"/>
                  </a:lnTo>
                  <a:lnTo>
                    <a:pt x="3151" y="1677"/>
                  </a:lnTo>
                  <a:lnTo>
                    <a:pt x="3137" y="1662"/>
                  </a:lnTo>
                  <a:lnTo>
                    <a:pt x="3128" y="1651"/>
                  </a:lnTo>
                  <a:lnTo>
                    <a:pt x="3121" y="1639"/>
                  </a:lnTo>
                  <a:lnTo>
                    <a:pt x="3115" y="1625"/>
                  </a:lnTo>
                  <a:lnTo>
                    <a:pt x="3112" y="1617"/>
                  </a:lnTo>
                  <a:lnTo>
                    <a:pt x="3109" y="1612"/>
                  </a:lnTo>
                  <a:lnTo>
                    <a:pt x="3108" y="1610"/>
                  </a:lnTo>
                  <a:lnTo>
                    <a:pt x="3107" y="1609"/>
                  </a:lnTo>
                  <a:lnTo>
                    <a:pt x="3106" y="1609"/>
                  </a:lnTo>
                  <a:lnTo>
                    <a:pt x="3106" y="1610"/>
                  </a:lnTo>
                  <a:lnTo>
                    <a:pt x="3100" y="1620"/>
                  </a:lnTo>
                  <a:lnTo>
                    <a:pt x="3097" y="1626"/>
                  </a:lnTo>
                  <a:lnTo>
                    <a:pt x="3100" y="1634"/>
                  </a:lnTo>
                  <a:lnTo>
                    <a:pt x="3106" y="1646"/>
                  </a:lnTo>
                  <a:lnTo>
                    <a:pt x="3109" y="1651"/>
                  </a:lnTo>
                  <a:lnTo>
                    <a:pt x="3111" y="1658"/>
                  </a:lnTo>
                  <a:lnTo>
                    <a:pt x="3113" y="1663"/>
                  </a:lnTo>
                  <a:lnTo>
                    <a:pt x="3116" y="1668"/>
                  </a:lnTo>
                  <a:lnTo>
                    <a:pt x="3119" y="1674"/>
                  </a:lnTo>
                  <a:lnTo>
                    <a:pt x="3125" y="1679"/>
                  </a:lnTo>
                  <a:lnTo>
                    <a:pt x="3137" y="1693"/>
                  </a:lnTo>
                  <a:lnTo>
                    <a:pt x="3151" y="1707"/>
                  </a:lnTo>
                  <a:lnTo>
                    <a:pt x="3162" y="1721"/>
                  </a:lnTo>
                  <a:lnTo>
                    <a:pt x="3168" y="1727"/>
                  </a:lnTo>
                  <a:lnTo>
                    <a:pt x="3168" y="1741"/>
                  </a:lnTo>
                  <a:lnTo>
                    <a:pt x="3166" y="1750"/>
                  </a:lnTo>
                  <a:lnTo>
                    <a:pt x="3163" y="1747"/>
                  </a:lnTo>
                  <a:lnTo>
                    <a:pt x="3158" y="1742"/>
                  </a:lnTo>
                  <a:lnTo>
                    <a:pt x="3155" y="1739"/>
                  </a:lnTo>
                  <a:lnTo>
                    <a:pt x="3153" y="1738"/>
                  </a:lnTo>
                  <a:lnTo>
                    <a:pt x="3152" y="1738"/>
                  </a:lnTo>
                  <a:lnTo>
                    <a:pt x="3151" y="1738"/>
                  </a:lnTo>
                  <a:lnTo>
                    <a:pt x="3151" y="1738"/>
                  </a:lnTo>
                  <a:lnTo>
                    <a:pt x="3151" y="1739"/>
                  </a:lnTo>
                  <a:lnTo>
                    <a:pt x="3154" y="1754"/>
                  </a:lnTo>
                  <a:lnTo>
                    <a:pt x="3156" y="1764"/>
                  </a:lnTo>
                  <a:lnTo>
                    <a:pt x="3153" y="1770"/>
                  </a:lnTo>
                  <a:lnTo>
                    <a:pt x="3146" y="1781"/>
                  </a:lnTo>
                  <a:lnTo>
                    <a:pt x="3142" y="1786"/>
                  </a:lnTo>
                  <a:lnTo>
                    <a:pt x="3139" y="1790"/>
                  </a:lnTo>
                  <a:lnTo>
                    <a:pt x="3137" y="1792"/>
                  </a:lnTo>
                  <a:lnTo>
                    <a:pt x="3135" y="1792"/>
                  </a:lnTo>
                  <a:lnTo>
                    <a:pt x="3134" y="1791"/>
                  </a:lnTo>
                  <a:lnTo>
                    <a:pt x="3133" y="1791"/>
                  </a:lnTo>
                  <a:lnTo>
                    <a:pt x="3133" y="1791"/>
                  </a:lnTo>
                  <a:lnTo>
                    <a:pt x="3132" y="1792"/>
                  </a:lnTo>
                  <a:lnTo>
                    <a:pt x="3131" y="1794"/>
                  </a:lnTo>
                  <a:lnTo>
                    <a:pt x="3131" y="1797"/>
                  </a:lnTo>
                  <a:lnTo>
                    <a:pt x="3131" y="1801"/>
                  </a:lnTo>
                  <a:lnTo>
                    <a:pt x="3130" y="1805"/>
                  </a:lnTo>
                  <a:lnTo>
                    <a:pt x="3129" y="1809"/>
                  </a:lnTo>
                  <a:lnTo>
                    <a:pt x="3126" y="1811"/>
                  </a:lnTo>
                  <a:lnTo>
                    <a:pt x="3119" y="1809"/>
                  </a:lnTo>
                  <a:lnTo>
                    <a:pt x="3109" y="1802"/>
                  </a:lnTo>
                  <a:lnTo>
                    <a:pt x="3105" y="1799"/>
                  </a:lnTo>
                  <a:lnTo>
                    <a:pt x="3100" y="1794"/>
                  </a:lnTo>
                  <a:lnTo>
                    <a:pt x="3098" y="1791"/>
                  </a:lnTo>
                  <a:lnTo>
                    <a:pt x="3098" y="1789"/>
                  </a:lnTo>
                  <a:lnTo>
                    <a:pt x="3110" y="1784"/>
                  </a:lnTo>
                  <a:lnTo>
                    <a:pt x="3121" y="1780"/>
                  </a:lnTo>
                  <a:lnTo>
                    <a:pt x="3125" y="1782"/>
                  </a:lnTo>
                  <a:lnTo>
                    <a:pt x="3129" y="1785"/>
                  </a:lnTo>
                  <a:lnTo>
                    <a:pt x="3130" y="1786"/>
                  </a:lnTo>
                  <a:lnTo>
                    <a:pt x="3131" y="1787"/>
                  </a:lnTo>
                  <a:lnTo>
                    <a:pt x="3132" y="1786"/>
                  </a:lnTo>
                  <a:lnTo>
                    <a:pt x="3132" y="1785"/>
                  </a:lnTo>
                  <a:lnTo>
                    <a:pt x="3134" y="1773"/>
                  </a:lnTo>
                  <a:lnTo>
                    <a:pt x="3136" y="1764"/>
                  </a:lnTo>
                  <a:lnTo>
                    <a:pt x="3137" y="1762"/>
                  </a:lnTo>
                  <a:lnTo>
                    <a:pt x="3138" y="1758"/>
                  </a:lnTo>
                  <a:lnTo>
                    <a:pt x="3138" y="1754"/>
                  </a:lnTo>
                  <a:lnTo>
                    <a:pt x="3136" y="1749"/>
                  </a:lnTo>
                  <a:lnTo>
                    <a:pt x="3128" y="1739"/>
                  </a:lnTo>
                  <a:lnTo>
                    <a:pt x="3112" y="1722"/>
                  </a:lnTo>
                  <a:lnTo>
                    <a:pt x="3096" y="1704"/>
                  </a:lnTo>
                  <a:lnTo>
                    <a:pt x="3087" y="1693"/>
                  </a:lnTo>
                  <a:lnTo>
                    <a:pt x="3082" y="1681"/>
                  </a:lnTo>
                  <a:lnTo>
                    <a:pt x="3072" y="1662"/>
                  </a:lnTo>
                  <a:lnTo>
                    <a:pt x="3064" y="1646"/>
                  </a:lnTo>
                  <a:lnTo>
                    <a:pt x="3060" y="1638"/>
                  </a:lnTo>
                  <a:lnTo>
                    <a:pt x="3053" y="1644"/>
                  </a:lnTo>
                  <a:lnTo>
                    <a:pt x="3046" y="1652"/>
                  </a:lnTo>
                  <a:lnTo>
                    <a:pt x="3041" y="1657"/>
                  </a:lnTo>
                  <a:lnTo>
                    <a:pt x="3033" y="1667"/>
                  </a:lnTo>
                  <a:lnTo>
                    <a:pt x="3029" y="1672"/>
                  </a:lnTo>
                  <a:lnTo>
                    <a:pt x="3025" y="1675"/>
                  </a:lnTo>
                  <a:lnTo>
                    <a:pt x="3023" y="1676"/>
                  </a:lnTo>
                  <a:lnTo>
                    <a:pt x="3021" y="1677"/>
                  </a:lnTo>
                  <a:lnTo>
                    <a:pt x="3019" y="1677"/>
                  </a:lnTo>
                  <a:lnTo>
                    <a:pt x="3018" y="1676"/>
                  </a:lnTo>
                  <a:lnTo>
                    <a:pt x="3009" y="1670"/>
                  </a:lnTo>
                  <a:lnTo>
                    <a:pt x="3001" y="1663"/>
                  </a:lnTo>
                  <a:lnTo>
                    <a:pt x="2997" y="1661"/>
                  </a:lnTo>
                  <a:lnTo>
                    <a:pt x="2993" y="1660"/>
                  </a:lnTo>
                  <a:lnTo>
                    <a:pt x="2990" y="1660"/>
                  </a:lnTo>
                  <a:lnTo>
                    <a:pt x="2989" y="1661"/>
                  </a:lnTo>
                  <a:lnTo>
                    <a:pt x="2988" y="1662"/>
                  </a:lnTo>
                  <a:lnTo>
                    <a:pt x="2987" y="1664"/>
                  </a:lnTo>
                  <a:lnTo>
                    <a:pt x="2984" y="1672"/>
                  </a:lnTo>
                  <a:lnTo>
                    <a:pt x="2982" y="1677"/>
                  </a:lnTo>
                  <a:lnTo>
                    <a:pt x="2983" y="1681"/>
                  </a:lnTo>
                  <a:lnTo>
                    <a:pt x="2985" y="1684"/>
                  </a:lnTo>
                  <a:lnTo>
                    <a:pt x="2987" y="1689"/>
                  </a:lnTo>
                  <a:lnTo>
                    <a:pt x="2988" y="1693"/>
                  </a:lnTo>
                  <a:lnTo>
                    <a:pt x="2987" y="1697"/>
                  </a:lnTo>
                  <a:lnTo>
                    <a:pt x="2986" y="1699"/>
                  </a:lnTo>
                  <a:lnTo>
                    <a:pt x="2980" y="1703"/>
                  </a:lnTo>
                  <a:lnTo>
                    <a:pt x="2972" y="1712"/>
                  </a:lnTo>
                  <a:lnTo>
                    <a:pt x="2966" y="1719"/>
                  </a:lnTo>
                  <a:lnTo>
                    <a:pt x="2961" y="1725"/>
                  </a:lnTo>
                  <a:lnTo>
                    <a:pt x="2956" y="1729"/>
                  </a:lnTo>
                  <a:lnTo>
                    <a:pt x="2953" y="1733"/>
                  </a:lnTo>
                  <a:lnTo>
                    <a:pt x="2950" y="1737"/>
                  </a:lnTo>
                  <a:lnTo>
                    <a:pt x="2945" y="1743"/>
                  </a:lnTo>
                  <a:lnTo>
                    <a:pt x="2943" y="1747"/>
                  </a:lnTo>
                  <a:lnTo>
                    <a:pt x="2942" y="1751"/>
                  </a:lnTo>
                  <a:lnTo>
                    <a:pt x="2940" y="1757"/>
                  </a:lnTo>
                  <a:lnTo>
                    <a:pt x="2940" y="1762"/>
                  </a:lnTo>
                  <a:lnTo>
                    <a:pt x="2940" y="1769"/>
                  </a:lnTo>
                  <a:lnTo>
                    <a:pt x="2940" y="1772"/>
                  </a:lnTo>
                  <a:lnTo>
                    <a:pt x="2940" y="1775"/>
                  </a:lnTo>
                  <a:lnTo>
                    <a:pt x="2938" y="1780"/>
                  </a:lnTo>
                  <a:lnTo>
                    <a:pt x="2934" y="1789"/>
                  </a:lnTo>
                  <a:lnTo>
                    <a:pt x="2928" y="1800"/>
                  </a:lnTo>
                  <a:lnTo>
                    <a:pt x="2924" y="1805"/>
                  </a:lnTo>
                  <a:lnTo>
                    <a:pt x="2921" y="1810"/>
                  </a:lnTo>
                  <a:lnTo>
                    <a:pt x="2917" y="1814"/>
                  </a:lnTo>
                  <a:lnTo>
                    <a:pt x="2913" y="1817"/>
                  </a:lnTo>
                  <a:lnTo>
                    <a:pt x="2908" y="1819"/>
                  </a:lnTo>
                  <a:lnTo>
                    <a:pt x="2902" y="1821"/>
                  </a:lnTo>
                  <a:lnTo>
                    <a:pt x="2896" y="1821"/>
                  </a:lnTo>
                  <a:lnTo>
                    <a:pt x="2891" y="1822"/>
                  </a:lnTo>
                  <a:lnTo>
                    <a:pt x="2879" y="1823"/>
                  </a:lnTo>
                  <a:lnTo>
                    <a:pt x="2873" y="1825"/>
                  </a:lnTo>
                  <a:lnTo>
                    <a:pt x="2864" y="1833"/>
                  </a:lnTo>
                  <a:lnTo>
                    <a:pt x="2856" y="1836"/>
                  </a:lnTo>
                  <a:lnTo>
                    <a:pt x="2849" y="1828"/>
                  </a:lnTo>
                  <a:lnTo>
                    <a:pt x="2842" y="1820"/>
                  </a:lnTo>
                  <a:lnTo>
                    <a:pt x="2839" y="1816"/>
                  </a:lnTo>
                  <a:lnTo>
                    <a:pt x="2833" y="1814"/>
                  </a:lnTo>
                  <a:lnTo>
                    <a:pt x="2828" y="1812"/>
                  </a:lnTo>
                  <a:lnTo>
                    <a:pt x="2824" y="1813"/>
                  </a:lnTo>
                  <a:lnTo>
                    <a:pt x="2822" y="1813"/>
                  </a:lnTo>
                  <a:lnTo>
                    <a:pt x="2820" y="1812"/>
                  </a:lnTo>
                  <a:lnTo>
                    <a:pt x="2815" y="1810"/>
                  </a:lnTo>
                  <a:lnTo>
                    <a:pt x="2812" y="1808"/>
                  </a:lnTo>
                  <a:lnTo>
                    <a:pt x="2806" y="1803"/>
                  </a:lnTo>
                  <a:lnTo>
                    <a:pt x="2803" y="1800"/>
                  </a:lnTo>
                  <a:lnTo>
                    <a:pt x="2801" y="1790"/>
                  </a:lnTo>
                  <a:lnTo>
                    <a:pt x="2796" y="1773"/>
                  </a:lnTo>
                  <a:lnTo>
                    <a:pt x="2793" y="1764"/>
                  </a:lnTo>
                  <a:lnTo>
                    <a:pt x="2792" y="1755"/>
                  </a:lnTo>
                  <a:lnTo>
                    <a:pt x="2791" y="1747"/>
                  </a:lnTo>
                  <a:lnTo>
                    <a:pt x="2792" y="1741"/>
                  </a:lnTo>
                  <a:lnTo>
                    <a:pt x="2797" y="1731"/>
                  </a:lnTo>
                  <a:lnTo>
                    <a:pt x="2800" y="1718"/>
                  </a:lnTo>
                  <a:lnTo>
                    <a:pt x="2803" y="1706"/>
                  </a:lnTo>
                  <a:lnTo>
                    <a:pt x="2804" y="1698"/>
                  </a:lnTo>
                  <a:lnTo>
                    <a:pt x="2801" y="1682"/>
                  </a:lnTo>
                  <a:lnTo>
                    <a:pt x="2799" y="1674"/>
                  </a:lnTo>
                  <a:lnTo>
                    <a:pt x="2798" y="1672"/>
                  </a:lnTo>
                  <a:lnTo>
                    <a:pt x="2797" y="1667"/>
                  </a:lnTo>
                  <a:lnTo>
                    <a:pt x="2796" y="1663"/>
                  </a:lnTo>
                  <a:lnTo>
                    <a:pt x="2797" y="1660"/>
                  </a:lnTo>
                  <a:lnTo>
                    <a:pt x="2798" y="1658"/>
                  </a:lnTo>
                  <a:lnTo>
                    <a:pt x="2800" y="1655"/>
                  </a:lnTo>
                  <a:lnTo>
                    <a:pt x="2805" y="1652"/>
                  </a:lnTo>
                  <a:lnTo>
                    <a:pt x="2809" y="1647"/>
                  </a:lnTo>
                  <a:lnTo>
                    <a:pt x="2811" y="1646"/>
                  </a:lnTo>
                  <a:lnTo>
                    <a:pt x="2813" y="1644"/>
                  </a:lnTo>
                  <a:lnTo>
                    <a:pt x="2815" y="1644"/>
                  </a:lnTo>
                  <a:lnTo>
                    <a:pt x="2818" y="1645"/>
                  </a:lnTo>
                  <a:lnTo>
                    <a:pt x="2826" y="1647"/>
                  </a:lnTo>
                  <a:lnTo>
                    <a:pt x="2835" y="1648"/>
                  </a:lnTo>
                  <a:lnTo>
                    <a:pt x="2841" y="1647"/>
                  </a:lnTo>
                  <a:lnTo>
                    <a:pt x="2847" y="1646"/>
                  </a:lnTo>
                  <a:lnTo>
                    <a:pt x="2853" y="1645"/>
                  </a:lnTo>
                  <a:lnTo>
                    <a:pt x="2857" y="1646"/>
                  </a:lnTo>
                  <a:lnTo>
                    <a:pt x="2861" y="1648"/>
                  </a:lnTo>
                  <a:lnTo>
                    <a:pt x="2866" y="1650"/>
                  </a:lnTo>
                  <a:lnTo>
                    <a:pt x="2872" y="1652"/>
                  </a:lnTo>
                  <a:lnTo>
                    <a:pt x="2878" y="1652"/>
                  </a:lnTo>
                  <a:lnTo>
                    <a:pt x="2888" y="1651"/>
                  </a:lnTo>
                  <a:lnTo>
                    <a:pt x="2899" y="1651"/>
                  </a:lnTo>
                  <a:lnTo>
                    <a:pt x="2910" y="1651"/>
                  </a:lnTo>
                  <a:lnTo>
                    <a:pt x="2915" y="1649"/>
                  </a:lnTo>
                  <a:lnTo>
                    <a:pt x="2917" y="1642"/>
                  </a:lnTo>
                  <a:lnTo>
                    <a:pt x="2921" y="1630"/>
                  </a:lnTo>
                  <a:lnTo>
                    <a:pt x="2922" y="1623"/>
                  </a:lnTo>
                  <a:lnTo>
                    <a:pt x="2923" y="1614"/>
                  </a:lnTo>
                  <a:lnTo>
                    <a:pt x="2923" y="1607"/>
                  </a:lnTo>
                  <a:lnTo>
                    <a:pt x="2922" y="1602"/>
                  </a:lnTo>
                  <a:lnTo>
                    <a:pt x="2920" y="1590"/>
                  </a:lnTo>
                  <a:lnTo>
                    <a:pt x="2917" y="1579"/>
                  </a:lnTo>
                  <a:lnTo>
                    <a:pt x="2916" y="1573"/>
                  </a:lnTo>
                  <a:lnTo>
                    <a:pt x="2915" y="1569"/>
                  </a:lnTo>
                  <a:lnTo>
                    <a:pt x="2913" y="1566"/>
                  </a:lnTo>
                  <a:lnTo>
                    <a:pt x="2911" y="1564"/>
                  </a:lnTo>
                  <a:lnTo>
                    <a:pt x="2901" y="1553"/>
                  </a:lnTo>
                  <a:lnTo>
                    <a:pt x="2886" y="1536"/>
                  </a:lnTo>
                  <a:lnTo>
                    <a:pt x="2871" y="1518"/>
                  </a:lnTo>
                  <a:lnTo>
                    <a:pt x="2865" y="1510"/>
                  </a:lnTo>
                  <a:lnTo>
                    <a:pt x="2869" y="1507"/>
                  </a:lnTo>
                  <a:lnTo>
                    <a:pt x="2876" y="1503"/>
                  </a:lnTo>
                  <a:lnTo>
                    <a:pt x="2884" y="1506"/>
                  </a:lnTo>
                  <a:lnTo>
                    <a:pt x="2896" y="1512"/>
                  </a:lnTo>
                  <a:lnTo>
                    <a:pt x="2901" y="1515"/>
                  </a:lnTo>
                  <a:lnTo>
                    <a:pt x="2907" y="1516"/>
                  </a:lnTo>
                  <a:lnTo>
                    <a:pt x="2908" y="1517"/>
                  </a:lnTo>
                  <a:lnTo>
                    <a:pt x="2909" y="1517"/>
                  </a:lnTo>
                  <a:lnTo>
                    <a:pt x="2910" y="1516"/>
                  </a:lnTo>
                  <a:lnTo>
                    <a:pt x="2909" y="1515"/>
                  </a:lnTo>
                  <a:lnTo>
                    <a:pt x="2906" y="1508"/>
                  </a:lnTo>
                  <a:lnTo>
                    <a:pt x="2905" y="1499"/>
                  </a:lnTo>
                  <a:lnTo>
                    <a:pt x="2904" y="1492"/>
                  </a:lnTo>
                  <a:lnTo>
                    <a:pt x="2905" y="1488"/>
                  </a:lnTo>
                  <a:lnTo>
                    <a:pt x="2915" y="1488"/>
                  </a:lnTo>
                  <a:lnTo>
                    <a:pt x="2924" y="1487"/>
                  </a:lnTo>
                  <a:lnTo>
                    <a:pt x="2930" y="1487"/>
                  </a:lnTo>
                  <a:lnTo>
                    <a:pt x="2938" y="1484"/>
                  </a:lnTo>
                  <a:lnTo>
                    <a:pt x="2942" y="1482"/>
                  </a:lnTo>
                  <a:lnTo>
                    <a:pt x="2945" y="1480"/>
                  </a:lnTo>
                  <a:lnTo>
                    <a:pt x="2949" y="1478"/>
                  </a:lnTo>
                  <a:lnTo>
                    <a:pt x="2950" y="1475"/>
                  </a:lnTo>
                  <a:lnTo>
                    <a:pt x="2957" y="1460"/>
                  </a:lnTo>
                  <a:lnTo>
                    <a:pt x="2964" y="1447"/>
                  </a:lnTo>
                  <a:lnTo>
                    <a:pt x="2966" y="1443"/>
                  </a:lnTo>
                  <a:lnTo>
                    <a:pt x="2968" y="1438"/>
                  </a:lnTo>
                  <a:lnTo>
                    <a:pt x="2973" y="1433"/>
                  </a:lnTo>
                  <a:lnTo>
                    <a:pt x="2978" y="1428"/>
                  </a:lnTo>
                  <a:lnTo>
                    <a:pt x="2981" y="1422"/>
                  </a:lnTo>
                  <a:lnTo>
                    <a:pt x="2984" y="1415"/>
                  </a:lnTo>
                  <a:lnTo>
                    <a:pt x="2987" y="1407"/>
                  </a:lnTo>
                  <a:lnTo>
                    <a:pt x="2990" y="1396"/>
                  </a:lnTo>
                  <a:lnTo>
                    <a:pt x="2995" y="1378"/>
                  </a:lnTo>
                  <a:lnTo>
                    <a:pt x="2997" y="1371"/>
                  </a:lnTo>
                  <a:lnTo>
                    <a:pt x="2998" y="1366"/>
                  </a:lnTo>
                  <a:lnTo>
                    <a:pt x="3002" y="1355"/>
                  </a:lnTo>
                  <a:lnTo>
                    <a:pt x="3004" y="1350"/>
                  </a:lnTo>
                  <a:lnTo>
                    <a:pt x="3006" y="1346"/>
                  </a:lnTo>
                  <a:lnTo>
                    <a:pt x="3008" y="1343"/>
                  </a:lnTo>
                  <a:lnTo>
                    <a:pt x="3009" y="1343"/>
                  </a:lnTo>
                  <a:lnTo>
                    <a:pt x="3009" y="1349"/>
                  </a:lnTo>
                  <a:lnTo>
                    <a:pt x="3009" y="1361"/>
                  </a:lnTo>
                  <a:lnTo>
                    <a:pt x="3009" y="1365"/>
                  </a:lnTo>
                  <a:lnTo>
                    <a:pt x="3010" y="1369"/>
                  </a:lnTo>
                  <a:lnTo>
                    <a:pt x="3010" y="1370"/>
                  </a:lnTo>
                  <a:lnTo>
                    <a:pt x="3010" y="1371"/>
                  </a:lnTo>
                  <a:lnTo>
                    <a:pt x="3011" y="1372"/>
                  </a:lnTo>
                  <a:lnTo>
                    <a:pt x="3012" y="1371"/>
                  </a:lnTo>
                  <a:lnTo>
                    <a:pt x="3016" y="1369"/>
                  </a:lnTo>
                  <a:lnTo>
                    <a:pt x="3019" y="1365"/>
                  </a:lnTo>
                  <a:lnTo>
                    <a:pt x="3021" y="1361"/>
                  </a:lnTo>
                  <a:lnTo>
                    <a:pt x="3023" y="1358"/>
                  </a:lnTo>
                  <a:lnTo>
                    <a:pt x="3024" y="1351"/>
                  </a:lnTo>
                  <a:lnTo>
                    <a:pt x="3026" y="1340"/>
                  </a:lnTo>
                  <a:lnTo>
                    <a:pt x="3027" y="1333"/>
                  </a:lnTo>
                  <a:lnTo>
                    <a:pt x="3027" y="1327"/>
                  </a:lnTo>
                  <a:lnTo>
                    <a:pt x="3026" y="1321"/>
                  </a:lnTo>
                  <a:lnTo>
                    <a:pt x="3025" y="1315"/>
                  </a:lnTo>
                  <a:lnTo>
                    <a:pt x="3023" y="1302"/>
                  </a:lnTo>
                  <a:lnTo>
                    <a:pt x="3023" y="1288"/>
                  </a:lnTo>
                  <a:lnTo>
                    <a:pt x="3023" y="1281"/>
                  </a:lnTo>
                  <a:lnTo>
                    <a:pt x="3024" y="1276"/>
                  </a:lnTo>
                  <a:lnTo>
                    <a:pt x="3025" y="1272"/>
                  </a:lnTo>
                  <a:lnTo>
                    <a:pt x="3026" y="1269"/>
                  </a:lnTo>
                  <a:lnTo>
                    <a:pt x="3030" y="1264"/>
                  </a:lnTo>
                  <a:lnTo>
                    <a:pt x="3037" y="1255"/>
                  </a:lnTo>
                  <a:lnTo>
                    <a:pt x="3040" y="1251"/>
                  </a:lnTo>
                  <a:lnTo>
                    <a:pt x="3043" y="1249"/>
                  </a:lnTo>
                  <a:lnTo>
                    <a:pt x="3044" y="1247"/>
                  </a:lnTo>
                  <a:lnTo>
                    <a:pt x="3045" y="1247"/>
                  </a:lnTo>
                  <a:lnTo>
                    <a:pt x="3046" y="1247"/>
                  </a:lnTo>
                  <a:lnTo>
                    <a:pt x="3047" y="1249"/>
                  </a:lnTo>
                  <a:lnTo>
                    <a:pt x="3050" y="1260"/>
                  </a:lnTo>
                  <a:lnTo>
                    <a:pt x="3056" y="1275"/>
                  </a:lnTo>
                  <a:lnTo>
                    <a:pt x="3060" y="1281"/>
                  </a:lnTo>
                  <a:lnTo>
                    <a:pt x="3063" y="1286"/>
                  </a:lnTo>
                  <a:lnTo>
                    <a:pt x="3064" y="1288"/>
                  </a:lnTo>
                  <a:lnTo>
                    <a:pt x="3066" y="1289"/>
                  </a:lnTo>
                  <a:lnTo>
                    <a:pt x="3067" y="1289"/>
                  </a:lnTo>
                  <a:lnTo>
                    <a:pt x="3068" y="1289"/>
                  </a:lnTo>
                  <a:lnTo>
                    <a:pt x="3070" y="1286"/>
                  </a:lnTo>
                  <a:lnTo>
                    <a:pt x="3071" y="1283"/>
                  </a:lnTo>
                  <a:lnTo>
                    <a:pt x="3071" y="1280"/>
                  </a:lnTo>
                  <a:lnTo>
                    <a:pt x="3070" y="1278"/>
                  </a:lnTo>
                  <a:lnTo>
                    <a:pt x="3066" y="1266"/>
                  </a:lnTo>
                  <a:lnTo>
                    <a:pt x="3060" y="1253"/>
                  </a:lnTo>
                  <a:lnTo>
                    <a:pt x="3058" y="1243"/>
                  </a:lnTo>
                  <a:lnTo>
                    <a:pt x="3054" y="1229"/>
                  </a:lnTo>
                  <a:lnTo>
                    <a:pt x="3051" y="1215"/>
                  </a:lnTo>
                  <a:lnTo>
                    <a:pt x="3049" y="1209"/>
                  </a:lnTo>
                  <a:lnTo>
                    <a:pt x="3048" y="1208"/>
                  </a:lnTo>
                  <a:lnTo>
                    <a:pt x="3046" y="1207"/>
                  </a:lnTo>
                  <a:lnTo>
                    <a:pt x="3044" y="1207"/>
                  </a:lnTo>
                  <a:lnTo>
                    <a:pt x="3041" y="1209"/>
                  </a:lnTo>
                  <a:lnTo>
                    <a:pt x="3034" y="1220"/>
                  </a:lnTo>
                  <a:lnTo>
                    <a:pt x="3025" y="1233"/>
                  </a:lnTo>
                  <a:lnTo>
                    <a:pt x="3022" y="1235"/>
                  </a:lnTo>
                  <a:lnTo>
                    <a:pt x="3020" y="1236"/>
                  </a:lnTo>
                  <a:lnTo>
                    <a:pt x="3017" y="1237"/>
                  </a:lnTo>
                  <a:lnTo>
                    <a:pt x="3014" y="1237"/>
                  </a:lnTo>
                  <a:lnTo>
                    <a:pt x="3008" y="1236"/>
                  </a:lnTo>
                  <a:lnTo>
                    <a:pt x="3005" y="1235"/>
                  </a:lnTo>
                  <a:lnTo>
                    <a:pt x="2999" y="1227"/>
                  </a:lnTo>
                  <a:lnTo>
                    <a:pt x="2985" y="1206"/>
                  </a:lnTo>
                  <a:lnTo>
                    <a:pt x="2979" y="1194"/>
                  </a:lnTo>
                  <a:lnTo>
                    <a:pt x="2973" y="1183"/>
                  </a:lnTo>
                  <a:lnTo>
                    <a:pt x="2968" y="1174"/>
                  </a:lnTo>
                  <a:lnTo>
                    <a:pt x="2967" y="1168"/>
                  </a:lnTo>
                  <a:lnTo>
                    <a:pt x="2968" y="1163"/>
                  </a:lnTo>
                  <a:lnTo>
                    <a:pt x="2971" y="1161"/>
                  </a:lnTo>
                  <a:lnTo>
                    <a:pt x="2971" y="1159"/>
                  </a:lnTo>
                  <a:lnTo>
                    <a:pt x="2971" y="1158"/>
                  </a:lnTo>
                  <a:lnTo>
                    <a:pt x="2971" y="1157"/>
                  </a:lnTo>
                  <a:lnTo>
                    <a:pt x="2970" y="1155"/>
                  </a:lnTo>
                  <a:lnTo>
                    <a:pt x="2967" y="1151"/>
                  </a:lnTo>
                  <a:lnTo>
                    <a:pt x="2964" y="1146"/>
                  </a:lnTo>
                  <a:lnTo>
                    <a:pt x="2963" y="1141"/>
                  </a:lnTo>
                  <a:lnTo>
                    <a:pt x="2962" y="1136"/>
                  </a:lnTo>
                  <a:lnTo>
                    <a:pt x="2960" y="1124"/>
                  </a:lnTo>
                  <a:lnTo>
                    <a:pt x="2961" y="1114"/>
                  </a:lnTo>
                  <a:lnTo>
                    <a:pt x="2962" y="1109"/>
                  </a:lnTo>
                  <a:lnTo>
                    <a:pt x="2963" y="1100"/>
                  </a:lnTo>
                  <a:lnTo>
                    <a:pt x="2965" y="1089"/>
                  </a:lnTo>
                  <a:lnTo>
                    <a:pt x="2967" y="1083"/>
                  </a:lnTo>
                  <a:lnTo>
                    <a:pt x="2971" y="1076"/>
                  </a:lnTo>
                  <a:lnTo>
                    <a:pt x="2976" y="1064"/>
                  </a:lnTo>
                  <a:lnTo>
                    <a:pt x="2981" y="1052"/>
                  </a:lnTo>
                  <a:lnTo>
                    <a:pt x="2985" y="1043"/>
                  </a:lnTo>
                  <a:lnTo>
                    <a:pt x="2990" y="1037"/>
                  </a:lnTo>
                  <a:lnTo>
                    <a:pt x="2996" y="1029"/>
                  </a:lnTo>
                  <a:lnTo>
                    <a:pt x="2999" y="1024"/>
                  </a:lnTo>
                  <a:lnTo>
                    <a:pt x="3002" y="1021"/>
                  </a:lnTo>
                  <a:lnTo>
                    <a:pt x="3004" y="1020"/>
                  </a:lnTo>
                  <a:lnTo>
                    <a:pt x="3006" y="1019"/>
                  </a:lnTo>
                  <a:lnTo>
                    <a:pt x="3008" y="1020"/>
                  </a:lnTo>
                  <a:lnTo>
                    <a:pt x="3010" y="1019"/>
                  </a:lnTo>
                  <a:lnTo>
                    <a:pt x="3011" y="1015"/>
                  </a:lnTo>
                  <a:lnTo>
                    <a:pt x="3012" y="1008"/>
                  </a:lnTo>
                  <a:lnTo>
                    <a:pt x="3012" y="1004"/>
                  </a:lnTo>
                  <a:lnTo>
                    <a:pt x="3015" y="1002"/>
                  </a:lnTo>
                  <a:lnTo>
                    <a:pt x="3016" y="1001"/>
                  </a:lnTo>
                  <a:lnTo>
                    <a:pt x="3018" y="1001"/>
                  </a:lnTo>
                  <a:lnTo>
                    <a:pt x="3019" y="1001"/>
                  </a:lnTo>
                  <a:lnTo>
                    <a:pt x="3021" y="1000"/>
                  </a:lnTo>
                  <a:lnTo>
                    <a:pt x="3021" y="998"/>
                  </a:lnTo>
                  <a:lnTo>
                    <a:pt x="3021" y="995"/>
                  </a:lnTo>
                  <a:lnTo>
                    <a:pt x="3018" y="983"/>
                  </a:lnTo>
                  <a:lnTo>
                    <a:pt x="3016" y="972"/>
                  </a:lnTo>
                  <a:lnTo>
                    <a:pt x="3015" y="964"/>
                  </a:lnTo>
                  <a:lnTo>
                    <a:pt x="3015" y="958"/>
                  </a:lnTo>
                  <a:lnTo>
                    <a:pt x="3017" y="948"/>
                  </a:lnTo>
                  <a:lnTo>
                    <a:pt x="3021" y="935"/>
                  </a:lnTo>
                  <a:lnTo>
                    <a:pt x="3023" y="931"/>
                  </a:lnTo>
                  <a:lnTo>
                    <a:pt x="3026" y="926"/>
                  </a:lnTo>
                  <a:lnTo>
                    <a:pt x="3027" y="920"/>
                  </a:lnTo>
                  <a:lnTo>
                    <a:pt x="3028" y="915"/>
                  </a:lnTo>
                  <a:lnTo>
                    <a:pt x="3030" y="907"/>
                  </a:lnTo>
                  <a:lnTo>
                    <a:pt x="3030" y="900"/>
                  </a:lnTo>
                  <a:lnTo>
                    <a:pt x="3028" y="896"/>
                  </a:lnTo>
                  <a:lnTo>
                    <a:pt x="3027" y="893"/>
                  </a:lnTo>
                  <a:lnTo>
                    <a:pt x="3025" y="891"/>
                  </a:lnTo>
                  <a:lnTo>
                    <a:pt x="3023" y="890"/>
                  </a:lnTo>
                  <a:lnTo>
                    <a:pt x="3020" y="892"/>
                  </a:lnTo>
                  <a:lnTo>
                    <a:pt x="3017" y="895"/>
                  </a:lnTo>
                  <a:lnTo>
                    <a:pt x="3016" y="895"/>
                  </a:lnTo>
                  <a:lnTo>
                    <a:pt x="3014" y="894"/>
                  </a:lnTo>
                  <a:lnTo>
                    <a:pt x="3012" y="894"/>
                  </a:lnTo>
                  <a:lnTo>
                    <a:pt x="3011" y="895"/>
                  </a:lnTo>
                  <a:lnTo>
                    <a:pt x="3011" y="896"/>
                  </a:lnTo>
                  <a:lnTo>
                    <a:pt x="3011" y="899"/>
                  </a:lnTo>
                  <a:lnTo>
                    <a:pt x="3015" y="907"/>
                  </a:lnTo>
                  <a:lnTo>
                    <a:pt x="3016" y="909"/>
                  </a:lnTo>
                  <a:lnTo>
                    <a:pt x="3014" y="909"/>
                  </a:lnTo>
                  <a:lnTo>
                    <a:pt x="3009" y="906"/>
                  </a:lnTo>
                  <a:lnTo>
                    <a:pt x="3007" y="902"/>
                  </a:lnTo>
                  <a:lnTo>
                    <a:pt x="3004" y="898"/>
                  </a:lnTo>
                  <a:lnTo>
                    <a:pt x="3004" y="894"/>
                  </a:lnTo>
                  <a:lnTo>
                    <a:pt x="3004" y="892"/>
                  </a:lnTo>
                  <a:lnTo>
                    <a:pt x="3004" y="890"/>
                  </a:lnTo>
                  <a:lnTo>
                    <a:pt x="3005" y="888"/>
                  </a:lnTo>
                  <a:lnTo>
                    <a:pt x="3010" y="880"/>
                  </a:lnTo>
                  <a:lnTo>
                    <a:pt x="3014" y="873"/>
                  </a:lnTo>
                  <a:lnTo>
                    <a:pt x="3015" y="866"/>
                  </a:lnTo>
                  <a:lnTo>
                    <a:pt x="3017" y="857"/>
                  </a:lnTo>
                  <a:lnTo>
                    <a:pt x="3021" y="849"/>
                  </a:lnTo>
                  <a:lnTo>
                    <a:pt x="3024" y="846"/>
                  </a:lnTo>
                  <a:lnTo>
                    <a:pt x="3026" y="847"/>
                  </a:lnTo>
                  <a:lnTo>
                    <a:pt x="3028" y="848"/>
                  </a:lnTo>
                  <a:lnTo>
                    <a:pt x="3030" y="848"/>
                  </a:lnTo>
                  <a:lnTo>
                    <a:pt x="3031" y="847"/>
                  </a:lnTo>
                  <a:lnTo>
                    <a:pt x="3037" y="842"/>
                  </a:lnTo>
                  <a:lnTo>
                    <a:pt x="3041" y="838"/>
                  </a:lnTo>
                  <a:lnTo>
                    <a:pt x="3041" y="835"/>
                  </a:lnTo>
                  <a:lnTo>
                    <a:pt x="3041" y="828"/>
                  </a:lnTo>
                  <a:lnTo>
                    <a:pt x="3041" y="825"/>
                  </a:lnTo>
                  <a:lnTo>
                    <a:pt x="3042" y="823"/>
                  </a:lnTo>
                  <a:lnTo>
                    <a:pt x="3043" y="822"/>
                  </a:lnTo>
                  <a:lnTo>
                    <a:pt x="3044" y="822"/>
                  </a:lnTo>
                  <a:lnTo>
                    <a:pt x="3045" y="822"/>
                  </a:lnTo>
                  <a:lnTo>
                    <a:pt x="3046" y="823"/>
                  </a:lnTo>
                  <a:lnTo>
                    <a:pt x="3051" y="826"/>
                  </a:lnTo>
                  <a:lnTo>
                    <a:pt x="3056" y="829"/>
                  </a:lnTo>
                  <a:lnTo>
                    <a:pt x="3059" y="832"/>
                  </a:lnTo>
                  <a:lnTo>
                    <a:pt x="3060" y="833"/>
                  </a:lnTo>
                  <a:lnTo>
                    <a:pt x="3061" y="832"/>
                  </a:lnTo>
                  <a:lnTo>
                    <a:pt x="3062" y="830"/>
                  </a:lnTo>
                  <a:lnTo>
                    <a:pt x="3063" y="826"/>
                  </a:lnTo>
                  <a:lnTo>
                    <a:pt x="3065" y="823"/>
                  </a:lnTo>
                  <a:lnTo>
                    <a:pt x="3069" y="823"/>
                  </a:lnTo>
                  <a:lnTo>
                    <a:pt x="3076" y="825"/>
                  </a:lnTo>
                  <a:lnTo>
                    <a:pt x="3085" y="828"/>
                  </a:lnTo>
                  <a:lnTo>
                    <a:pt x="3090" y="833"/>
                  </a:lnTo>
                  <a:lnTo>
                    <a:pt x="3100" y="841"/>
                  </a:lnTo>
                  <a:lnTo>
                    <a:pt x="3107" y="845"/>
                  </a:lnTo>
                  <a:lnTo>
                    <a:pt x="3109" y="847"/>
                  </a:lnTo>
                  <a:lnTo>
                    <a:pt x="3115" y="856"/>
                  </a:lnTo>
                  <a:lnTo>
                    <a:pt x="3120" y="861"/>
                  </a:lnTo>
                  <a:lnTo>
                    <a:pt x="3127" y="869"/>
                  </a:lnTo>
                  <a:lnTo>
                    <a:pt x="3130" y="873"/>
                  </a:lnTo>
                  <a:lnTo>
                    <a:pt x="3132" y="877"/>
                  </a:lnTo>
                  <a:lnTo>
                    <a:pt x="3133" y="881"/>
                  </a:lnTo>
                  <a:lnTo>
                    <a:pt x="3133" y="883"/>
                  </a:lnTo>
                  <a:lnTo>
                    <a:pt x="3132" y="889"/>
                  </a:lnTo>
                  <a:lnTo>
                    <a:pt x="3133" y="892"/>
                  </a:lnTo>
                  <a:lnTo>
                    <a:pt x="3134" y="894"/>
                  </a:lnTo>
                  <a:lnTo>
                    <a:pt x="3136" y="899"/>
                  </a:lnTo>
                  <a:lnTo>
                    <a:pt x="3138" y="901"/>
                  </a:lnTo>
                  <a:lnTo>
                    <a:pt x="3139" y="902"/>
                  </a:lnTo>
                  <a:lnTo>
                    <a:pt x="3140" y="902"/>
                  </a:lnTo>
                  <a:lnTo>
                    <a:pt x="3141" y="902"/>
                  </a:lnTo>
                  <a:lnTo>
                    <a:pt x="3142" y="901"/>
                  </a:lnTo>
                  <a:lnTo>
                    <a:pt x="3143" y="901"/>
                  </a:lnTo>
                  <a:lnTo>
                    <a:pt x="3144" y="901"/>
                  </a:lnTo>
                  <a:lnTo>
                    <a:pt x="3146" y="902"/>
                  </a:lnTo>
                  <a:lnTo>
                    <a:pt x="3148" y="905"/>
                  </a:lnTo>
                  <a:lnTo>
                    <a:pt x="3151" y="909"/>
                  </a:lnTo>
                  <a:lnTo>
                    <a:pt x="3160" y="922"/>
                  </a:lnTo>
                  <a:lnTo>
                    <a:pt x="3171" y="934"/>
                  </a:lnTo>
                  <a:lnTo>
                    <a:pt x="3175" y="943"/>
                  </a:lnTo>
                  <a:lnTo>
                    <a:pt x="3181" y="952"/>
                  </a:lnTo>
                  <a:lnTo>
                    <a:pt x="3187" y="963"/>
                  </a:lnTo>
                  <a:lnTo>
                    <a:pt x="3194" y="973"/>
                  </a:lnTo>
                  <a:lnTo>
                    <a:pt x="3198" y="982"/>
                  </a:lnTo>
                  <a:lnTo>
                    <a:pt x="3203" y="992"/>
                  </a:lnTo>
                  <a:lnTo>
                    <a:pt x="3207" y="1000"/>
                  </a:lnTo>
                  <a:lnTo>
                    <a:pt x="3210" y="1007"/>
                  </a:lnTo>
                  <a:lnTo>
                    <a:pt x="3216" y="1015"/>
                  </a:lnTo>
                  <a:lnTo>
                    <a:pt x="3221" y="1026"/>
                  </a:lnTo>
                  <a:lnTo>
                    <a:pt x="3225" y="1038"/>
                  </a:lnTo>
                  <a:lnTo>
                    <a:pt x="3228" y="1047"/>
                  </a:lnTo>
                  <a:lnTo>
                    <a:pt x="3229" y="1057"/>
                  </a:lnTo>
                  <a:lnTo>
                    <a:pt x="3228" y="1062"/>
                  </a:lnTo>
                  <a:lnTo>
                    <a:pt x="3228" y="1062"/>
                  </a:lnTo>
                  <a:lnTo>
                    <a:pt x="3227" y="1063"/>
                  </a:lnTo>
                  <a:lnTo>
                    <a:pt x="3226" y="1063"/>
                  </a:lnTo>
                  <a:lnTo>
                    <a:pt x="3225" y="1061"/>
                  </a:lnTo>
                  <a:lnTo>
                    <a:pt x="3221" y="1057"/>
                  </a:lnTo>
                  <a:lnTo>
                    <a:pt x="3216" y="1048"/>
                  </a:lnTo>
                  <a:lnTo>
                    <a:pt x="3203" y="1034"/>
                  </a:lnTo>
                  <a:lnTo>
                    <a:pt x="3195" y="1022"/>
                  </a:lnTo>
                  <a:lnTo>
                    <a:pt x="3194" y="1022"/>
                  </a:lnTo>
                  <a:lnTo>
                    <a:pt x="3192" y="1021"/>
                  </a:lnTo>
                  <a:lnTo>
                    <a:pt x="3192" y="1021"/>
                  </a:lnTo>
                  <a:lnTo>
                    <a:pt x="3194" y="1026"/>
                  </a:lnTo>
                  <a:lnTo>
                    <a:pt x="3201" y="1040"/>
                  </a:lnTo>
                  <a:lnTo>
                    <a:pt x="3205" y="1045"/>
                  </a:lnTo>
                  <a:lnTo>
                    <a:pt x="3206" y="1046"/>
                  </a:lnTo>
                  <a:lnTo>
                    <a:pt x="3208" y="1047"/>
                  </a:lnTo>
                  <a:lnTo>
                    <a:pt x="3210" y="1052"/>
                  </a:lnTo>
                  <a:lnTo>
                    <a:pt x="3212" y="1058"/>
                  </a:lnTo>
                  <a:lnTo>
                    <a:pt x="3212" y="1063"/>
                  </a:lnTo>
                  <a:lnTo>
                    <a:pt x="3212" y="1066"/>
                  </a:lnTo>
                  <a:lnTo>
                    <a:pt x="3213" y="1068"/>
                  </a:lnTo>
                  <a:lnTo>
                    <a:pt x="3215" y="1073"/>
                  </a:lnTo>
                  <a:lnTo>
                    <a:pt x="3218" y="1083"/>
                  </a:lnTo>
                  <a:lnTo>
                    <a:pt x="3221" y="1090"/>
                  </a:lnTo>
                  <a:lnTo>
                    <a:pt x="3224" y="1098"/>
                  </a:lnTo>
                  <a:lnTo>
                    <a:pt x="3228" y="1106"/>
                  </a:lnTo>
                  <a:lnTo>
                    <a:pt x="3233" y="1112"/>
                  </a:lnTo>
                  <a:lnTo>
                    <a:pt x="3236" y="1120"/>
                  </a:lnTo>
                  <a:lnTo>
                    <a:pt x="3238" y="1125"/>
                  </a:lnTo>
                  <a:lnTo>
                    <a:pt x="3240" y="1127"/>
                  </a:lnTo>
                  <a:lnTo>
                    <a:pt x="3240" y="1121"/>
                  </a:lnTo>
                  <a:lnTo>
                    <a:pt x="3239" y="1113"/>
                  </a:lnTo>
                  <a:lnTo>
                    <a:pt x="3235" y="1107"/>
                  </a:lnTo>
                  <a:lnTo>
                    <a:pt x="3229" y="1100"/>
                  </a:lnTo>
                  <a:lnTo>
                    <a:pt x="3226" y="1092"/>
                  </a:lnTo>
                  <a:lnTo>
                    <a:pt x="3224" y="1085"/>
                  </a:lnTo>
                  <a:lnTo>
                    <a:pt x="3223" y="1081"/>
                  </a:lnTo>
                  <a:lnTo>
                    <a:pt x="3223" y="1078"/>
                  </a:lnTo>
                  <a:lnTo>
                    <a:pt x="3224" y="1078"/>
                  </a:lnTo>
                  <a:lnTo>
                    <a:pt x="3228" y="1084"/>
                  </a:lnTo>
                  <a:lnTo>
                    <a:pt x="3235" y="1096"/>
                  </a:lnTo>
                  <a:lnTo>
                    <a:pt x="3239" y="1104"/>
                  </a:lnTo>
                  <a:lnTo>
                    <a:pt x="3243" y="1113"/>
                  </a:lnTo>
                  <a:lnTo>
                    <a:pt x="3245" y="1118"/>
                  </a:lnTo>
                  <a:lnTo>
                    <a:pt x="3245" y="1109"/>
                  </a:lnTo>
                  <a:lnTo>
                    <a:pt x="3242" y="1101"/>
                  </a:lnTo>
                  <a:lnTo>
                    <a:pt x="3239" y="1092"/>
                  </a:lnTo>
                  <a:lnTo>
                    <a:pt x="3236" y="1085"/>
                  </a:lnTo>
                  <a:lnTo>
                    <a:pt x="3236" y="1077"/>
                  </a:lnTo>
                  <a:lnTo>
                    <a:pt x="3236" y="1070"/>
                  </a:lnTo>
                  <a:lnTo>
                    <a:pt x="3235" y="1060"/>
                  </a:lnTo>
                  <a:lnTo>
                    <a:pt x="3231" y="1049"/>
                  </a:lnTo>
                  <a:lnTo>
                    <a:pt x="3233" y="1049"/>
                  </a:lnTo>
                  <a:lnTo>
                    <a:pt x="3237" y="1059"/>
                  </a:lnTo>
                  <a:lnTo>
                    <a:pt x="3240" y="1068"/>
                  </a:lnTo>
                  <a:lnTo>
                    <a:pt x="3241" y="1071"/>
                  </a:lnTo>
                  <a:lnTo>
                    <a:pt x="3245" y="1081"/>
                  </a:lnTo>
                  <a:lnTo>
                    <a:pt x="3247" y="1086"/>
                  </a:lnTo>
                  <a:lnTo>
                    <a:pt x="3245" y="1079"/>
                  </a:lnTo>
                  <a:lnTo>
                    <a:pt x="3241" y="1067"/>
                  </a:lnTo>
                  <a:lnTo>
                    <a:pt x="3239" y="1061"/>
                  </a:lnTo>
                  <a:lnTo>
                    <a:pt x="3236" y="1054"/>
                  </a:lnTo>
                  <a:lnTo>
                    <a:pt x="3233" y="1047"/>
                  </a:lnTo>
                  <a:lnTo>
                    <a:pt x="3229" y="1039"/>
                  </a:lnTo>
                  <a:lnTo>
                    <a:pt x="3227" y="1033"/>
                  </a:lnTo>
                  <a:lnTo>
                    <a:pt x="3226" y="1030"/>
                  </a:lnTo>
                  <a:lnTo>
                    <a:pt x="3225" y="1025"/>
                  </a:lnTo>
                  <a:lnTo>
                    <a:pt x="3221" y="1017"/>
                  </a:lnTo>
                  <a:lnTo>
                    <a:pt x="3217" y="1007"/>
                  </a:lnTo>
                  <a:lnTo>
                    <a:pt x="3214" y="999"/>
                  </a:lnTo>
                  <a:lnTo>
                    <a:pt x="3214" y="999"/>
                  </a:lnTo>
                  <a:lnTo>
                    <a:pt x="3217" y="1005"/>
                  </a:lnTo>
                  <a:lnTo>
                    <a:pt x="3221" y="1013"/>
                  </a:lnTo>
                  <a:lnTo>
                    <a:pt x="3225" y="1022"/>
                  </a:lnTo>
                  <a:lnTo>
                    <a:pt x="3229" y="1032"/>
                  </a:lnTo>
                  <a:lnTo>
                    <a:pt x="3231" y="1038"/>
                  </a:lnTo>
                  <a:lnTo>
                    <a:pt x="3234" y="1042"/>
                  </a:lnTo>
                  <a:lnTo>
                    <a:pt x="3235" y="1044"/>
                  </a:lnTo>
                  <a:lnTo>
                    <a:pt x="3234" y="1045"/>
                  </a:lnTo>
                  <a:lnTo>
                    <a:pt x="3235" y="1048"/>
                  </a:lnTo>
                  <a:lnTo>
                    <a:pt x="3238" y="1054"/>
                  </a:lnTo>
                  <a:lnTo>
                    <a:pt x="3241" y="1061"/>
                  </a:lnTo>
                  <a:lnTo>
                    <a:pt x="3243" y="1065"/>
                  </a:lnTo>
                  <a:lnTo>
                    <a:pt x="3244" y="1067"/>
                  </a:lnTo>
                  <a:lnTo>
                    <a:pt x="3243" y="1066"/>
                  </a:lnTo>
                  <a:lnTo>
                    <a:pt x="3242" y="1062"/>
                  </a:lnTo>
                  <a:lnTo>
                    <a:pt x="3240" y="1056"/>
                  </a:lnTo>
                  <a:lnTo>
                    <a:pt x="3238" y="1053"/>
                  </a:lnTo>
                  <a:lnTo>
                    <a:pt x="3239" y="1053"/>
                  </a:lnTo>
                  <a:close/>
                  <a:moveTo>
                    <a:pt x="1425" y="939"/>
                  </a:moveTo>
                  <a:lnTo>
                    <a:pt x="1427" y="944"/>
                  </a:lnTo>
                  <a:lnTo>
                    <a:pt x="1430" y="946"/>
                  </a:lnTo>
                  <a:lnTo>
                    <a:pt x="1431" y="946"/>
                  </a:lnTo>
                  <a:lnTo>
                    <a:pt x="1434" y="946"/>
                  </a:lnTo>
                  <a:lnTo>
                    <a:pt x="1435" y="946"/>
                  </a:lnTo>
                  <a:lnTo>
                    <a:pt x="1437" y="944"/>
                  </a:lnTo>
                  <a:lnTo>
                    <a:pt x="1441" y="938"/>
                  </a:lnTo>
                  <a:lnTo>
                    <a:pt x="1444" y="933"/>
                  </a:lnTo>
                  <a:lnTo>
                    <a:pt x="1445" y="930"/>
                  </a:lnTo>
                  <a:lnTo>
                    <a:pt x="1445" y="928"/>
                  </a:lnTo>
                  <a:lnTo>
                    <a:pt x="1444" y="927"/>
                  </a:lnTo>
                  <a:lnTo>
                    <a:pt x="1442" y="927"/>
                  </a:lnTo>
                  <a:lnTo>
                    <a:pt x="1435" y="928"/>
                  </a:lnTo>
                  <a:lnTo>
                    <a:pt x="1430" y="929"/>
                  </a:lnTo>
                  <a:lnTo>
                    <a:pt x="1427" y="932"/>
                  </a:lnTo>
                  <a:lnTo>
                    <a:pt x="1424" y="935"/>
                  </a:lnTo>
                  <a:lnTo>
                    <a:pt x="1424" y="937"/>
                  </a:lnTo>
                  <a:lnTo>
                    <a:pt x="1425" y="939"/>
                  </a:lnTo>
                  <a:close/>
                  <a:moveTo>
                    <a:pt x="1380" y="999"/>
                  </a:moveTo>
                  <a:lnTo>
                    <a:pt x="1381" y="1004"/>
                  </a:lnTo>
                  <a:lnTo>
                    <a:pt x="1382" y="1010"/>
                  </a:lnTo>
                  <a:lnTo>
                    <a:pt x="1383" y="1011"/>
                  </a:lnTo>
                  <a:lnTo>
                    <a:pt x="1384" y="1012"/>
                  </a:lnTo>
                  <a:lnTo>
                    <a:pt x="1385" y="1012"/>
                  </a:lnTo>
                  <a:lnTo>
                    <a:pt x="1387" y="1012"/>
                  </a:lnTo>
                  <a:lnTo>
                    <a:pt x="1393" y="1008"/>
                  </a:lnTo>
                  <a:lnTo>
                    <a:pt x="1398" y="1004"/>
                  </a:lnTo>
                  <a:lnTo>
                    <a:pt x="1399" y="1002"/>
                  </a:lnTo>
                  <a:lnTo>
                    <a:pt x="1401" y="999"/>
                  </a:lnTo>
                  <a:lnTo>
                    <a:pt x="1401" y="997"/>
                  </a:lnTo>
                  <a:lnTo>
                    <a:pt x="1400" y="994"/>
                  </a:lnTo>
                  <a:lnTo>
                    <a:pt x="1399" y="987"/>
                  </a:lnTo>
                  <a:lnTo>
                    <a:pt x="1398" y="981"/>
                  </a:lnTo>
                  <a:lnTo>
                    <a:pt x="1397" y="980"/>
                  </a:lnTo>
                  <a:lnTo>
                    <a:pt x="1396" y="979"/>
                  </a:lnTo>
                  <a:lnTo>
                    <a:pt x="1395" y="980"/>
                  </a:lnTo>
                  <a:lnTo>
                    <a:pt x="1392" y="982"/>
                  </a:lnTo>
                  <a:lnTo>
                    <a:pt x="1383" y="993"/>
                  </a:lnTo>
                  <a:lnTo>
                    <a:pt x="1380" y="999"/>
                  </a:lnTo>
                  <a:close/>
                  <a:moveTo>
                    <a:pt x="1293" y="983"/>
                  </a:moveTo>
                  <a:lnTo>
                    <a:pt x="1296" y="991"/>
                  </a:lnTo>
                  <a:lnTo>
                    <a:pt x="1300" y="995"/>
                  </a:lnTo>
                  <a:lnTo>
                    <a:pt x="1305" y="997"/>
                  </a:lnTo>
                  <a:lnTo>
                    <a:pt x="1309" y="997"/>
                  </a:lnTo>
                  <a:lnTo>
                    <a:pt x="1313" y="996"/>
                  </a:lnTo>
                  <a:lnTo>
                    <a:pt x="1317" y="994"/>
                  </a:lnTo>
                  <a:lnTo>
                    <a:pt x="1320" y="992"/>
                  </a:lnTo>
                  <a:lnTo>
                    <a:pt x="1323" y="989"/>
                  </a:lnTo>
                  <a:lnTo>
                    <a:pt x="1332" y="982"/>
                  </a:lnTo>
                  <a:lnTo>
                    <a:pt x="1341" y="974"/>
                  </a:lnTo>
                  <a:lnTo>
                    <a:pt x="1344" y="970"/>
                  </a:lnTo>
                  <a:lnTo>
                    <a:pt x="1347" y="966"/>
                  </a:lnTo>
                  <a:lnTo>
                    <a:pt x="1347" y="965"/>
                  </a:lnTo>
                  <a:lnTo>
                    <a:pt x="1347" y="964"/>
                  </a:lnTo>
                  <a:lnTo>
                    <a:pt x="1344" y="963"/>
                  </a:lnTo>
                  <a:lnTo>
                    <a:pt x="1342" y="961"/>
                  </a:lnTo>
                  <a:lnTo>
                    <a:pt x="1332" y="959"/>
                  </a:lnTo>
                  <a:lnTo>
                    <a:pt x="1322" y="959"/>
                  </a:lnTo>
                  <a:lnTo>
                    <a:pt x="1318" y="959"/>
                  </a:lnTo>
                  <a:lnTo>
                    <a:pt x="1315" y="961"/>
                  </a:lnTo>
                  <a:lnTo>
                    <a:pt x="1313" y="964"/>
                  </a:lnTo>
                  <a:lnTo>
                    <a:pt x="1311" y="967"/>
                  </a:lnTo>
                  <a:lnTo>
                    <a:pt x="1310" y="970"/>
                  </a:lnTo>
                  <a:lnTo>
                    <a:pt x="1308" y="974"/>
                  </a:lnTo>
                  <a:lnTo>
                    <a:pt x="1305" y="976"/>
                  </a:lnTo>
                  <a:lnTo>
                    <a:pt x="1301" y="979"/>
                  </a:lnTo>
                  <a:lnTo>
                    <a:pt x="1296" y="982"/>
                  </a:lnTo>
                  <a:lnTo>
                    <a:pt x="1293" y="983"/>
                  </a:lnTo>
                  <a:close/>
                  <a:moveTo>
                    <a:pt x="1449" y="732"/>
                  </a:moveTo>
                  <a:lnTo>
                    <a:pt x="1446" y="740"/>
                  </a:lnTo>
                  <a:lnTo>
                    <a:pt x="1445" y="749"/>
                  </a:lnTo>
                  <a:lnTo>
                    <a:pt x="1445" y="753"/>
                  </a:lnTo>
                  <a:lnTo>
                    <a:pt x="1447" y="756"/>
                  </a:lnTo>
                  <a:lnTo>
                    <a:pt x="1450" y="759"/>
                  </a:lnTo>
                  <a:lnTo>
                    <a:pt x="1457" y="762"/>
                  </a:lnTo>
                  <a:lnTo>
                    <a:pt x="1463" y="764"/>
                  </a:lnTo>
                  <a:lnTo>
                    <a:pt x="1470" y="764"/>
                  </a:lnTo>
                  <a:lnTo>
                    <a:pt x="1475" y="764"/>
                  </a:lnTo>
                  <a:lnTo>
                    <a:pt x="1481" y="762"/>
                  </a:lnTo>
                  <a:lnTo>
                    <a:pt x="1486" y="760"/>
                  </a:lnTo>
                  <a:lnTo>
                    <a:pt x="1490" y="757"/>
                  </a:lnTo>
                  <a:lnTo>
                    <a:pt x="1492" y="753"/>
                  </a:lnTo>
                  <a:lnTo>
                    <a:pt x="1494" y="749"/>
                  </a:lnTo>
                  <a:lnTo>
                    <a:pt x="1495" y="745"/>
                  </a:lnTo>
                  <a:lnTo>
                    <a:pt x="1494" y="738"/>
                  </a:lnTo>
                  <a:lnTo>
                    <a:pt x="1493" y="733"/>
                  </a:lnTo>
                  <a:lnTo>
                    <a:pt x="1491" y="728"/>
                  </a:lnTo>
                  <a:lnTo>
                    <a:pt x="1489" y="724"/>
                  </a:lnTo>
                  <a:lnTo>
                    <a:pt x="1486" y="720"/>
                  </a:lnTo>
                  <a:lnTo>
                    <a:pt x="1483" y="718"/>
                  </a:lnTo>
                  <a:lnTo>
                    <a:pt x="1480" y="718"/>
                  </a:lnTo>
                  <a:lnTo>
                    <a:pt x="1472" y="720"/>
                  </a:lnTo>
                  <a:lnTo>
                    <a:pt x="1466" y="723"/>
                  </a:lnTo>
                  <a:lnTo>
                    <a:pt x="1464" y="725"/>
                  </a:lnTo>
                  <a:lnTo>
                    <a:pt x="1461" y="726"/>
                  </a:lnTo>
                  <a:lnTo>
                    <a:pt x="1460" y="728"/>
                  </a:lnTo>
                  <a:lnTo>
                    <a:pt x="1458" y="730"/>
                  </a:lnTo>
                  <a:lnTo>
                    <a:pt x="1457" y="733"/>
                  </a:lnTo>
                  <a:lnTo>
                    <a:pt x="1456" y="732"/>
                  </a:lnTo>
                  <a:lnTo>
                    <a:pt x="1456" y="731"/>
                  </a:lnTo>
                  <a:lnTo>
                    <a:pt x="1454" y="729"/>
                  </a:lnTo>
                  <a:lnTo>
                    <a:pt x="1452" y="728"/>
                  </a:lnTo>
                  <a:lnTo>
                    <a:pt x="1450" y="729"/>
                  </a:lnTo>
                  <a:lnTo>
                    <a:pt x="1449" y="731"/>
                  </a:lnTo>
                  <a:lnTo>
                    <a:pt x="1449" y="732"/>
                  </a:lnTo>
                  <a:close/>
                  <a:moveTo>
                    <a:pt x="1193" y="200"/>
                  </a:moveTo>
                  <a:lnTo>
                    <a:pt x="1200" y="204"/>
                  </a:lnTo>
                  <a:lnTo>
                    <a:pt x="1207" y="206"/>
                  </a:lnTo>
                  <a:lnTo>
                    <a:pt x="1215" y="207"/>
                  </a:lnTo>
                  <a:lnTo>
                    <a:pt x="1221" y="208"/>
                  </a:lnTo>
                  <a:lnTo>
                    <a:pt x="1225" y="208"/>
                  </a:lnTo>
                  <a:lnTo>
                    <a:pt x="1227" y="210"/>
                  </a:lnTo>
                  <a:lnTo>
                    <a:pt x="1227" y="212"/>
                  </a:lnTo>
                  <a:lnTo>
                    <a:pt x="1223" y="215"/>
                  </a:lnTo>
                  <a:lnTo>
                    <a:pt x="1217" y="219"/>
                  </a:lnTo>
                  <a:lnTo>
                    <a:pt x="1210" y="221"/>
                  </a:lnTo>
                  <a:lnTo>
                    <a:pt x="1206" y="222"/>
                  </a:lnTo>
                  <a:lnTo>
                    <a:pt x="1202" y="222"/>
                  </a:lnTo>
                  <a:lnTo>
                    <a:pt x="1200" y="223"/>
                  </a:lnTo>
                  <a:lnTo>
                    <a:pt x="1200" y="223"/>
                  </a:lnTo>
                  <a:lnTo>
                    <a:pt x="1202" y="224"/>
                  </a:lnTo>
                  <a:lnTo>
                    <a:pt x="1207" y="227"/>
                  </a:lnTo>
                  <a:lnTo>
                    <a:pt x="1213" y="230"/>
                  </a:lnTo>
                  <a:lnTo>
                    <a:pt x="1220" y="232"/>
                  </a:lnTo>
                  <a:lnTo>
                    <a:pt x="1225" y="233"/>
                  </a:lnTo>
                  <a:lnTo>
                    <a:pt x="1231" y="232"/>
                  </a:lnTo>
                  <a:lnTo>
                    <a:pt x="1237" y="231"/>
                  </a:lnTo>
                  <a:lnTo>
                    <a:pt x="1241" y="230"/>
                  </a:lnTo>
                  <a:lnTo>
                    <a:pt x="1244" y="228"/>
                  </a:lnTo>
                  <a:lnTo>
                    <a:pt x="1245" y="226"/>
                  </a:lnTo>
                  <a:lnTo>
                    <a:pt x="1247" y="221"/>
                  </a:lnTo>
                  <a:lnTo>
                    <a:pt x="1249" y="213"/>
                  </a:lnTo>
                  <a:lnTo>
                    <a:pt x="1251" y="210"/>
                  </a:lnTo>
                  <a:lnTo>
                    <a:pt x="1252" y="208"/>
                  </a:lnTo>
                  <a:lnTo>
                    <a:pt x="1255" y="207"/>
                  </a:lnTo>
                  <a:lnTo>
                    <a:pt x="1257" y="208"/>
                  </a:lnTo>
                  <a:lnTo>
                    <a:pt x="1261" y="220"/>
                  </a:lnTo>
                  <a:lnTo>
                    <a:pt x="1264" y="225"/>
                  </a:lnTo>
                  <a:lnTo>
                    <a:pt x="1266" y="224"/>
                  </a:lnTo>
                  <a:lnTo>
                    <a:pt x="1268" y="222"/>
                  </a:lnTo>
                  <a:lnTo>
                    <a:pt x="1269" y="219"/>
                  </a:lnTo>
                  <a:lnTo>
                    <a:pt x="1271" y="215"/>
                  </a:lnTo>
                  <a:lnTo>
                    <a:pt x="1273" y="209"/>
                  </a:lnTo>
                  <a:lnTo>
                    <a:pt x="1274" y="206"/>
                  </a:lnTo>
                  <a:lnTo>
                    <a:pt x="1276" y="201"/>
                  </a:lnTo>
                  <a:lnTo>
                    <a:pt x="1277" y="194"/>
                  </a:lnTo>
                  <a:lnTo>
                    <a:pt x="1278" y="191"/>
                  </a:lnTo>
                  <a:lnTo>
                    <a:pt x="1279" y="188"/>
                  </a:lnTo>
                  <a:lnTo>
                    <a:pt x="1282" y="186"/>
                  </a:lnTo>
                  <a:lnTo>
                    <a:pt x="1285" y="186"/>
                  </a:lnTo>
                  <a:lnTo>
                    <a:pt x="1292" y="185"/>
                  </a:lnTo>
                  <a:lnTo>
                    <a:pt x="1300" y="183"/>
                  </a:lnTo>
                  <a:lnTo>
                    <a:pt x="1308" y="181"/>
                  </a:lnTo>
                  <a:lnTo>
                    <a:pt x="1312" y="179"/>
                  </a:lnTo>
                  <a:lnTo>
                    <a:pt x="1323" y="174"/>
                  </a:lnTo>
                  <a:lnTo>
                    <a:pt x="1336" y="166"/>
                  </a:lnTo>
                  <a:lnTo>
                    <a:pt x="1335" y="164"/>
                  </a:lnTo>
                  <a:lnTo>
                    <a:pt x="1332" y="161"/>
                  </a:lnTo>
                  <a:lnTo>
                    <a:pt x="1327" y="158"/>
                  </a:lnTo>
                  <a:lnTo>
                    <a:pt x="1320" y="157"/>
                  </a:lnTo>
                  <a:lnTo>
                    <a:pt x="1313" y="158"/>
                  </a:lnTo>
                  <a:lnTo>
                    <a:pt x="1308" y="158"/>
                  </a:lnTo>
                  <a:lnTo>
                    <a:pt x="1306" y="158"/>
                  </a:lnTo>
                  <a:lnTo>
                    <a:pt x="1304" y="157"/>
                  </a:lnTo>
                  <a:lnTo>
                    <a:pt x="1303" y="157"/>
                  </a:lnTo>
                  <a:lnTo>
                    <a:pt x="1301" y="155"/>
                  </a:lnTo>
                  <a:lnTo>
                    <a:pt x="1305" y="152"/>
                  </a:lnTo>
                  <a:lnTo>
                    <a:pt x="1309" y="148"/>
                  </a:lnTo>
                  <a:lnTo>
                    <a:pt x="1310" y="146"/>
                  </a:lnTo>
                  <a:lnTo>
                    <a:pt x="1311" y="145"/>
                  </a:lnTo>
                  <a:lnTo>
                    <a:pt x="1311" y="143"/>
                  </a:lnTo>
                  <a:lnTo>
                    <a:pt x="1309" y="142"/>
                  </a:lnTo>
                  <a:lnTo>
                    <a:pt x="1299" y="140"/>
                  </a:lnTo>
                  <a:lnTo>
                    <a:pt x="1289" y="138"/>
                  </a:lnTo>
                  <a:lnTo>
                    <a:pt x="1285" y="137"/>
                  </a:lnTo>
                  <a:lnTo>
                    <a:pt x="1281" y="136"/>
                  </a:lnTo>
                  <a:lnTo>
                    <a:pt x="1278" y="135"/>
                  </a:lnTo>
                  <a:lnTo>
                    <a:pt x="1278" y="133"/>
                  </a:lnTo>
                  <a:lnTo>
                    <a:pt x="1281" y="128"/>
                  </a:lnTo>
                  <a:lnTo>
                    <a:pt x="1282" y="123"/>
                  </a:lnTo>
                  <a:lnTo>
                    <a:pt x="1282" y="121"/>
                  </a:lnTo>
                  <a:lnTo>
                    <a:pt x="1282" y="119"/>
                  </a:lnTo>
                  <a:lnTo>
                    <a:pt x="1281" y="118"/>
                  </a:lnTo>
                  <a:lnTo>
                    <a:pt x="1278" y="117"/>
                  </a:lnTo>
                  <a:lnTo>
                    <a:pt x="1270" y="116"/>
                  </a:lnTo>
                  <a:lnTo>
                    <a:pt x="1262" y="114"/>
                  </a:lnTo>
                  <a:lnTo>
                    <a:pt x="1255" y="113"/>
                  </a:lnTo>
                  <a:lnTo>
                    <a:pt x="1253" y="110"/>
                  </a:lnTo>
                  <a:lnTo>
                    <a:pt x="1253" y="106"/>
                  </a:lnTo>
                  <a:lnTo>
                    <a:pt x="1254" y="100"/>
                  </a:lnTo>
                  <a:lnTo>
                    <a:pt x="1253" y="95"/>
                  </a:lnTo>
                  <a:lnTo>
                    <a:pt x="1252" y="93"/>
                  </a:lnTo>
                  <a:lnTo>
                    <a:pt x="1250" y="92"/>
                  </a:lnTo>
                  <a:lnTo>
                    <a:pt x="1246" y="90"/>
                  </a:lnTo>
                  <a:lnTo>
                    <a:pt x="1241" y="89"/>
                  </a:lnTo>
                  <a:lnTo>
                    <a:pt x="1235" y="90"/>
                  </a:lnTo>
                  <a:lnTo>
                    <a:pt x="1225" y="93"/>
                  </a:lnTo>
                  <a:lnTo>
                    <a:pt x="1220" y="95"/>
                  </a:lnTo>
                  <a:lnTo>
                    <a:pt x="1228" y="95"/>
                  </a:lnTo>
                  <a:lnTo>
                    <a:pt x="1232" y="96"/>
                  </a:lnTo>
                  <a:lnTo>
                    <a:pt x="1232" y="97"/>
                  </a:lnTo>
                  <a:lnTo>
                    <a:pt x="1231" y="98"/>
                  </a:lnTo>
                  <a:lnTo>
                    <a:pt x="1230" y="100"/>
                  </a:lnTo>
                  <a:lnTo>
                    <a:pt x="1225" y="102"/>
                  </a:lnTo>
                  <a:lnTo>
                    <a:pt x="1219" y="106"/>
                  </a:lnTo>
                  <a:lnTo>
                    <a:pt x="1212" y="110"/>
                  </a:lnTo>
                  <a:lnTo>
                    <a:pt x="1208" y="112"/>
                  </a:lnTo>
                  <a:lnTo>
                    <a:pt x="1208" y="114"/>
                  </a:lnTo>
                  <a:lnTo>
                    <a:pt x="1212" y="116"/>
                  </a:lnTo>
                  <a:lnTo>
                    <a:pt x="1218" y="118"/>
                  </a:lnTo>
                  <a:lnTo>
                    <a:pt x="1219" y="120"/>
                  </a:lnTo>
                  <a:lnTo>
                    <a:pt x="1221" y="121"/>
                  </a:lnTo>
                  <a:lnTo>
                    <a:pt x="1221" y="122"/>
                  </a:lnTo>
                  <a:lnTo>
                    <a:pt x="1219" y="122"/>
                  </a:lnTo>
                  <a:lnTo>
                    <a:pt x="1205" y="123"/>
                  </a:lnTo>
                  <a:lnTo>
                    <a:pt x="1197" y="124"/>
                  </a:lnTo>
                  <a:lnTo>
                    <a:pt x="1193" y="126"/>
                  </a:lnTo>
                  <a:lnTo>
                    <a:pt x="1189" y="130"/>
                  </a:lnTo>
                  <a:lnTo>
                    <a:pt x="1200" y="136"/>
                  </a:lnTo>
                  <a:lnTo>
                    <a:pt x="1208" y="141"/>
                  </a:lnTo>
                  <a:lnTo>
                    <a:pt x="1207" y="143"/>
                  </a:lnTo>
                  <a:lnTo>
                    <a:pt x="1199" y="148"/>
                  </a:lnTo>
                  <a:lnTo>
                    <a:pt x="1193" y="152"/>
                  </a:lnTo>
                  <a:lnTo>
                    <a:pt x="1186" y="154"/>
                  </a:lnTo>
                  <a:lnTo>
                    <a:pt x="1184" y="155"/>
                  </a:lnTo>
                  <a:lnTo>
                    <a:pt x="1183" y="155"/>
                  </a:lnTo>
                  <a:lnTo>
                    <a:pt x="1182" y="154"/>
                  </a:lnTo>
                  <a:lnTo>
                    <a:pt x="1182" y="153"/>
                  </a:lnTo>
                  <a:lnTo>
                    <a:pt x="1181" y="150"/>
                  </a:lnTo>
                  <a:lnTo>
                    <a:pt x="1180" y="147"/>
                  </a:lnTo>
                  <a:lnTo>
                    <a:pt x="1179" y="147"/>
                  </a:lnTo>
                  <a:lnTo>
                    <a:pt x="1178" y="147"/>
                  </a:lnTo>
                  <a:lnTo>
                    <a:pt x="1177" y="147"/>
                  </a:lnTo>
                  <a:lnTo>
                    <a:pt x="1175" y="148"/>
                  </a:lnTo>
                  <a:lnTo>
                    <a:pt x="1172" y="152"/>
                  </a:lnTo>
                  <a:lnTo>
                    <a:pt x="1171" y="154"/>
                  </a:lnTo>
                  <a:lnTo>
                    <a:pt x="1169" y="157"/>
                  </a:lnTo>
                  <a:lnTo>
                    <a:pt x="1169" y="159"/>
                  </a:lnTo>
                  <a:lnTo>
                    <a:pt x="1171" y="161"/>
                  </a:lnTo>
                  <a:lnTo>
                    <a:pt x="1174" y="162"/>
                  </a:lnTo>
                  <a:lnTo>
                    <a:pt x="1177" y="163"/>
                  </a:lnTo>
                  <a:lnTo>
                    <a:pt x="1182" y="164"/>
                  </a:lnTo>
                  <a:lnTo>
                    <a:pt x="1190" y="166"/>
                  </a:lnTo>
                  <a:lnTo>
                    <a:pt x="1204" y="168"/>
                  </a:lnTo>
                  <a:lnTo>
                    <a:pt x="1207" y="168"/>
                  </a:lnTo>
                  <a:lnTo>
                    <a:pt x="1207" y="168"/>
                  </a:lnTo>
                  <a:lnTo>
                    <a:pt x="1204" y="169"/>
                  </a:lnTo>
                  <a:lnTo>
                    <a:pt x="1199" y="169"/>
                  </a:lnTo>
                  <a:lnTo>
                    <a:pt x="1188" y="171"/>
                  </a:lnTo>
                  <a:lnTo>
                    <a:pt x="1181" y="175"/>
                  </a:lnTo>
                  <a:lnTo>
                    <a:pt x="1181" y="177"/>
                  </a:lnTo>
                  <a:lnTo>
                    <a:pt x="1183" y="178"/>
                  </a:lnTo>
                  <a:lnTo>
                    <a:pt x="1185" y="179"/>
                  </a:lnTo>
                  <a:lnTo>
                    <a:pt x="1188" y="180"/>
                  </a:lnTo>
                  <a:lnTo>
                    <a:pt x="1195" y="181"/>
                  </a:lnTo>
                  <a:lnTo>
                    <a:pt x="1200" y="180"/>
                  </a:lnTo>
                  <a:lnTo>
                    <a:pt x="1211" y="175"/>
                  </a:lnTo>
                  <a:lnTo>
                    <a:pt x="1222" y="169"/>
                  </a:lnTo>
                  <a:lnTo>
                    <a:pt x="1225" y="168"/>
                  </a:lnTo>
                  <a:lnTo>
                    <a:pt x="1230" y="168"/>
                  </a:lnTo>
                  <a:lnTo>
                    <a:pt x="1232" y="168"/>
                  </a:lnTo>
                  <a:lnTo>
                    <a:pt x="1234" y="168"/>
                  </a:lnTo>
                  <a:lnTo>
                    <a:pt x="1235" y="170"/>
                  </a:lnTo>
                  <a:lnTo>
                    <a:pt x="1235" y="171"/>
                  </a:lnTo>
                  <a:lnTo>
                    <a:pt x="1239" y="178"/>
                  </a:lnTo>
                  <a:lnTo>
                    <a:pt x="1241" y="181"/>
                  </a:lnTo>
                  <a:lnTo>
                    <a:pt x="1229" y="185"/>
                  </a:lnTo>
                  <a:lnTo>
                    <a:pt x="1215" y="187"/>
                  </a:lnTo>
                  <a:lnTo>
                    <a:pt x="1199" y="193"/>
                  </a:lnTo>
                  <a:lnTo>
                    <a:pt x="1185" y="199"/>
                  </a:lnTo>
                  <a:lnTo>
                    <a:pt x="1188" y="200"/>
                  </a:lnTo>
                  <a:lnTo>
                    <a:pt x="1193" y="200"/>
                  </a:lnTo>
                  <a:close/>
                  <a:moveTo>
                    <a:pt x="1086" y="398"/>
                  </a:moveTo>
                  <a:lnTo>
                    <a:pt x="1089" y="395"/>
                  </a:lnTo>
                  <a:lnTo>
                    <a:pt x="1093" y="389"/>
                  </a:lnTo>
                  <a:lnTo>
                    <a:pt x="1096" y="384"/>
                  </a:lnTo>
                  <a:lnTo>
                    <a:pt x="1100" y="378"/>
                  </a:lnTo>
                  <a:lnTo>
                    <a:pt x="1103" y="371"/>
                  </a:lnTo>
                  <a:lnTo>
                    <a:pt x="1106" y="364"/>
                  </a:lnTo>
                  <a:lnTo>
                    <a:pt x="1107" y="359"/>
                  </a:lnTo>
                  <a:lnTo>
                    <a:pt x="1107" y="354"/>
                  </a:lnTo>
                  <a:lnTo>
                    <a:pt x="1103" y="346"/>
                  </a:lnTo>
                  <a:lnTo>
                    <a:pt x="1101" y="337"/>
                  </a:lnTo>
                  <a:lnTo>
                    <a:pt x="1099" y="334"/>
                  </a:lnTo>
                  <a:lnTo>
                    <a:pt x="1097" y="331"/>
                  </a:lnTo>
                  <a:lnTo>
                    <a:pt x="1094" y="330"/>
                  </a:lnTo>
                  <a:lnTo>
                    <a:pt x="1090" y="330"/>
                  </a:lnTo>
                  <a:lnTo>
                    <a:pt x="1083" y="334"/>
                  </a:lnTo>
                  <a:lnTo>
                    <a:pt x="1076" y="339"/>
                  </a:lnTo>
                  <a:lnTo>
                    <a:pt x="1073" y="340"/>
                  </a:lnTo>
                  <a:lnTo>
                    <a:pt x="1071" y="341"/>
                  </a:lnTo>
                  <a:lnTo>
                    <a:pt x="1069" y="341"/>
                  </a:lnTo>
                  <a:lnTo>
                    <a:pt x="1067" y="338"/>
                  </a:lnTo>
                  <a:lnTo>
                    <a:pt x="1062" y="332"/>
                  </a:lnTo>
                  <a:lnTo>
                    <a:pt x="1056" y="328"/>
                  </a:lnTo>
                  <a:lnTo>
                    <a:pt x="1054" y="327"/>
                  </a:lnTo>
                  <a:lnTo>
                    <a:pt x="1051" y="327"/>
                  </a:lnTo>
                  <a:lnTo>
                    <a:pt x="1048" y="328"/>
                  </a:lnTo>
                  <a:lnTo>
                    <a:pt x="1046" y="331"/>
                  </a:lnTo>
                  <a:lnTo>
                    <a:pt x="1044" y="335"/>
                  </a:lnTo>
                  <a:lnTo>
                    <a:pt x="1044" y="339"/>
                  </a:lnTo>
                  <a:lnTo>
                    <a:pt x="1045" y="343"/>
                  </a:lnTo>
                  <a:lnTo>
                    <a:pt x="1046" y="347"/>
                  </a:lnTo>
                  <a:lnTo>
                    <a:pt x="1049" y="355"/>
                  </a:lnTo>
                  <a:lnTo>
                    <a:pt x="1048" y="360"/>
                  </a:lnTo>
                  <a:lnTo>
                    <a:pt x="1042" y="362"/>
                  </a:lnTo>
                  <a:lnTo>
                    <a:pt x="1032" y="363"/>
                  </a:lnTo>
                  <a:lnTo>
                    <a:pt x="1027" y="363"/>
                  </a:lnTo>
                  <a:lnTo>
                    <a:pt x="1022" y="363"/>
                  </a:lnTo>
                  <a:lnTo>
                    <a:pt x="1019" y="361"/>
                  </a:lnTo>
                  <a:lnTo>
                    <a:pt x="1015" y="360"/>
                  </a:lnTo>
                  <a:lnTo>
                    <a:pt x="1013" y="353"/>
                  </a:lnTo>
                  <a:lnTo>
                    <a:pt x="1011" y="345"/>
                  </a:lnTo>
                  <a:lnTo>
                    <a:pt x="1010" y="343"/>
                  </a:lnTo>
                  <a:lnTo>
                    <a:pt x="1008" y="341"/>
                  </a:lnTo>
                  <a:lnTo>
                    <a:pt x="1006" y="342"/>
                  </a:lnTo>
                  <a:lnTo>
                    <a:pt x="1002" y="344"/>
                  </a:lnTo>
                  <a:lnTo>
                    <a:pt x="999" y="349"/>
                  </a:lnTo>
                  <a:lnTo>
                    <a:pt x="996" y="353"/>
                  </a:lnTo>
                  <a:lnTo>
                    <a:pt x="995" y="356"/>
                  </a:lnTo>
                  <a:lnTo>
                    <a:pt x="995" y="359"/>
                  </a:lnTo>
                  <a:lnTo>
                    <a:pt x="997" y="364"/>
                  </a:lnTo>
                  <a:lnTo>
                    <a:pt x="1000" y="367"/>
                  </a:lnTo>
                  <a:lnTo>
                    <a:pt x="1002" y="368"/>
                  </a:lnTo>
                  <a:lnTo>
                    <a:pt x="1005" y="368"/>
                  </a:lnTo>
                  <a:lnTo>
                    <a:pt x="1009" y="368"/>
                  </a:lnTo>
                  <a:lnTo>
                    <a:pt x="1013" y="367"/>
                  </a:lnTo>
                  <a:lnTo>
                    <a:pt x="1017" y="366"/>
                  </a:lnTo>
                  <a:lnTo>
                    <a:pt x="1020" y="367"/>
                  </a:lnTo>
                  <a:lnTo>
                    <a:pt x="1021" y="367"/>
                  </a:lnTo>
                  <a:lnTo>
                    <a:pt x="1021" y="368"/>
                  </a:lnTo>
                  <a:lnTo>
                    <a:pt x="1021" y="371"/>
                  </a:lnTo>
                  <a:lnTo>
                    <a:pt x="1020" y="373"/>
                  </a:lnTo>
                  <a:lnTo>
                    <a:pt x="1017" y="380"/>
                  </a:lnTo>
                  <a:lnTo>
                    <a:pt x="1013" y="386"/>
                  </a:lnTo>
                  <a:lnTo>
                    <a:pt x="1013" y="388"/>
                  </a:lnTo>
                  <a:lnTo>
                    <a:pt x="1013" y="389"/>
                  </a:lnTo>
                  <a:lnTo>
                    <a:pt x="1013" y="390"/>
                  </a:lnTo>
                  <a:lnTo>
                    <a:pt x="1014" y="391"/>
                  </a:lnTo>
                  <a:lnTo>
                    <a:pt x="1028" y="385"/>
                  </a:lnTo>
                  <a:lnTo>
                    <a:pt x="1043" y="380"/>
                  </a:lnTo>
                  <a:lnTo>
                    <a:pt x="1047" y="381"/>
                  </a:lnTo>
                  <a:lnTo>
                    <a:pt x="1050" y="385"/>
                  </a:lnTo>
                  <a:lnTo>
                    <a:pt x="1051" y="387"/>
                  </a:lnTo>
                  <a:lnTo>
                    <a:pt x="1051" y="389"/>
                  </a:lnTo>
                  <a:lnTo>
                    <a:pt x="1051" y="391"/>
                  </a:lnTo>
                  <a:lnTo>
                    <a:pt x="1049" y="394"/>
                  </a:lnTo>
                  <a:lnTo>
                    <a:pt x="1045" y="400"/>
                  </a:lnTo>
                  <a:lnTo>
                    <a:pt x="1040" y="406"/>
                  </a:lnTo>
                  <a:lnTo>
                    <a:pt x="1036" y="410"/>
                  </a:lnTo>
                  <a:lnTo>
                    <a:pt x="1035" y="413"/>
                  </a:lnTo>
                  <a:lnTo>
                    <a:pt x="1035" y="416"/>
                  </a:lnTo>
                  <a:lnTo>
                    <a:pt x="1036" y="419"/>
                  </a:lnTo>
                  <a:lnTo>
                    <a:pt x="1040" y="420"/>
                  </a:lnTo>
                  <a:lnTo>
                    <a:pt x="1043" y="421"/>
                  </a:lnTo>
                  <a:lnTo>
                    <a:pt x="1047" y="422"/>
                  </a:lnTo>
                  <a:lnTo>
                    <a:pt x="1051" y="423"/>
                  </a:lnTo>
                  <a:lnTo>
                    <a:pt x="1055" y="422"/>
                  </a:lnTo>
                  <a:lnTo>
                    <a:pt x="1058" y="422"/>
                  </a:lnTo>
                  <a:lnTo>
                    <a:pt x="1063" y="420"/>
                  </a:lnTo>
                  <a:lnTo>
                    <a:pt x="1067" y="418"/>
                  </a:lnTo>
                  <a:lnTo>
                    <a:pt x="1079" y="405"/>
                  </a:lnTo>
                  <a:lnTo>
                    <a:pt x="1086" y="398"/>
                  </a:lnTo>
                  <a:close/>
                  <a:moveTo>
                    <a:pt x="1127" y="303"/>
                  </a:moveTo>
                  <a:lnTo>
                    <a:pt x="1119" y="305"/>
                  </a:lnTo>
                  <a:lnTo>
                    <a:pt x="1113" y="307"/>
                  </a:lnTo>
                  <a:lnTo>
                    <a:pt x="1113" y="309"/>
                  </a:lnTo>
                  <a:lnTo>
                    <a:pt x="1114" y="312"/>
                  </a:lnTo>
                  <a:lnTo>
                    <a:pt x="1116" y="315"/>
                  </a:lnTo>
                  <a:lnTo>
                    <a:pt x="1119" y="317"/>
                  </a:lnTo>
                  <a:lnTo>
                    <a:pt x="1127" y="324"/>
                  </a:lnTo>
                  <a:lnTo>
                    <a:pt x="1131" y="332"/>
                  </a:lnTo>
                  <a:lnTo>
                    <a:pt x="1135" y="338"/>
                  </a:lnTo>
                  <a:lnTo>
                    <a:pt x="1140" y="344"/>
                  </a:lnTo>
                  <a:lnTo>
                    <a:pt x="1141" y="347"/>
                  </a:lnTo>
                  <a:lnTo>
                    <a:pt x="1143" y="350"/>
                  </a:lnTo>
                  <a:lnTo>
                    <a:pt x="1144" y="352"/>
                  </a:lnTo>
                  <a:lnTo>
                    <a:pt x="1145" y="353"/>
                  </a:lnTo>
                  <a:lnTo>
                    <a:pt x="1144" y="355"/>
                  </a:lnTo>
                  <a:lnTo>
                    <a:pt x="1143" y="358"/>
                  </a:lnTo>
                  <a:lnTo>
                    <a:pt x="1139" y="366"/>
                  </a:lnTo>
                  <a:lnTo>
                    <a:pt x="1131" y="376"/>
                  </a:lnTo>
                  <a:lnTo>
                    <a:pt x="1123" y="383"/>
                  </a:lnTo>
                  <a:lnTo>
                    <a:pt x="1119" y="389"/>
                  </a:lnTo>
                  <a:lnTo>
                    <a:pt x="1115" y="391"/>
                  </a:lnTo>
                  <a:lnTo>
                    <a:pt x="1112" y="394"/>
                  </a:lnTo>
                  <a:lnTo>
                    <a:pt x="1110" y="395"/>
                  </a:lnTo>
                  <a:lnTo>
                    <a:pt x="1109" y="397"/>
                  </a:lnTo>
                  <a:lnTo>
                    <a:pt x="1108" y="400"/>
                  </a:lnTo>
                  <a:lnTo>
                    <a:pt x="1107" y="405"/>
                  </a:lnTo>
                  <a:lnTo>
                    <a:pt x="1107" y="409"/>
                  </a:lnTo>
                  <a:lnTo>
                    <a:pt x="1107" y="413"/>
                  </a:lnTo>
                  <a:lnTo>
                    <a:pt x="1108" y="416"/>
                  </a:lnTo>
                  <a:lnTo>
                    <a:pt x="1110" y="418"/>
                  </a:lnTo>
                  <a:lnTo>
                    <a:pt x="1114" y="422"/>
                  </a:lnTo>
                  <a:lnTo>
                    <a:pt x="1120" y="426"/>
                  </a:lnTo>
                  <a:lnTo>
                    <a:pt x="1124" y="428"/>
                  </a:lnTo>
                  <a:lnTo>
                    <a:pt x="1129" y="429"/>
                  </a:lnTo>
                  <a:lnTo>
                    <a:pt x="1133" y="428"/>
                  </a:lnTo>
                  <a:lnTo>
                    <a:pt x="1137" y="427"/>
                  </a:lnTo>
                  <a:lnTo>
                    <a:pt x="1146" y="424"/>
                  </a:lnTo>
                  <a:lnTo>
                    <a:pt x="1154" y="422"/>
                  </a:lnTo>
                  <a:lnTo>
                    <a:pt x="1158" y="422"/>
                  </a:lnTo>
                  <a:lnTo>
                    <a:pt x="1161" y="420"/>
                  </a:lnTo>
                  <a:lnTo>
                    <a:pt x="1163" y="419"/>
                  </a:lnTo>
                  <a:lnTo>
                    <a:pt x="1165" y="416"/>
                  </a:lnTo>
                  <a:lnTo>
                    <a:pt x="1167" y="413"/>
                  </a:lnTo>
                  <a:lnTo>
                    <a:pt x="1168" y="410"/>
                  </a:lnTo>
                  <a:lnTo>
                    <a:pt x="1168" y="406"/>
                  </a:lnTo>
                  <a:lnTo>
                    <a:pt x="1168" y="402"/>
                  </a:lnTo>
                  <a:lnTo>
                    <a:pt x="1166" y="399"/>
                  </a:lnTo>
                  <a:lnTo>
                    <a:pt x="1163" y="395"/>
                  </a:lnTo>
                  <a:lnTo>
                    <a:pt x="1159" y="391"/>
                  </a:lnTo>
                  <a:lnTo>
                    <a:pt x="1154" y="388"/>
                  </a:lnTo>
                  <a:lnTo>
                    <a:pt x="1150" y="385"/>
                  </a:lnTo>
                  <a:lnTo>
                    <a:pt x="1146" y="382"/>
                  </a:lnTo>
                  <a:lnTo>
                    <a:pt x="1146" y="380"/>
                  </a:lnTo>
                  <a:lnTo>
                    <a:pt x="1146" y="377"/>
                  </a:lnTo>
                  <a:lnTo>
                    <a:pt x="1147" y="375"/>
                  </a:lnTo>
                  <a:lnTo>
                    <a:pt x="1149" y="373"/>
                  </a:lnTo>
                  <a:lnTo>
                    <a:pt x="1152" y="367"/>
                  </a:lnTo>
                  <a:lnTo>
                    <a:pt x="1154" y="363"/>
                  </a:lnTo>
                  <a:lnTo>
                    <a:pt x="1155" y="359"/>
                  </a:lnTo>
                  <a:lnTo>
                    <a:pt x="1155" y="355"/>
                  </a:lnTo>
                  <a:lnTo>
                    <a:pt x="1154" y="351"/>
                  </a:lnTo>
                  <a:lnTo>
                    <a:pt x="1153" y="349"/>
                  </a:lnTo>
                  <a:lnTo>
                    <a:pt x="1153" y="347"/>
                  </a:lnTo>
                  <a:lnTo>
                    <a:pt x="1155" y="345"/>
                  </a:lnTo>
                  <a:lnTo>
                    <a:pt x="1157" y="342"/>
                  </a:lnTo>
                  <a:lnTo>
                    <a:pt x="1161" y="340"/>
                  </a:lnTo>
                  <a:lnTo>
                    <a:pt x="1167" y="335"/>
                  </a:lnTo>
                  <a:lnTo>
                    <a:pt x="1174" y="329"/>
                  </a:lnTo>
                  <a:lnTo>
                    <a:pt x="1177" y="327"/>
                  </a:lnTo>
                  <a:lnTo>
                    <a:pt x="1179" y="327"/>
                  </a:lnTo>
                  <a:lnTo>
                    <a:pt x="1180" y="329"/>
                  </a:lnTo>
                  <a:lnTo>
                    <a:pt x="1180" y="335"/>
                  </a:lnTo>
                  <a:lnTo>
                    <a:pt x="1180" y="342"/>
                  </a:lnTo>
                  <a:lnTo>
                    <a:pt x="1181" y="347"/>
                  </a:lnTo>
                  <a:lnTo>
                    <a:pt x="1183" y="352"/>
                  </a:lnTo>
                  <a:lnTo>
                    <a:pt x="1186" y="355"/>
                  </a:lnTo>
                  <a:lnTo>
                    <a:pt x="1193" y="358"/>
                  </a:lnTo>
                  <a:lnTo>
                    <a:pt x="1195" y="361"/>
                  </a:lnTo>
                  <a:lnTo>
                    <a:pt x="1186" y="369"/>
                  </a:lnTo>
                  <a:lnTo>
                    <a:pt x="1180" y="379"/>
                  </a:lnTo>
                  <a:lnTo>
                    <a:pt x="1179" y="385"/>
                  </a:lnTo>
                  <a:lnTo>
                    <a:pt x="1178" y="397"/>
                  </a:lnTo>
                  <a:lnTo>
                    <a:pt x="1178" y="402"/>
                  </a:lnTo>
                  <a:lnTo>
                    <a:pt x="1179" y="407"/>
                  </a:lnTo>
                  <a:lnTo>
                    <a:pt x="1181" y="412"/>
                  </a:lnTo>
                  <a:lnTo>
                    <a:pt x="1185" y="416"/>
                  </a:lnTo>
                  <a:lnTo>
                    <a:pt x="1202" y="418"/>
                  </a:lnTo>
                  <a:lnTo>
                    <a:pt x="1212" y="420"/>
                  </a:lnTo>
                  <a:lnTo>
                    <a:pt x="1226" y="417"/>
                  </a:lnTo>
                  <a:lnTo>
                    <a:pt x="1242" y="413"/>
                  </a:lnTo>
                  <a:lnTo>
                    <a:pt x="1247" y="418"/>
                  </a:lnTo>
                  <a:lnTo>
                    <a:pt x="1252" y="420"/>
                  </a:lnTo>
                  <a:lnTo>
                    <a:pt x="1262" y="422"/>
                  </a:lnTo>
                  <a:lnTo>
                    <a:pt x="1278" y="422"/>
                  </a:lnTo>
                  <a:lnTo>
                    <a:pt x="1289" y="422"/>
                  </a:lnTo>
                  <a:lnTo>
                    <a:pt x="1296" y="421"/>
                  </a:lnTo>
                  <a:lnTo>
                    <a:pt x="1301" y="419"/>
                  </a:lnTo>
                  <a:lnTo>
                    <a:pt x="1306" y="416"/>
                  </a:lnTo>
                  <a:lnTo>
                    <a:pt x="1309" y="413"/>
                  </a:lnTo>
                  <a:lnTo>
                    <a:pt x="1311" y="412"/>
                  </a:lnTo>
                  <a:lnTo>
                    <a:pt x="1313" y="412"/>
                  </a:lnTo>
                  <a:lnTo>
                    <a:pt x="1316" y="413"/>
                  </a:lnTo>
                  <a:lnTo>
                    <a:pt x="1332" y="410"/>
                  </a:lnTo>
                  <a:lnTo>
                    <a:pt x="1347" y="407"/>
                  </a:lnTo>
                  <a:lnTo>
                    <a:pt x="1350" y="409"/>
                  </a:lnTo>
                  <a:lnTo>
                    <a:pt x="1354" y="411"/>
                  </a:lnTo>
                  <a:lnTo>
                    <a:pt x="1359" y="411"/>
                  </a:lnTo>
                  <a:lnTo>
                    <a:pt x="1365" y="412"/>
                  </a:lnTo>
                  <a:lnTo>
                    <a:pt x="1378" y="412"/>
                  </a:lnTo>
                  <a:lnTo>
                    <a:pt x="1388" y="412"/>
                  </a:lnTo>
                  <a:lnTo>
                    <a:pt x="1393" y="411"/>
                  </a:lnTo>
                  <a:lnTo>
                    <a:pt x="1398" y="410"/>
                  </a:lnTo>
                  <a:lnTo>
                    <a:pt x="1403" y="407"/>
                  </a:lnTo>
                  <a:lnTo>
                    <a:pt x="1408" y="404"/>
                  </a:lnTo>
                  <a:lnTo>
                    <a:pt x="1413" y="401"/>
                  </a:lnTo>
                  <a:lnTo>
                    <a:pt x="1416" y="398"/>
                  </a:lnTo>
                  <a:lnTo>
                    <a:pt x="1416" y="396"/>
                  </a:lnTo>
                  <a:lnTo>
                    <a:pt x="1417" y="395"/>
                  </a:lnTo>
                  <a:lnTo>
                    <a:pt x="1416" y="394"/>
                  </a:lnTo>
                  <a:lnTo>
                    <a:pt x="1416" y="393"/>
                  </a:lnTo>
                  <a:lnTo>
                    <a:pt x="1408" y="389"/>
                  </a:lnTo>
                  <a:lnTo>
                    <a:pt x="1401" y="386"/>
                  </a:lnTo>
                  <a:lnTo>
                    <a:pt x="1399" y="385"/>
                  </a:lnTo>
                  <a:lnTo>
                    <a:pt x="1397" y="383"/>
                  </a:lnTo>
                  <a:lnTo>
                    <a:pt x="1398" y="381"/>
                  </a:lnTo>
                  <a:lnTo>
                    <a:pt x="1401" y="378"/>
                  </a:lnTo>
                  <a:lnTo>
                    <a:pt x="1408" y="374"/>
                  </a:lnTo>
                  <a:lnTo>
                    <a:pt x="1415" y="369"/>
                  </a:lnTo>
                  <a:lnTo>
                    <a:pt x="1416" y="367"/>
                  </a:lnTo>
                  <a:lnTo>
                    <a:pt x="1417" y="365"/>
                  </a:lnTo>
                  <a:lnTo>
                    <a:pt x="1416" y="364"/>
                  </a:lnTo>
                  <a:lnTo>
                    <a:pt x="1413" y="361"/>
                  </a:lnTo>
                  <a:lnTo>
                    <a:pt x="1404" y="355"/>
                  </a:lnTo>
                  <a:lnTo>
                    <a:pt x="1393" y="346"/>
                  </a:lnTo>
                  <a:lnTo>
                    <a:pt x="1387" y="343"/>
                  </a:lnTo>
                  <a:lnTo>
                    <a:pt x="1382" y="340"/>
                  </a:lnTo>
                  <a:lnTo>
                    <a:pt x="1377" y="338"/>
                  </a:lnTo>
                  <a:lnTo>
                    <a:pt x="1374" y="338"/>
                  </a:lnTo>
                  <a:lnTo>
                    <a:pt x="1366" y="341"/>
                  </a:lnTo>
                  <a:lnTo>
                    <a:pt x="1357" y="346"/>
                  </a:lnTo>
                  <a:lnTo>
                    <a:pt x="1353" y="349"/>
                  </a:lnTo>
                  <a:lnTo>
                    <a:pt x="1349" y="350"/>
                  </a:lnTo>
                  <a:lnTo>
                    <a:pt x="1346" y="350"/>
                  </a:lnTo>
                  <a:lnTo>
                    <a:pt x="1342" y="347"/>
                  </a:lnTo>
                  <a:lnTo>
                    <a:pt x="1340" y="343"/>
                  </a:lnTo>
                  <a:lnTo>
                    <a:pt x="1338" y="340"/>
                  </a:lnTo>
                  <a:lnTo>
                    <a:pt x="1337" y="339"/>
                  </a:lnTo>
                  <a:lnTo>
                    <a:pt x="1335" y="339"/>
                  </a:lnTo>
                  <a:lnTo>
                    <a:pt x="1334" y="340"/>
                  </a:lnTo>
                  <a:lnTo>
                    <a:pt x="1331" y="341"/>
                  </a:lnTo>
                  <a:lnTo>
                    <a:pt x="1328" y="345"/>
                  </a:lnTo>
                  <a:lnTo>
                    <a:pt x="1326" y="351"/>
                  </a:lnTo>
                  <a:lnTo>
                    <a:pt x="1325" y="354"/>
                  </a:lnTo>
                  <a:lnTo>
                    <a:pt x="1321" y="357"/>
                  </a:lnTo>
                  <a:lnTo>
                    <a:pt x="1317" y="359"/>
                  </a:lnTo>
                  <a:lnTo>
                    <a:pt x="1312" y="361"/>
                  </a:lnTo>
                  <a:lnTo>
                    <a:pt x="1298" y="364"/>
                  </a:lnTo>
                  <a:lnTo>
                    <a:pt x="1287" y="366"/>
                  </a:lnTo>
                  <a:lnTo>
                    <a:pt x="1279" y="367"/>
                  </a:lnTo>
                  <a:lnTo>
                    <a:pt x="1276" y="367"/>
                  </a:lnTo>
                  <a:lnTo>
                    <a:pt x="1275" y="365"/>
                  </a:lnTo>
                  <a:lnTo>
                    <a:pt x="1274" y="361"/>
                  </a:lnTo>
                  <a:lnTo>
                    <a:pt x="1272" y="360"/>
                  </a:lnTo>
                  <a:lnTo>
                    <a:pt x="1270" y="359"/>
                  </a:lnTo>
                  <a:lnTo>
                    <a:pt x="1268" y="359"/>
                  </a:lnTo>
                  <a:lnTo>
                    <a:pt x="1264" y="361"/>
                  </a:lnTo>
                  <a:lnTo>
                    <a:pt x="1252" y="369"/>
                  </a:lnTo>
                  <a:lnTo>
                    <a:pt x="1248" y="372"/>
                  </a:lnTo>
                  <a:lnTo>
                    <a:pt x="1244" y="368"/>
                  </a:lnTo>
                  <a:lnTo>
                    <a:pt x="1228" y="358"/>
                  </a:lnTo>
                  <a:lnTo>
                    <a:pt x="1223" y="355"/>
                  </a:lnTo>
                  <a:lnTo>
                    <a:pt x="1220" y="352"/>
                  </a:lnTo>
                  <a:lnTo>
                    <a:pt x="1218" y="349"/>
                  </a:lnTo>
                  <a:lnTo>
                    <a:pt x="1217" y="346"/>
                  </a:lnTo>
                  <a:lnTo>
                    <a:pt x="1216" y="344"/>
                  </a:lnTo>
                  <a:lnTo>
                    <a:pt x="1217" y="343"/>
                  </a:lnTo>
                  <a:lnTo>
                    <a:pt x="1218" y="341"/>
                  </a:lnTo>
                  <a:lnTo>
                    <a:pt x="1220" y="341"/>
                  </a:lnTo>
                  <a:lnTo>
                    <a:pt x="1218" y="340"/>
                  </a:lnTo>
                  <a:lnTo>
                    <a:pt x="1210" y="339"/>
                  </a:lnTo>
                  <a:lnTo>
                    <a:pt x="1206" y="338"/>
                  </a:lnTo>
                  <a:lnTo>
                    <a:pt x="1203" y="337"/>
                  </a:lnTo>
                  <a:lnTo>
                    <a:pt x="1202" y="336"/>
                  </a:lnTo>
                  <a:lnTo>
                    <a:pt x="1202" y="336"/>
                  </a:lnTo>
                  <a:lnTo>
                    <a:pt x="1203" y="335"/>
                  </a:lnTo>
                  <a:lnTo>
                    <a:pt x="1204" y="334"/>
                  </a:lnTo>
                  <a:lnTo>
                    <a:pt x="1218" y="325"/>
                  </a:lnTo>
                  <a:lnTo>
                    <a:pt x="1227" y="320"/>
                  </a:lnTo>
                  <a:lnTo>
                    <a:pt x="1228" y="317"/>
                  </a:lnTo>
                  <a:lnTo>
                    <a:pt x="1232" y="311"/>
                  </a:lnTo>
                  <a:lnTo>
                    <a:pt x="1234" y="309"/>
                  </a:lnTo>
                  <a:lnTo>
                    <a:pt x="1238" y="307"/>
                  </a:lnTo>
                  <a:lnTo>
                    <a:pt x="1239" y="307"/>
                  </a:lnTo>
                  <a:lnTo>
                    <a:pt x="1241" y="308"/>
                  </a:lnTo>
                  <a:lnTo>
                    <a:pt x="1242" y="309"/>
                  </a:lnTo>
                  <a:lnTo>
                    <a:pt x="1244" y="310"/>
                  </a:lnTo>
                  <a:lnTo>
                    <a:pt x="1246" y="314"/>
                  </a:lnTo>
                  <a:lnTo>
                    <a:pt x="1249" y="317"/>
                  </a:lnTo>
                  <a:lnTo>
                    <a:pt x="1252" y="319"/>
                  </a:lnTo>
                  <a:lnTo>
                    <a:pt x="1255" y="320"/>
                  </a:lnTo>
                  <a:lnTo>
                    <a:pt x="1263" y="321"/>
                  </a:lnTo>
                  <a:lnTo>
                    <a:pt x="1272" y="320"/>
                  </a:lnTo>
                  <a:lnTo>
                    <a:pt x="1277" y="319"/>
                  </a:lnTo>
                  <a:lnTo>
                    <a:pt x="1282" y="316"/>
                  </a:lnTo>
                  <a:lnTo>
                    <a:pt x="1285" y="313"/>
                  </a:lnTo>
                  <a:lnTo>
                    <a:pt x="1289" y="309"/>
                  </a:lnTo>
                  <a:lnTo>
                    <a:pt x="1292" y="307"/>
                  </a:lnTo>
                  <a:lnTo>
                    <a:pt x="1294" y="305"/>
                  </a:lnTo>
                  <a:lnTo>
                    <a:pt x="1296" y="305"/>
                  </a:lnTo>
                  <a:lnTo>
                    <a:pt x="1297" y="306"/>
                  </a:lnTo>
                  <a:lnTo>
                    <a:pt x="1298" y="307"/>
                  </a:lnTo>
                  <a:lnTo>
                    <a:pt x="1299" y="308"/>
                  </a:lnTo>
                  <a:lnTo>
                    <a:pt x="1304" y="312"/>
                  </a:lnTo>
                  <a:lnTo>
                    <a:pt x="1308" y="314"/>
                  </a:lnTo>
                  <a:lnTo>
                    <a:pt x="1312" y="315"/>
                  </a:lnTo>
                  <a:lnTo>
                    <a:pt x="1317" y="316"/>
                  </a:lnTo>
                  <a:lnTo>
                    <a:pt x="1321" y="316"/>
                  </a:lnTo>
                  <a:lnTo>
                    <a:pt x="1326" y="315"/>
                  </a:lnTo>
                  <a:lnTo>
                    <a:pt x="1329" y="313"/>
                  </a:lnTo>
                  <a:lnTo>
                    <a:pt x="1330" y="312"/>
                  </a:lnTo>
                  <a:lnTo>
                    <a:pt x="1332" y="308"/>
                  </a:lnTo>
                  <a:lnTo>
                    <a:pt x="1334" y="303"/>
                  </a:lnTo>
                  <a:lnTo>
                    <a:pt x="1335" y="302"/>
                  </a:lnTo>
                  <a:lnTo>
                    <a:pt x="1336" y="301"/>
                  </a:lnTo>
                  <a:lnTo>
                    <a:pt x="1338" y="301"/>
                  </a:lnTo>
                  <a:lnTo>
                    <a:pt x="1340" y="302"/>
                  </a:lnTo>
                  <a:lnTo>
                    <a:pt x="1344" y="306"/>
                  </a:lnTo>
                  <a:lnTo>
                    <a:pt x="1348" y="309"/>
                  </a:lnTo>
                  <a:lnTo>
                    <a:pt x="1352" y="310"/>
                  </a:lnTo>
                  <a:lnTo>
                    <a:pt x="1355" y="310"/>
                  </a:lnTo>
                  <a:lnTo>
                    <a:pt x="1358" y="309"/>
                  </a:lnTo>
                  <a:lnTo>
                    <a:pt x="1364" y="307"/>
                  </a:lnTo>
                  <a:lnTo>
                    <a:pt x="1370" y="305"/>
                  </a:lnTo>
                  <a:lnTo>
                    <a:pt x="1376" y="303"/>
                  </a:lnTo>
                  <a:lnTo>
                    <a:pt x="1384" y="305"/>
                  </a:lnTo>
                  <a:lnTo>
                    <a:pt x="1394" y="308"/>
                  </a:lnTo>
                  <a:lnTo>
                    <a:pt x="1404" y="312"/>
                  </a:lnTo>
                  <a:lnTo>
                    <a:pt x="1414" y="316"/>
                  </a:lnTo>
                  <a:lnTo>
                    <a:pt x="1418" y="317"/>
                  </a:lnTo>
                  <a:lnTo>
                    <a:pt x="1422" y="316"/>
                  </a:lnTo>
                  <a:lnTo>
                    <a:pt x="1425" y="315"/>
                  </a:lnTo>
                  <a:lnTo>
                    <a:pt x="1428" y="312"/>
                  </a:lnTo>
                  <a:lnTo>
                    <a:pt x="1439" y="301"/>
                  </a:lnTo>
                  <a:lnTo>
                    <a:pt x="1445" y="295"/>
                  </a:lnTo>
                  <a:lnTo>
                    <a:pt x="1449" y="291"/>
                  </a:lnTo>
                  <a:lnTo>
                    <a:pt x="1454" y="287"/>
                  </a:lnTo>
                  <a:lnTo>
                    <a:pt x="1457" y="286"/>
                  </a:lnTo>
                  <a:lnTo>
                    <a:pt x="1458" y="284"/>
                  </a:lnTo>
                  <a:lnTo>
                    <a:pt x="1457" y="281"/>
                  </a:lnTo>
                  <a:lnTo>
                    <a:pt x="1454" y="280"/>
                  </a:lnTo>
                  <a:lnTo>
                    <a:pt x="1446" y="277"/>
                  </a:lnTo>
                  <a:lnTo>
                    <a:pt x="1436" y="275"/>
                  </a:lnTo>
                  <a:lnTo>
                    <a:pt x="1426" y="274"/>
                  </a:lnTo>
                  <a:lnTo>
                    <a:pt x="1417" y="272"/>
                  </a:lnTo>
                  <a:lnTo>
                    <a:pt x="1409" y="269"/>
                  </a:lnTo>
                  <a:lnTo>
                    <a:pt x="1402" y="268"/>
                  </a:lnTo>
                  <a:lnTo>
                    <a:pt x="1396" y="267"/>
                  </a:lnTo>
                  <a:lnTo>
                    <a:pt x="1391" y="268"/>
                  </a:lnTo>
                  <a:lnTo>
                    <a:pt x="1385" y="270"/>
                  </a:lnTo>
                  <a:lnTo>
                    <a:pt x="1378" y="271"/>
                  </a:lnTo>
                  <a:lnTo>
                    <a:pt x="1375" y="271"/>
                  </a:lnTo>
                  <a:lnTo>
                    <a:pt x="1374" y="270"/>
                  </a:lnTo>
                  <a:lnTo>
                    <a:pt x="1374" y="269"/>
                  </a:lnTo>
                  <a:lnTo>
                    <a:pt x="1376" y="267"/>
                  </a:lnTo>
                  <a:lnTo>
                    <a:pt x="1382" y="262"/>
                  </a:lnTo>
                  <a:lnTo>
                    <a:pt x="1388" y="256"/>
                  </a:lnTo>
                  <a:lnTo>
                    <a:pt x="1391" y="253"/>
                  </a:lnTo>
                  <a:lnTo>
                    <a:pt x="1394" y="252"/>
                  </a:lnTo>
                  <a:lnTo>
                    <a:pt x="1396" y="251"/>
                  </a:lnTo>
                  <a:lnTo>
                    <a:pt x="1397" y="252"/>
                  </a:lnTo>
                  <a:lnTo>
                    <a:pt x="1400" y="254"/>
                  </a:lnTo>
                  <a:lnTo>
                    <a:pt x="1402" y="256"/>
                  </a:lnTo>
                  <a:lnTo>
                    <a:pt x="1406" y="257"/>
                  </a:lnTo>
                  <a:lnTo>
                    <a:pt x="1412" y="258"/>
                  </a:lnTo>
                  <a:lnTo>
                    <a:pt x="1417" y="259"/>
                  </a:lnTo>
                  <a:lnTo>
                    <a:pt x="1420" y="259"/>
                  </a:lnTo>
                  <a:lnTo>
                    <a:pt x="1425" y="258"/>
                  </a:lnTo>
                  <a:lnTo>
                    <a:pt x="1437" y="255"/>
                  </a:lnTo>
                  <a:lnTo>
                    <a:pt x="1443" y="253"/>
                  </a:lnTo>
                  <a:lnTo>
                    <a:pt x="1448" y="251"/>
                  </a:lnTo>
                  <a:lnTo>
                    <a:pt x="1452" y="248"/>
                  </a:lnTo>
                  <a:lnTo>
                    <a:pt x="1454" y="245"/>
                  </a:lnTo>
                  <a:lnTo>
                    <a:pt x="1456" y="243"/>
                  </a:lnTo>
                  <a:lnTo>
                    <a:pt x="1456" y="240"/>
                  </a:lnTo>
                  <a:lnTo>
                    <a:pt x="1454" y="237"/>
                  </a:lnTo>
                  <a:lnTo>
                    <a:pt x="1453" y="235"/>
                  </a:lnTo>
                  <a:lnTo>
                    <a:pt x="1448" y="233"/>
                  </a:lnTo>
                  <a:lnTo>
                    <a:pt x="1443" y="230"/>
                  </a:lnTo>
                  <a:lnTo>
                    <a:pt x="1441" y="230"/>
                  </a:lnTo>
                  <a:lnTo>
                    <a:pt x="1440" y="229"/>
                  </a:lnTo>
                  <a:lnTo>
                    <a:pt x="1441" y="228"/>
                  </a:lnTo>
                  <a:lnTo>
                    <a:pt x="1443" y="228"/>
                  </a:lnTo>
                  <a:lnTo>
                    <a:pt x="1451" y="227"/>
                  </a:lnTo>
                  <a:lnTo>
                    <a:pt x="1461" y="227"/>
                  </a:lnTo>
                  <a:lnTo>
                    <a:pt x="1470" y="226"/>
                  </a:lnTo>
                  <a:lnTo>
                    <a:pt x="1479" y="225"/>
                  </a:lnTo>
                  <a:lnTo>
                    <a:pt x="1480" y="224"/>
                  </a:lnTo>
                  <a:lnTo>
                    <a:pt x="1481" y="224"/>
                  </a:lnTo>
                  <a:lnTo>
                    <a:pt x="1481" y="223"/>
                  </a:lnTo>
                  <a:lnTo>
                    <a:pt x="1480" y="222"/>
                  </a:lnTo>
                  <a:lnTo>
                    <a:pt x="1478" y="220"/>
                  </a:lnTo>
                  <a:lnTo>
                    <a:pt x="1475" y="218"/>
                  </a:lnTo>
                  <a:lnTo>
                    <a:pt x="1472" y="217"/>
                  </a:lnTo>
                  <a:lnTo>
                    <a:pt x="1471" y="214"/>
                  </a:lnTo>
                  <a:lnTo>
                    <a:pt x="1471" y="213"/>
                  </a:lnTo>
                  <a:lnTo>
                    <a:pt x="1474" y="212"/>
                  </a:lnTo>
                  <a:lnTo>
                    <a:pt x="1484" y="211"/>
                  </a:lnTo>
                  <a:lnTo>
                    <a:pt x="1492" y="212"/>
                  </a:lnTo>
                  <a:lnTo>
                    <a:pt x="1496" y="212"/>
                  </a:lnTo>
                  <a:lnTo>
                    <a:pt x="1500" y="211"/>
                  </a:lnTo>
                  <a:lnTo>
                    <a:pt x="1502" y="209"/>
                  </a:lnTo>
                  <a:lnTo>
                    <a:pt x="1503" y="206"/>
                  </a:lnTo>
                  <a:lnTo>
                    <a:pt x="1501" y="202"/>
                  </a:lnTo>
                  <a:lnTo>
                    <a:pt x="1498" y="200"/>
                  </a:lnTo>
                  <a:lnTo>
                    <a:pt x="1494" y="198"/>
                  </a:lnTo>
                  <a:lnTo>
                    <a:pt x="1490" y="197"/>
                  </a:lnTo>
                  <a:lnTo>
                    <a:pt x="1487" y="197"/>
                  </a:lnTo>
                  <a:lnTo>
                    <a:pt x="1485" y="196"/>
                  </a:lnTo>
                  <a:lnTo>
                    <a:pt x="1485" y="196"/>
                  </a:lnTo>
                  <a:lnTo>
                    <a:pt x="1488" y="194"/>
                  </a:lnTo>
                  <a:lnTo>
                    <a:pt x="1495" y="192"/>
                  </a:lnTo>
                  <a:lnTo>
                    <a:pt x="1503" y="191"/>
                  </a:lnTo>
                  <a:lnTo>
                    <a:pt x="1509" y="189"/>
                  </a:lnTo>
                  <a:lnTo>
                    <a:pt x="1511" y="187"/>
                  </a:lnTo>
                  <a:lnTo>
                    <a:pt x="1512" y="184"/>
                  </a:lnTo>
                  <a:lnTo>
                    <a:pt x="1513" y="182"/>
                  </a:lnTo>
                  <a:lnTo>
                    <a:pt x="1513" y="181"/>
                  </a:lnTo>
                  <a:lnTo>
                    <a:pt x="1512" y="179"/>
                  </a:lnTo>
                  <a:lnTo>
                    <a:pt x="1510" y="178"/>
                  </a:lnTo>
                  <a:lnTo>
                    <a:pt x="1506" y="177"/>
                  </a:lnTo>
                  <a:lnTo>
                    <a:pt x="1497" y="174"/>
                  </a:lnTo>
                  <a:lnTo>
                    <a:pt x="1489" y="170"/>
                  </a:lnTo>
                  <a:lnTo>
                    <a:pt x="1485" y="169"/>
                  </a:lnTo>
                  <a:lnTo>
                    <a:pt x="1482" y="169"/>
                  </a:lnTo>
                  <a:lnTo>
                    <a:pt x="1479" y="169"/>
                  </a:lnTo>
                  <a:lnTo>
                    <a:pt x="1475" y="170"/>
                  </a:lnTo>
                  <a:lnTo>
                    <a:pt x="1473" y="174"/>
                  </a:lnTo>
                  <a:lnTo>
                    <a:pt x="1473" y="177"/>
                  </a:lnTo>
                  <a:lnTo>
                    <a:pt x="1473" y="178"/>
                  </a:lnTo>
                  <a:lnTo>
                    <a:pt x="1471" y="178"/>
                  </a:lnTo>
                  <a:lnTo>
                    <a:pt x="1467" y="178"/>
                  </a:lnTo>
                  <a:lnTo>
                    <a:pt x="1461" y="176"/>
                  </a:lnTo>
                  <a:lnTo>
                    <a:pt x="1456" y="175"/>
                  </a:lnTo>
                  <a:lnTo>
                    <a:pt x="1454" y="172"/>
                  </a:lnTo>
                  <a:lnTo>
                    <a:pt x="1457" y="170"/>
                  </a:lnTo>
                  <a:lnTo>
                    <a:pt x="1460" y="169"/>
                  </a:lnTo>
                  <a:lnTo>
                    <a:pt x="1464" y="168"/>
                  </a:lnTo>
                  <a:lnTo>
                    <a:pt x="1468" y="167"/>
                  </a:lnTo>
                  <a:lnTo>
                    <a:pt x="1471" y="165"/>
                  </a:lnTo>
                  <a:lnTo>
                    <a:pt x="1472" y="164"/>
                  </a:lnTo>
                  <a:lnTo>
                    <a:pt x="1470" y="161"/>
                  </a:lnTo>
                  <a:lnTo>
                    <a:pt x="1469" y="159"/>
                  </a:lnTo>
                  <a:lnTo>
                    <a:pt x="1469" y="157"/>
                  </a:lnTo>
                  <a:lnTo>
                    <a:pt x="1471" y="155"/>
                  </a:lnTo>
                  <a:lnTo>
                    <a:pt x="1473" y="152"/>
                  </a:lnTo>
                  <a:lnTo>
                    <a:pt x="1474" y="148"/>
                  </a:lnTo>
                  <a:lnTo>
                    <a:pt x="1475" y="147"/>
                  </a:lnTo>
                  <a:lnTo>
                    <a:pt x="1478" y="146"/>
                  </a:lnTo>
                  <a:lnTo>
                    <a:pt x="1480" y="146"/>
                  </a:lnTo>
                  <a:lnTo>
                    <a:pt x="1484" y="147"/>
                  </a:lnTo>
                  <a:lnTo>
                    <a:pt x="1492" y="152"/>
                  </a:lnTo>
                  <a:lnTo>
                    <a:pt x="1498" y="155"/>
                  </a:lnTo>
                  <a:lnTo>
                    <a:pt x="1502" y="156"/>
                  </a:lnTo>
                  <a:lnTo>
                    <a:pt x="1506" y="155"/>
                  </a:lnTo>
                  <a:lnTo>
                    <a:pt x="1510" y="154"/>
                  </a:lnTo>
                  <a:lnTo>
                    <a:pt x="1514" y="152"/>
                  </a:lnTo>
                  <a:lnTo>
                    <a:pt x="1525" y="146"/>
                  </a:lnTo>
                  <a:lnTo>
                    <a:pt x="1531" y="143"/>
                  </a:lnTo>
                  <a:lnTo>
                    <a:pt x="1533" y="141"/>
                  </a:lnTo>
                  <a:lnTo>
                    <a:pt x="1535" y="140"/>
                  </a:lnTo>
                  <a:lnTo>
                    <a:pt x="1535" y="139"/>
                  </a:lnTo>
                  <a:lnTo>
                    <a:pt x="1535" y="137"/>
                  </a:lnTo>
                  <a:lnTo>
                    <a:pt x="1531" y="134"/>
                  </a:lnTo>
                  <a:lnTo>
                    <a:pt x="1526" y="131"/>
                  </a:lnTo>
                  <a:lnTo>
                    <a:pt x="1524" y="128"/>
                  </a:lnTo>
                  <a:lnTo>
                    <a:pt x="1523" y="127"/>
                  </a:lnTo>
                  <a:lnTo>
                    <a:pt x="1523" y="126"/>
                  </a:lnTo>
                  <a:lnTo>
                    <a:pt x="1525" y="126"/>
                  </a:lnTo>
                  <a:lnTo>
                    <a:pt x="1534" y="128"/>
                  </a:lnTo>
                  <a:lnTo>
                    <a:pt x="1548" y="133"/>
                  </a:lnTo>
                  <a:lnTo>
                    <a:pt x="1554" y="135"/>
                  </a:lnTo>
                  <a:lnTo>
                    <a:pt x="1559" y="136"/>
                  </a:lnTo>
                  <a:lnTo>
                    <a:pt x="1563" y="136"/>
                  </a:lnTo>
                  <a:lnTo>
                    <a:pt x="1566" y="135"/>
                  </a:lnTo>
                  <a:lnTo>
                    <a:pt x="1564" y="132"/>
                  </a:lnTo>
                  <a:lnTo>
                    <a:pt x="1562" y="130"/>
                  </a:lnTo>
                  <a:lnTo>
                    <a:pt x="1560" y="127"/>
                  </a:lnTo>
                  <a:lnTo>
                    <a:pt x="1557" y="125"/>
                  </a:lnTo>
                  <a:lnTo>
                    <a:pt x="1554" y="123"/>
                  </a:lnTo>
                  <a:lnTo>
                    <a:pt x="1553" y="121"/>
                  </a:lnTo>
                  <a:lnTo>
                    <a:pt x="1553" y="119"/>
                  </a:lnTo>
                  <a:lnTo>
                    <a:pt x="1555" y="117"/>
                  </a:lnTo>
                  <a:lnTo>
                    <a:pt x="1561" y="113"/>
                  </a:lnTo>
                  <a:lnTo>
                    <a:pt x="1568" y="111"/>
                  </a:lnTo>
                  <a:lnTo>
                    <a:pt x="1575" y="109"/>
                  </a:lnTo>
                  <a:lnTo>
                    <a:pt x="1583" y="106"/>
                  </a:lnTo>
                  <a:lnTo>
                    <a:pt x="1591" y="104"/>
                  </a:lnTo>
                  <a:lnTo>
                    <a:pt x="1597" y="101"/>
                  </a:lnTo>
                  <a:lnTo>
                    <a:pt x="1601" y="99"/>
                  </a:lnTo>
                  <a:lnTo>
                    <a:pt x="1603" y="95"/>
                  </a:lnTo>
                  <a:lnTo>
                    <a:pt x="1604" y="93"/>
                  </a:lnTo>
                  <a:lnTo>
                    <a:pt x="1607" y="91"/>
                  </a:lnTo>
                  <a:lnTo>
                    <a:pt x="1611" y="89"/>
                  </a:lnTo>
                  <a:lnTo>
                    <a:pt x="1615" y="88"/>
                  </a:lnTo>
                  <a:lnTo>
                    <a:pt x="1624" y="83"/>
                  </a:lnTo>
                  <a:lnTo>
                    <a:pt x="1633" y="80"/>
                  </a:lnTo>
                  <a:lnTo>
                    <a:pt x="1647" y="74"/>
                  </a:lnTo>
                  <a:lnTo>
                    <a:pt x="1669" y="65"/>
                  </a:lnTo>
                  <a:lnTo>
                    <a:pt x="1680" y="60"/>
                  </a:lnTo>
                  <a:lnTo>
                    <a:pt x="1688" y="56"/>
                  </a:lnTo>
                  <a:lnTo>
                    <a:pt x="1690" y="55"/>
                  </a:lnTo>
                  <a:lnTo>
                    <a:pt x="1692" y="53"/>
                  </a:lnTo>
                  <a:lnTo>
                    <a:pt x="1692" y="52"/>
                  </a:lnTo>
                  <a:lnTo>
                    <a:pt x="1690" y="52"/>
                  </a:lnTo>
                  <a:lnTo>
                    <a:pt x="1683" y="52"/>
                  </a:lnTo>
                  <a:lnTo>
                    <a:pt x="1670" y="53"/>
                  </a:lnTo>
                  <a:lnTo>
                    <a:pt x="1656" y="56"/>
                  </a:lnTo>
                  <a:lnTo>
                    <a:pt x="1639" y="59"/>
                  </a:lnTo>
                  <a:lnTo>
                    <a:pt x="1623" y="62"/>
                  </a:lnTo>
                  <a:lnTo>
                    <a:pt x="1611" y="65"/>
                  </a:lnTo>
                  <a:lnTo>
                    <a:pt x="1601" y="67"/>
                  </a:lnTo>
                  <a:lnTo>
                    <a:pt x="1598" y="66"/>
                  </a:lnTo>
                  <a:lnTo>
                    <a:pt x="1600" y="64"/>
                  </a:lnTo>
                  <a:lnTo>
                    <a:pt x="1604" y="61"/>
                  </a:lnTo>
                  <a:lnTo>
                    <a:pt x="1611" y="59"/>
                  </a:lnTo>
                  <a:lnTo>
                    <a:pt x="1618" y="57"/>
                  </a:lnTo>
                  <a:lnTo>
                    <a:pt x="1633" y="54"/>
                  </a:lnTo>
                  <a:lnTo>
                    <a:pt x="1639" y="53"/>
                  </a:lnTo>
                  <a:lnTo>
                    <a:pt x="1624" y="51"/>
                  </a:lnTo>
                  <a:lnTo>
                    <a:pt x="1611" y="49"/>
                  </a:lnTo>
                  <a:lnTo>
                    <a:pt x="1625" y="47"/>
                  </a:lnTo>
                  <a:lnTo>
                    <a:pt x="1641" y="46"/>
                  </a:lnTo>
                  <a:lnTo>
                    <a:pt x="1651" y="47"/>
                  </a:lnTo>
                  <a:lnTo>
                    <a:pt x="1667" y="47"/>
                  </a:lnTo>
                  <a:lnTo>
                    <a:pt x="1674" y="43"/>
                  </a:lnTo>
                  <a:lnTo>
                    <a:pt x="1679" y="40"/>
                  </a:lnTo>
                  <a:lnTo>
                    <a:pt x="1685" y="40"/>
                  </a:lnTo>
                  <a:lnTo>
                    <a:pt x="1696" y="38"/>
                  </a:lnTo>
                  <a:lnTo>
                    <a:pt x="1708" y="36"/>
                  </a:lnTo>
                  <a:lnTo>
                    <a:pt x="1714" y="34"/>
                  </a:lnTo>
                  <a:lnTo>
                    <a:pt x="1721" y="31"/>
                  </a:lnTo>
                  <a:lnTo>
                    <a:pt x="1730" y="28"/>
                  </a:lnTo>
                  <a:lnTo>
                    <a:pt x="1734" y="26"/>
                  </a:lnTo>
                  <a:lnTo>
                    <a:pt x="1737" y="24"/>
                  </a:lnTo>
                  <a:lnTo>
                    <a:pt x="1737" y="23"/>
                  </a:lnTo>
                  <a:lnTo>
                    <a:pt x="1737" y="22"/>
                  </a:lnTo>
                  <a:lnTo>
                    <a:pt x="1736" y="22"/>
                  </a:lnTo>
                  <a:lnTo>
                    <a:pt x="1735" y="21"/>
                  </a:lnTo>
                  <a:lnTo>
                    <a:pt x="1725" y="16"/>
                  </a:lnTo>
                  <a:lnTo>
                    <a:pt x="1719" y="14"/>
                  </a:lnTo>
                  <a:lnTo>
                    <a:pt x="1705" y="11"/>
                  </a:lnTo>
                  <a:lnTo>
                    <a:pt x="1696" y="8"/>
                  </a:lnTo>
                  <a:lnTo>
                    <a:pt x="1695" y="6"/>
                  </a:lnTo>
                  <a:lnTo>
                    <a:pt x="1692" y="4"/>
                  </a:lnTo>
                  <a:lnTo>
                    <a:pt x="1688" y="3"/>
                  </a:lnTo>
                  <a:lnTo>
                    <a:pt x="1683" y="2"/>
                  </a:lnTo>
                  <a:lnTo>
                    <a:pt x="1674" y="3"/>
                  </a:lnTo>
                  <a:lnTo>
                    <a:pt x="1663" y="4"/>
                  </a:lnTo>
                  <a:lnTo>
                    <a:pt x="1651" y="6"/>
                  </a:lnTo>
                  <a:lnTo>
                    <a:pt x="1642" y="8"/>
                  </a:lnTo>
                  <a:lnTo>
                    <a:pt x="1634" y="10"/>
                  </a:lnTo>
                  <a:lnTo>
                    <a:pt x="1626" y="11"/>
                  </a:lnTo>
                  <a:lnTo>
                    <a:pt x="1620" y="11"/>
                  </a:lnTo>
                  <a:lnTo>
                    <a:pt x="1617" y="10"/>
                  </a:lnTo>
                  <a:lnTo>
                    <a:pt x="1616" y="10"/>
                  </a:lnTo>
                  <a:lnTo>
                    <a:pt x="1616" y="9"/>
                  </a:lnTo>
                  <a:lnTo>
                    <a:pt x="1616" y="9"/>
                  </a:lnTo>
                  <a:lnTo>
                    <a:pt x="1617" y="9"/>
                  </a:lnTo>
                  <a:lnTo>
                    <a:pt x="1620" y="8"/>
                  </a:lnTo>
                  <a:lnTo>
                    <a:pt x="1627" y="6"/>
                  </a:lnTo>
                  <a:lnTo>
                    <a:pt x="1637" y="5"/>
                  </a:lnTo>
                  <a:lnTo>
                    <a:pt x="1649" y="3"/>
                  </a:lnTo>
                  <a:lnTo>
                    <a:pt x="1654" y="3"/>
                  </a:lnTo>
                  <a:lnTo>
                    <a:pt x="1656" y="2"/>
                  </a:lnTo>
                  <a:lnTo>
                    <a:pt x="1652" y="2"/>
                  </a:lnTo>
                  <a:lnTo>
                    <a:pt x="1645" y="2"/>
                  </a:lnTo>
                  <a:lnTo>
                    <a:pt x="1626" y="1"/>
                  </a:lnTo>
                  <a:lnTo>
                    <a:pt x="1612" y="1"/>
                  </a:lnTo>
                  <a:lnTo>
                    <a:pt x="1601" y="1"/>
                  </a:lnTo>
                  <a:lnTo>
                    <a:pt x="1594" y="1"/>
                  </a:lnTo>
                  <a:lnTo>
                    <a:pt x="1585" y="0"/>
                  </a:lnTo>
                  <a:lnTo>
                    <a:pt x="1579" y="2"/>
                  </a:lnTo>
                  <a:lnTo>
                    <a:pt x="1577" y="3"/>
                  </a:lnTo>
                  <a:lnTo>
                    <a:pt x="1575" y="4"/>
                  </a:lnTo>
                  <a:lnTo>
                    <a:pt x="1572" y="4"/>
                  </a:lnTo>
                  <a:lnTo>
                    <a:pt x="1569" y="4"/>
                  </a:lnTo>
                  <a:lnTo>
                    <a:pt x="1563" y="2"/>
                  </a:lnTo>
                  <a:lnTo>
                    <a:pt x="1555" y="1"/>
                  </a:lnTo>
                  <a:lnTo>
                    <a:pt x="1546" y="1"/>
                  </a:lnTo>
                  <a:lnTo>
                    <a:pt x="1541" y="2"/>
                  </a:lnTo>
                  <a:lnTo>
                    <a:pt x="1547" y="6"/>
                  </a:lnTo>
                  <a:lnTo>
                    <a:pt x="1552" y="8"/>
                  </a:lnTo>
                  <a:lnTo>
                    <a:pt x="1551" y="9"/>
                  </a:lnTo>
                  <a:lnTo>
                    <a:pt x="1549" y="11"/>
                  </a:lnTo>
                  <a:lnTo>
                    <a:pt x="1546" y="12"/>
                  </a:lnTo>
                  <a:lnTo>
                    <a:pt x="1540" y="11"/>
                  </a:lnTo>
                  <a:lnTo>
                    <a:pt x="1525" y="7"/>
                  </a:lnTo>
                  <a:lnTo>
                    <a:pt x="1517" y="4"/>
                  </a:lnTo>
                  <a:lnTo>
                    <a:pt x="1517" y="4"/>
                  </a:lnTo>
                  <a:lnTo>
                    <a:pt x="1516" y="3"/>
                  </a:lnTo>
                  <a:lnTo>
                    <a:pt x="1513" y="3"/>
                  </a:lnTo>
                  <a:lnTo>
                    <a:pt x="1506" y="4"/>
                  </a:lnTo>
                  <a:lnTo>
                    <a:pt x="1491" y="5"/>
                  </a:lnTo>
                  <a:lnTo>
                    <a:pt x="1482" y="6"/>
                  </a:lnTo>
                  <a:lnTo>
                    <a:pt x="1480" y="7"/>
                  </a:lnTo>
                  <a:lnTo>
                    <a:pt x="1480" y="8"/>
                  </a:lnTo>
                  <a:lnTo>
                    <a:pt x="1480" y="8"/>
                  </a:lnTo>
                  <a:lnTo>
                    <a:pt x="1481" y="9"/>
                  </a:lnTo>
                  <a:lnTo>
                    <a:pt x="1485" y="10"/>
                  </a:lnTo>
                  <a:lnTo>
                    <a:pt x="1489" y="10"/>
                  </a:lnTo>
                  <a:lnTo>
                    <a:pt x="1503" y="12"/>
                  </a:lnTo>
                  <a:lnTo>
                    <a:pt x="1513" y="15"/>
                  </a:lnTo>
                  <a:lnTo>
                    <a:pt x="1513" y="16"/>
                  </a:lnTo>
                  <a:lnTo>
                    <a:pt x="1513" y="18"/>
                  </a:lnTo>
                  <a:lnTo>
                    <a:pt x="1511" y="18"/>
                  </a:lnTo>
                  <a:lnTo>
                    <a:pt x="1505" y="18"/>
                  </a:lnTo>
                  <a:lnTo>
                    <a:pt x="1493" y="17"/>
                  </a:lnTo>
                  <a:lnTo>
                    <a:pt x="1486" y="15"/>
                  </a:lnTo>
                  <a:lnTo>
                    <a:pt x="1480" y="13"/>
                  </a:lnTo>
                  <a:lnTo>
                    <a:pt x="1475" y="11"/>
                  </a:lnTo>
                  <a:lnTo>
                    <a:pt x="1466" y="10"/>
                  </a:lnTo>
                  <a:lnTo>
                    <a:pt x="1460" y="9"/>
                  </a:lnTo>
                  <a:lnTo>
                    <a:pt x="1456" y="10"/>
                  </a:lnTo>
                  <a:lnTo>
                    <a:pt x="1447" y="11"/>
                  </a:lnTo>
                  <a:lnTo>
                    <a:pt x="1440" y="13"/>
                  </a:lnTo>
                  <a:lnTo>
                    <a:pt x="1440" y="14"/>
                  </a:lnTo>
                  <a:lnTo>
                    <a:pt x="1450" y="14"/>
                  </a:lnTo>
                  <a:lnTo>
                    <a:pt x="1451" y="15"/>
                  </a:lnTo>
                  <a:lnTo>
                    <a:pt x="1441" y="18"/>
                  </a:lnTo>
                  <a:lnTo>
                    <a:pt x="1434" y="20"/>
                  </a:lnTo>
                  <a:lnTo>
                    <a:pt x="1435" y="20"/>
                  </a:lnTo>
                  <a:lnTo>
                    <a:pt x="1435" y="21"/>
                  </a:lnTo>
                  <a:lnTo>
                    <a:pt x="1435" y="21"/>
                  </a:lnTo>
                  <a:lnTo>
                    <a:pt x="1430" y="23"/>
                  </a:lnTo>
                  <a:lnTo>
                    <a:pt x="1419" y="25"/>
                  </a:lnTo>
                  <a:lnTo>
                    <a:pt x="1412" y="26"/>
                  </a:lnTo>
                  <a:lnTo>
                    <a:pt x="1407" y="28"/>
                  </a:lnTo>
                  <a:lnTo>
                    <a:pt x="1401" y="31"/>
                  </a:lnTo>
                  <a:lnTo>
                    <a:pt x="1399" y="31"/>
                  </a:lnTo>
                  <a:lnTo>
                    <a:pt x="1399" y="32"/>
                  </a:lnTo>
                  <a:lnTo>
                    <a:pt x="1399" y="32"/>
                  </a:lnTo>
                  <a:lnTo>
                    <a:pt x="1400" y="33"/>
                  </a:lnTo>
                  <a:lnTo>
                    <a:pt x="1403" y="34"/>
                  </a:lnTo>
                  <a:lnTo>
                    <a:pt x="1406" y="34"/>
                  </a:lnTo>
                  <a:lnTo>
                    <a:pt x="1416" y="35"/>
                  </a:lnTo>
                  <a:lnTo>
                    <a:pt x="1422" y="38"/>
                  </a:lnTo>
                  <a:lnTo>
                    <a:pt x="1423" y="40"/>
                  </a:lnTo>
                  <a:lnTo>
                    <a:pt x="1421" y="43"/>
                  </a:lnTo>
                  <a:lnTo>
                    <a:pt x="1419" y="44"/>
                  </a:lnTo>
                  <a:lnTo>
                    <a:pt x="1418" y="44"/>
                  </a:lnTo>
                  <a:lnTo>
                    <a:pt x="1416" y="44"/>
                  </a:lnTo>
                  <a:lnTo>
                    <a:pt x="1413" y="43"/>
                  </a:lnTo>
                  <a:lnTo>
                    <a:pt x="1403" y="40"/>
                  </a:lnTo>
                  <a:lnTo>
                    <a:pt x="1395" y="38"/>
                  </a:lnTo>
                  <a:lnTo>
                    <a:pt x="1383" y="38"/>
                  </a:lnTo>
                  <a:lnTo>
                    <a:pt x="1374" y="36"/>
                  </a:lnTo>
                  <a:lnTo>
                    <a:pt x="1372" y="34"/>
                  </a:lnTo>
                  <a:lnTo>
                    <a:pt x="1369" y="33"/>
                  </a:lnTo>
                  <a:lnTo>
                    <a:pt x="1365" y="32"/>
                  </a:lnTo>
                  <a:lnTo>
                    <a:pt x="1363" y="31"/>
                  </a:lnTo>
                  <a:lnTo>
                    <a:pt x="1358" y="32"/>
                  </a:lnTo>
                  <a:lnTo>
                    <a:pt x="1353" y="34"/>
                  </a:lnTo>
                  <a:lnTo>
                    <a:pt x="1350" y="34"/>
                  </a:lnTo>
                  <a:lnTo>
                    <a:pt x="1349" y="35"/>
                  </a:lnTo>
                  <a:lnTo>
                    <a:pt x="1348" y="36"/>
                  </a:lnTo>
                  <a:lnTo>
                    <a:pt x="1349" y="37"/>
                  </a:lnTo>
                  <a:lnTo>
                    <a:pt x="1351" y="38"/>
                  </a:lnTo>
                  <a:lnTo>
                    <a:pt x="1352" y="38"/>
                  </a:lnTo>
                  <a:lnTo>
                    <a:pt x="1350" y="39"/>
                  </a:lnTo>
                  <a:lnTo>
                    <a:pt x="1346" y="42"/>
                  </a:lnTo>
                  <a:lnTo>
                    <a:pt x="1340" y="44"/>
                  </a:lnTo>
                  <a:lnTo>
                    <a:pt x="1336" y="45"/>
                  </a:lnTo>
                  <a:lnTo>
                    <a:pt x="1334" y="46"/>
                  </a:lnTo>
                  <a:lnTo>
                    <a:pt x="1333" y="46"/>
                  </a:lnTo>
                  <a:lnTo>
                    <a:pt x="1332" y="47"/>
                  </a:lnTo>
                  <a:lnTo>
                    <a:pt x="1333" y="47"/>
                  </a:lnTo>
                  <a:lnTo>
                    <a:pt x="1344" y="49"/>
                  </a:lnTo>
                  <a:lnTo>
                    <a:pt x="1348" y="50"/>
                  </a:lnTo>
                  <a:lnTo>
                    <a:pt x="1336" y="52"/>
                  </a:lnTo>
                  <a:lnTo>
                    <a:pt x="1326" y="53"/>
                  </a:lnTo>
                  <a:lnTo>
                    <a:pt x="1326" y="51"/>
                  </a:lnTo>
                  <a:lnTo>
                    <a:pt x="1327" y="50"/>
                  </a:lnTo>
                  <a:lnTo>
                    <a:pt x="1326" y="49"/>
                  </a:lnTo>
                  <a:lnTo>
                    <a:pt x="1320" y="50"/>
                  </a:lnTo>
                  <a:lnTo>
                    <a:pt x="1310" y="55"/>
                  </a:lnTo>
                  <a:lnTo>
                    <a:pt x="1303" y="57"/>
                  </a:lnTo>
                  <a:lnTo>
                    <a:pt x="1294" y="59"/>
                  </a:lnTo>
                  <a:lnTo>
                    <a:pt x="1288" y="62"/>
                  </a:lnTo>
                  <a:lnTo>
                    <a:pt x="1275" y="66"/>
                  </a:lnTo>
                  <a:lnTo>
                    <a:pt x="1263" y="71"/>
                  </a:lnTo>
                  <a:lnTo>
                    <a:pt x="1260" y="73"/>
                  </a:lnTo>
                  <a:lnTo>
                    <a:pt x="1259" y="75"/>
                  </a:lnTo>
                  <a:lnTo>
                    <a:pt x="1260" y="76"/>
                  </a:lnTo>
                  <a:lnTo>
                    <a:pt x="1262" y="77"/>
                  </a:lnTo>
                  <a:lnTo>
                    <a:pt x="1272" y="75"/>
                  </a:lnTo>
                  <a:lnTo>
                    <a:pt x="1282" y="73"/>
                  </a:lnTo>
                  <a:lnTo>
                    <a:pt x="1285" y="74"/>
                  </a:lnTo>
                  <a:lnTo>
                    <a:pt x="1287" y="75"/>
                  </a:lnTo>
                  <a:lnTo>
                    <a:pt x="1300" y="72"/>
                  </a:lnTo>
                  <a:lnTo>
                    <a:pt x="1309" y="70"/>
                  </a:lnTo>
                  <a:lnTo>
                    <a:pt x="1303" y="75"/>
                  </a:lnTo>
                  <a:lnTo>
                    <a:pt x="1297" y="79"/>
                  </a:lnTo>
                  <a:lnTo>
                    <a:pt x="1294" y="80"/>
                  </a:lnTo>
                  <a:lnTo>
                    <a:pt x="1291" y="81"/>
                  </a:lnTo>
                  <a:lnTo>
                    <a:pt x="1289" y="82"/>
                  </a:lnTo>
                  <a:lnTo>
                    <a:pt x="1286" y="86"/>
                  </a:lnTo>
                  <a:lnTo>
                    <a:pt x="1284" y="90"/>
                  </a:lnTo>
                  <a:lnTo>
                    <a:pt x="1282" y="92"/>
                  </a:lnTo>
                  <a:lnTo>
                    <a:pt x="1281" y="93"/>
                  </a:lnTo>
                  <a:lnTo>
                    <a:pt x="1281" y="94"/>
                  </a:lnTo>
                  <a:lnTo>
                    <a:pt x="1282" y="95"/>
                  </a:lnTo>
                  <a:lnTo>
                    <a:pt x="1284" y="95"/>
                  </a:lnTo>
                  <a:lnTo>
                    <a:pt x="1300" y="92"/>
                  </a:lnTo>
                  <a:lnTo>
                    <a:pt x="1314" y="90"/>
                  </a:lnTo>
                  <a:lnTo>
                    <a:pt x="1321" y="90"/>
                  </a:lnTo>
                  <a:lnTo>
                    <a:pt x="1331" y="87"/>
                  </a:lnTo>
                  <a:lnTo>
                    <a:pt x="1340" y="83"/>
                  </a:lnTo>
                  <a:lnTo>
                    <a:pt x="1347" y="82"/>
                  </a:lnTo>
                  <a:lnTo>
                    <a:pt x="1359" y="76"/>
                  </a:lnTo>
                  <a:lnTo>
                    <a:pt x="1365" y="75"/>
                  </a:lnTo>
                  <a:lnTo>
                    <a:pt x="1355" y="81"/>
                  </a:lnTo>
                  <a:lnTo>
                    <a:pt x="1343" y="86"/>
                  </a:lnTo>
                  <a:lnTo>
                    <a:pt x="1348" y="86"/>
                  </a:lnTo>
                  <a:lnTo>
                    <a:pt x="1359" y="83"/>
                  </a:lnTo>
                  <a:lnTo>
                    <a:pt x="1373" y="80"/>
                  </a:lnTo>
                  <a:lnTo>
                    <a:pt x="1381" y="79"/>
                  </a:lnTo>
                  <a:lnTo>
                    <a:pt x="1382" y="79"/>
                  </a:lnTo>
                  <a:lnTo>
                    <a:pt x="1383" y="80"/>
                  </a:lnTo>
                  <a:lnTo>
                    <a:pt x="1382" y="81"/>
                  </a:lnTo>
                  <a:lnTo>
                    <a:pt x="1382" y="82"/>
                  </a:lnTo>
                  <a:lnTo>
                    <a:pt x="1378" y="83"/>
                  </a:lnTo>
                  <a:lnTo>
                    <a:pt x="1371" y="86"/>
                  </a:lnTo>
                  <a:lnTo>
                    <a:pt x="1362" y="87"/>
                  </a:lnTo>
                  <a:lnTo>
                    <a:pt x="1354" y="87"/>
                  </a:lnTo>
                  <a:lnTo>
                    <a:pt x="1351" y="87"/>
                  </a:lnTo>
                  <a:lnTo>
                    <a:pt x="1348" y="88"/>
                  </a:lnTo>
                  <a:lnTo>
                    <a:pt x="1346" y="89"/>
                  </a:lnTo>
                  <a:lnTo>
                    <a:pt x="1344" y="90"/>
                  </a:lnTo>
                  <a:lnTo>
                    <a:pt x="1341" y="94"/>
                  </a:lnTo>
                  <a:lnTo>
                    <a:pt x="1337" y="97"/>
                  </a:lnTo>
                  <a:lnTo>
                    <a:pt x="1333" y="99"/>
                  </a:lnTo>
                  <a:lnTo>
                    <a:pt x="1330" y="98"/>
                  </a:lnTo>
                  <a:lnTo>
                    <a:pt x="1321" y="97"/>
                  </a:lnTo>
                  <a:lnTo>
                    <a:pt x="1310" y="97"/>
                  </a:lnTo>
                  <a:lnTo>
                    <a:pt x="1305" y="97"/>
                  </a:lnTo>
                  <a:lnTo>
                    <a:pt x="1299" y="97"/>
                  </a:lnTo>
                  <a:lnTo>
                    <a:pt x="1296" y="98"/>
                  </a:lnTo>
                  <a:lnTo>
                    <a:pt x="1294" y="99"/>
                  </a:lnTo>
                  <a:lnTo>
                    <a:pt x="1294" y="102"/>
                  </a:lnTo>
                  <a:lnTo>
                    <a:pt x="1296" y="106"/>
                  </a:lnTo>
                  <a:lnTo>
                    <a:pt x="1297" y="108"/>
                  </a:lnTo>
                  <a:lnTo>
                    <a:pt x="1300" y="109"/>
                  </a:lnTo>
                  <a:lnTo>
                    <a:pt x="1306" y="109"/>
                  </a:lnTo>
                  <a:lnTo>
                    <a:pt x="1311" y="108"/>
                  </a:lnTo>
                  <a:lnTo>
                    <a:pt x="1328" y="102"/>
                  </a:lnTo>
                  <a:lnTo>
                    <a:pt x="1333" y="102"/>
                  </a:lnTo>
                  <a:lnTo>
                    <a:pt x="1337" y="104"/>
                  </a:lnTo>
                  <a:lnTo>
                    <a:pt x="1340" y="106"/>
                  </a:lnTo>
                  <a:lnTo>
                    <a:pt x="1346" y="106"/>
                  </a:lnTo>
                  <a:lnTo>
                    <a:pt x="1354" y="106"/>
                  </a:lnTo>
                  <a:lnTo>
                    <a:pt x="1360" y="106"/>
                  </a:lnTo>
                  <a:lnTo>
                    <a:pt x="1368" y="103"/>
                  </a:lnTo>
                  <a:lnTo>
                    <a:pt x="1375" y="101"/>
                  </a:lnTo>
                  <a:lnTo>
                    <a:pt x="1382" y="98"/>
                  </a:lnTo>
                  <a:lnTo>
                    <a:pt x="1388" y="95"/>
                  </a:lnTo>
                  <a:lnTo>
                    <a:pt x="1394" y="93"/>
                  </a:lnTo>
                  <a:lnTo>
                    <a:pt x="1396" y="93"/>
                  </a:lnTo>
                  <a:lnTo>
                    <a:pt x="1397" y="93"/>
                  </a:lnTo>
                  <a:lnTo>
                    <a:pt x="1397" y="93"/>
                  </a:lnTo>
                  <a:lnTo>
                    <a:pt x="1397" y="94"/>
                  </a:lnTo>
                  <a:lnTo>
                    <a:pt x="1395" y="98"/>
                  </a:lnTo>
                  <a:lnTo>
                    <a:pt x="1395" y="100"/>
                  </a:lnTo>
                  <a:lnTo>
                    <a:pt x="1397" y="101"/>
                  </a:lnTo>
                  <a:lnTo>
                    <a:pt x="1402" y="100"/>
                  </a:lnTo>
                  <a:lnTo>
                    <a:pt x="1413" y="96"/>
                  </a:lnTo>
                  <a:lnTo>
                    <a:pt x="1425" y="91"/>
                  </a:lnTo>
                  <a:lnTo>
                    <a:pt x="1431" y="88"/>
                  </a:lnTo>
                  <a:lnTo>
                    <a:pt x="1438" y="84"/>
                  </a:lnTo>
                  <a:lnTo>
                    <a:pt x="1442" y="81"/>
                  </a:lnTo>
                  <a:lnTo>
                    <a:pt x="1444" y="78"/>
                  </a:lnTo>
                  <a:lnTo>
                    <a:pt x="1450" y="71"/>
                  </a:lnTo>
                  <a:lnTo>
                    <a:pt x="1458" y="65"/>
                  </a:lnTo>
                  <a:lnTo>
                    <a:pt x="1462" y="61"/>
                  </a:lnTo>
                  <a:lnTo>
                    <a:pt x="1465" y="59"/>
                  </a:lnTo>
                  <a:lnTo>
                    <a:pt x="1468" y="58"/>
                  </a:lnTo>
                  <a:lnTo>
                    <a:pt x="1470" y="59"/>
                  </a:lnTo>
                  <a:lnTo>
                    <a:pt x="1473" y="61"/>
                  </a:lnTo>
                  <a:lnTo>
                    <a:pt x="1475" y="64"/>
                  </a:lnTo>
                  <a:lnTo>
                    <a:pt x="1473" y="67"/>
                  </a:lnTo>
                  <a:lnTo>
                    <a:pt x="1466" y="70"/>
                  </a:lnTo>
                  <a:lnTo>
                    <a:pt x="1458" y="75"/>
                  </a:lnTo>
                  <a:lnTo>
                    <a:pt x="1450" y="78"/>
                  </a:lnTo>
                  <a:lnTo>
                    <a:pt x="1448" y="80"/>
                  </a:lnTo>
                  <a:lnTo>
                    <a:pt x="1447" y="81"/>
                  </a:lnTo>
                  <a:lnTo>
                    <a:pt x="1448" y="82"/>
                  </a:lnTo>
                  <a:lnTo>
                    <a:pt x="1451" y="82"/>
                  </a:lnTo>
                  <a:lnTo>
                    <a:pt x="1464" y="81"/>
                  </a:lnTo>
                  <a:lnTo>
                    <a:pt x="1479" y="79"/>
                  </a:lnTo>
                  <a:lnTo>
                    <a:pt x="1485" y="79"/>
                  </a:lnTo>
                  <a:lnTo>
                    <a:pt x="1489" y="79"/>
                  </a:lnTo>
                  <a:lnTo>
                    <a:pt x="1491" y="79"/>
                  </a:lnTo>
                  <a:lnTo>
                    <a:pt x="1491" y="80"/>
                  </a:lnTo>
                  <a:lnTo>
                    <a:pt x="1490" y="80"/>
                  </a:lnTo>
                  <a:lnTo>
                    <a:pt x="1489" y="81"/>
                  </a:lnTo>
                  <a:lnTo>
                    <a:pt x="1478" y="84"/>
                  </a:lnTo>
                  <a:lnTo>
                    <a:pt x="1463" y="86"/>
                  </a:lnTo>
                  <a:lnTo>
                    <a:pt x="1456" y="86"/>
                  </a:lnTo>
                  <a:lnTo>
                    <a:pt x="1448" y="87"/>
                  </a:lnTo>
                  <a:lnTo>
                    <a:pt x="1443" y="88"/>
                  </a:lnTo>
                  <a:lnTo>
                    <a:pt x="1439" y="90"/>
                  </a:lnTo>
                  <a:lnTo>
                    <a:pt x="1438" y="91"/>
                  </a:lnTo>
                  <a:lnTo>
                    <a:pt x="1438" y="92"/>
                  </a:lnTo>
                  <a:lnTo>
                    <a:pt x="1438" y="93"/>
                  </a:lnTo>
                  <a:lnTo>
                    <a:pt x="1439" y="94"/>
                  </a:lnTo>
                  <a:lnTo>
                    <a:pt x="1441" y="96"/>
                  </a:lnTo>
                  <a:lnTo>
                    <a:pt x="1443" y="97"/>
                  </a:lnTo>
                  <a:lnTo>
                    <a:pt x="1445" y="98"/>
                  </a:lnTo>
                  <a:lnTo>
                    <a:pt x="1446" y="99"/>
                  </a:lnTo>
                  <a:lnTo>
                    <a:pt x="1446" y="100"/>
                  </a:lnTo>
                  <a:lnTo>
                    <a:pt x="1442" y="100"/>
                  </a:lnTo>
                  <a:lnTo>
                    <a:pt x="1431" y="101"/>
                  </a:lnTo>
                  <a:lnTo>
                    <a:pt x="1421" y="102"/>
                  </a:lnTo>
                  <a:lnTo>
                    <a:pt x="1414" y="104"/>
                  </a:lnTo>
                  <a:lnTo>
                    <a:pt x="1408" y="105"/>
                  </a:lnTo>
                  <a:lnTo>
                    <a:pt x="1402" y="108"/>
                  </a:lnTo>
                  <a:lnTo>
                    <a:pt x="1393" y="110"/>
                  </a:lnTo>
                  <a:lnTo>
                    <a:pt x="1387" y="110"/>
                  </a:lnTo>
                  <a:lnTo>
                    <a:pt x="1384" y="111"/>
                  </a:lnTo>
                  <a:lnTo>
                    <a:pt x="1382" y="112"/>
                  </a:lnTo>
                  <a:lnTo>
                    <a:pt x="1381" y="113"/>
                  </a:lnTo>
                  <a:lnTo>
                    <a:pt x="1381" y="114"/>
                  </a:lnTo>
                  <a:lnTo>
                    <a:pt x="1382" y="114"/>
                  </a:lnTo>
                  <a:lnTo>
                    <a:pt x="1386" y="119"/>
                  </a:lnTo>
                  <a:lnTo>
                    <a:pt x="1393" y="123"/>
                  </a:lnTo>
                  <a:lnTo>
                    <a:pt x="1398" y="126"/>
                  </a:lnTo>
                  <a:lnTo>
                    <a:pt x="1402" y="128"/>
                  </a:lnTo>
                  <a:lnTo>
                    <a:pt x="1404" y="133"/>
                  </a:lnTo>
                  <a:lnTo>
                    <a:pt x="1408" y="138"/>
                  </a:lnTo>
                  <a:lnTo>
                    <a:pt x="1415" y="139"/>
                  </a:lnTo>
                  <a:lnTo>
                    <a:pt x="1424" y="138"/>
                  </a:lnTo>
                  <a:lnTo>
                    <a:pt x="1427" y="138"/>
                  </a:lnTo>
                  <a:lnTo>
                    <a:pt x="1429" y="139"/>
                  </a:lnTo>
                  <a:lnTo>
                    <a:pt x="1429" y="140"/>
                  </a:lnTo>
                  <a:lnTo>
                    <a:pt x="1426" y="142"/>
                  </a:lnTo>
                  <a:lnTo>
                    <a:pt x="1421" y="146"/>
                  </a:lnTo>
                  <a:lnTo>
                    <a:pt x="1419" y="149"/>
                  </a:lnTo>
                  <a:lnTo>
                    <a:pt x="1417" y="150"/>
                  </a:lnTo>
                  <a:lnTo>
                    <a:pt x="1412" y="149"/>
                  </a:lnTo>
                  <a:lnTo>
                    <a:pt x="1403" y="148"/>
                  </a:lnTo>
                  <a:lnTo>
                    <a:pt x="1395" y="147"/>
                  </a:lnTo>
                  <a:lnTo>
                    <a:pt x="1391" y="146"/>
                  </a:lnTo>
                  <a:lnTo>
                    <a:pt x="1387" y="145"/>
                  </a:lnTo>
                  <a:lnTo>
                    <a:pt x="1384" y="144"/>
                  </a:lnTo>
                  <a:lnTo>
                    <a:pt x="1383" y="142"/>
                  </a:lnTo>
                  <a:lnTo>
                    <a:pt x="1380" y="136"/>
                  </a:lnTo>
                  <a:lnTo>
                    <a:pt x="1374" y="127"/>
                  </a:lnTo>
                  <a:lnTo>
                    <a:pt x="1371" y="123"/>
                  </a:lnTo>
                  <a:lnTo>
                    <a:pt x="1366" y="120"/>
                  </a:lnTo>
                  <a:lnTo>
                    <a:pt x="1361" y="118"/>
                  </a:lnTo>
                  <a:lnTo>
                    <a:pt x="1356" y="117"/>
                  </a:lnTo>
                  <a:lnTo>
                    <a:pt x="1347" y="117"/>
                  </a:lnTo>
                  <a:lnTo>
                    <a:pt x="1341" y="116"/>
                  </a:lnTo>
                  <a:lnTo>
                    <a:pt x="1340" y="116"/>
                  </a:lnTo>
                  <a:lnTo>
                    <a:pt x="1339" y="116"/>
                  </a:lnTo>
                  <a:lnTo>
                    <a:pt x="1338" y="117"/>
                  </a:lnTo>
                  <a:lnTo>
                    <a:pt x="1337" y="119"/>
                  </a:lnTo>
                  <a:lnTo>
                    <a:pt x="1333" y="123"/>
                  </a:lnTo>
                  <a:lnTo>
                    <a:pt x="1330" y="125"/>
                  </a:lnTo>
                  <a:lnTo>
                    <a:pt x="1329" y="126"/>
                  </a:lnTo>
                  <a:lnTo>
                    <a:pt x="1328" y="127"/>
                  </a:lnTo>
                  <a:lnTo>
                    <a:pt x="1328" y="130"/>
                  </a:lnTo>
                  <a:lnTo>
                    <a:pt x="1330" y="132"/>
                  </a:lnTo>
                  <a:lnTo>
                    <a:pt x="1331" y="138"/>
                  </a:lnTo>
                  <a:lnTo>
                    <a:pt x="1332" y="143"/>
                  </a:lnTo>
                  <a:lnTo>
                    <a:pt x="1333" y="146"/>
                  </a:lnTo>
                  <a:lnTo>
                    <a:pt x="1334" y="149"/>
                  </a:lnTo>
                  <a:lnTo>
                    <a:pt x="1337" y="152"/>
                  </a:lnTo>
                  <a:lnTo>
                    <a:pt x="1340" y="154"/>
                  </a:lnTo>
                  <a:lnTo>
                    <a:pt x="1343" y="155"/>
                  </a:lnTo>
                  <a:lnTo>
                    <a:pt x="1347" y="155"/>
                  </a:lnTo>
                  <a:lnTo>
                    <a:pt x="1350" y="154"/>
                  </a:lnTo>
                  <a:lnTo>
                    <a:pt x="1353" y="153"/>
                  </a:lnTo>
                  <a:lnTo>
                    <a:pt x="1355" y="152"/>
                  </a:lnTo>
                  <a:lnTo>
                    <a:pt x="1357" y="152"/>
                  </a:lnTo>
                  <a:lnTo>
                    <a:pt x="1359" y="153"/>
                  </a:lnTo>
                  <a:lnTo>
                    <a:pt x="1359" y="155"/>
                  </a:lnTo>
                  <a:lnTo>
                    <a:pt x="1359" y="160"/>
                  </a:lnTo>
                  <a:lnTo>
                    <a:pt x="1359" y="163"/>
                  </a:lnTo>
                  <a:lnTo>
                    <a:pt x="1359" y="165"/>
                  </a:lnTo>
                  <a:lnTo>
                    <a:pt x="1361" y="167"/>
                  </a:lnTo>
                  <a:lnTo>
                    <a:pt x="1364" y="169"/>
                  </a:lnTo>
                  <a:lnTo>
                    <a:pt x="1370" y="171"/>
                  </a:lnTo>
                  <a:lnTo>
                    <a:pt x="1390" y="176"/>
                  </a:lnTo>
                  <a:lnTo>
                    <a:pt x="1400" y="178"/>
                  </a:lnTo>
                  <a:lnTo>
                    <a:pt x="1400" y="180"/>
                  </a:lnTo>
                  <a:lnTo>
                    <a:pt x="1399" y="182"/>
                  </a:lnTo>
                  <a:lnTo>
                    <a:pt x="1398" y="184"/>
                  </a:lnTo>
                  <a:lnTo>
                    <a:pt x="1396" y="186"/>
                  </a:lnTo>
                  <a:lnTo>
                    <a:pt x="1391" y="189"/>
                  </a:lnTo>
                  <a:lnTo>
                    <a:pt x="1383" y="191"/>
                  </a:lnTo>
                  <a:lnTo>
                    <a:pt x="1376" y="192"/>
                  </a:lnTo>
                  <a:lnTo>
                    <a:pt x="1368" y="194"/>
                  </a:lnTo>
                  <a:lnTo>
                    <a:pt x="1364" y="196"/>
                  </a:lnTo>
                  <a:lnTo>
                    <a:pt x="1360" y="197"/>
                  </a:lnTo>
                  <a:lnTo>
                    <a:pt x="1357" y="197"/>
                  </a:lnTo>
                  <a:lnTo>
                    <a:pt x="1355" y="196"/>
                  </a:lnTo>
                  <a:lnTo>
                    <a:pt x="1349" y="192"/>
                  </a:lnTo>
                  <a:lnTo>
                    <a:pt x="1342" y="190"/>
                  </a:lnTo>
                  <a:lnTo>
                    <a:pt x="1338" y="190"/>
                  </a:lnTo>
                  <a:lnTo>
                    <a:pt x="1334" y="190"/>
                  </a:lnTo>
                  <a:lnTo>
                    <a:pt x="1330" y="191"/>
                  </a:lnTo>
                  <a:lnTo>
                    <a:pt x="1326" y="193"/>
                  </a:lnTo>
                  <a:lnTo>
                    <a:pt x="1314" y="200"/>
                  </a:lnTo>
                  <a:lnTo>
                    <a:pt x="1301" y="207"/>
                  </a:lnTo>
                  <a:lnTo>
                    <a:pt x="1295" y="211"/>
                  </a:lnTo>
                  <a:lnTo>
                    <a:pt x="1291" y="214"/>
                  </a:lnTo>
                  <a:lnTo>
                    <a:pt x="1290" y="217"/>
                  </a:lnTo>
                  <a:lnTo>
                    <a:pt x="1289" y="218"/>
                  </a:lnTo>
                  <a:lnTo>
                    <a:pt x="1289" y="219"/>
                  </a:lnTo>
                  <a:lnTo>
                    <a:pt x="1289" y="220"/>
                  </a:lnTo>
                  <a:lnTo>
                    <a:pt x="1296" y="221"/>
                  </a:lnTo>
                  <a:lnTo>
                    <a:pt x="1307" y="221"/>
                  </a:lnTo>
                  <a:lnTo>
                    <a:pt x="1316" y="219"/>
                  </a:lnTo>
                  <a:lnTo>
                    <a:pt x="1321" y="218"/>
                  </a:lnTo>
                  <a:lnTo>
                    <a:pt x="1326" y="215"/>
                  </a:lnTo>
                  <a:lnTo>
                    <a:pt x="1333" y="212"/>
                  </a:lnTo>
                  <a:lnTo>
                    <a:pt x="1336" y="211"/>
                  </a:lnTo>
                  <a:lnTo>
                    <a:pt x="1338" y="211"/>
                  </a:lnTo>
                  <a:lnTo>
                    <a:pt x="1339" y="212"/>
                  </a:lnTo>
                  <a:lnTo>
                    <a:pt x="1338" y="214"/>
                  </a:lnTo>
                  <a:lnTo>
                    <a:pt x="1334" y="221"/>
                  </a:lnTo>
                  <a:lnTo>
                    <a:pt x="1329" y="226"/>
                  </a:lnTo>
                  <a:lnTo>
                    <a:pt x="1326" y="229"/>
                  </a:lnTo>
                  <a:lnTo>
                    <a:pt x="1325" y="231"/>
                  </a:lnTo>
                  <a:lnTo>
                    <a:pt x="1323" y="233"/>
                  </a:lnTo>
                  <a:lnTo>
                    <a:pt x="1325" y="236"/>
                  </a:lnTo>
                  <a:lnTo>
                    <a:pt x="1327" y="242"/>
                  </a:lnTo>
                  <a:lnTo>
                    <a:pt x="1330" y="247"/>
                  </a:lnTo>
                  <a:lnTo>
                    <a:pt x="1331" y="249"/>
                  </a:lnTo>
                  <a:lnTo>
                    <a:pt x="1333" y="250"/>
                  </a:lnTo>
                  <a:lnTo>
                    <a:pt x="1335" y="251"/>
                  </a:lnTo>
                  <a:lnTo>
                    <a:pt x="1338" y="251"/>
                  </a:lnTo>
                  <a:lnTo>
                    <a:pt x="1347" y="248"/>
                  </a:lnTo>
                  <a:lnTo>
                    <a:pt x="1359" y="243"/>
                  </a:lnTo>
                  <a:lnTo>
                    <a:pt x="1364" y="240"/>
                  </a:lnTo>
                  <a:lnTo>
                    <a:pt x="1370" y="239"/>
                  </a:lnTo>
                  <a:lnTo>
                    <a:pt x="1373" y="237"/>
                  </a:lnTo>
                  <a:lnTo>
                    <a:pt x="1374" y="239"/>
                  </a:lnTo>
                  <a:lnTo>
                    <a:pt x="1373" y="241"/>
                  </a:lnTo>
                  <a:lnTo>
                    <a:pt x="1372" y="243"/>
                  </a:lnTo>
                  <a:lnTo>
                    <a:pt x="1370" y="246"/>
                  </a:lnTo>
                  <a:lnTo>
                    <a:pt x="1366" y="249"/>
                  </a:lnTo>
                  <a:lnTo>
                    <a:pt x="1360" y="254"/>
                  </a:lnTo>
                  <a:lnTo>
                    <a:pt x="1355" y="257"/>
                  </a:lnTo>
                  <a:lnTo>
                    <a:pt x="1350" y="262"/>
                  </a:lnTo>
                  <a:lnTo>
                    <a:pt x="1344" y="267"/>
                  </a:lnTo>
                  <a:lnTo>
                    <a:pt x="1341" y="268"/>
                  </a:lnTo>
                  <a:lnTo>
                    <a:pt x="1337" y="269"/>
                  </a:lnTo>
                  <a:lnTo>
                    <a:pt x="1333" y="269"/>
                  </a:lnTo>
                  <a:lnTo>
                    <a:pt x="1328" y="268"/>
                  </a:lnTo>
                  <a:lnTo>
                    <a:pt x="1316" y="264"/>
                  </a:lnTo>
                  <a:lnTo>
                    <a:pt x="1306" y="259"/>
                  </a:lnTo>
                  <a:lnTo>
                    <a:pt x="1301" y="257"/>
                  </a:lnTo>
                  <a:lnTo>
                    <a:pt x="1298" y="255"/>
                  </a:lnTo>
                  <a:lnTo>
                    <a:pt x="1297" y="253"/>
                  </a:lnTo>
                  <a:lnTo>
                    <a:pt x="1296" y="251"/>
                  </a:lnTo>
                  <a:lnTo>
                    <a:pt x="1299" y="247"/>
                  </a:lnTo>
                  <a:lnTo>
                    <a:pt x="1303" y="242"/>
                  </a:lnTo>
                  <a:lnTo>
                    <a:pt x="1303" y="241"/>
                  </a:lnTo>
                  <a:lnTo>
                    <a:pt x="1301" y="239"/>
                  </a:lnTo>
                  <a:lnTo>
                    <a:pt x="1298" y="239"/>
                  </a:lnTo>
                  <a:lnTo>
                    <a:pt x="1294" y="240"/>
                  </a:lnTo>
                  <a:lnTo>
                    <a:pt x="1288" y="241"/>
                  </a:lnTo>
                  <a:lnTo>
                    <a:pt x="1284" y="241"/>
                  </a:lnTo>
                  <a:lnTo>
                    <a:pt x="1279" y="240"/>
                  </a:lnTo>
                  <a:lnTo>
                    <a:pt x="1276" y="239"/>
                  </a:lnTo>
                  <a:lnTo>
                    <a:pt x="1273" y="239"/>
                  </a:lnTo>
                  <a:lnTo>
                    <a:pt x="1272" y="240"/>
                  </a:lnTo>
                  <a:lnTo>
                    <a:pt x="1271" y="242"/>
                  </a:lnTo>
                  <a:lnTo>
                    <a:pt x="1271" y="247"/>
                  </a:lnTo>
                  <a:lnTo>
                    <a:pt x="1272" y="252"/>
                  </a:lnTo>
                  <a:lnTo>
                    <a:pt x="1273" y="255"/>
                  </a:lnTo>
                  <a:lnTo>
                    <a:pt x="1275" y="258"/>
                  </a:lnTo>
                  <a:lnTo>
                    <a:pt x="1277" y="261"/>
                  </a:lnTo>
                  <a:lnTo>
                    <a:pt x="1282" y="263"/>
                  </a:lnTo>
                  <a:lnTo>
                    <a:pt x="1287" y="266"/>
                  </a:lnTo>
                  <a:lnTo>
                    <a:pt x="1292" y="268"/>
                  </a:lnTo>
                  <a:lnTo>
                    <a:pt x="1296" y="270"/>
                  </a:lnTo>
                  <a:lnTo>
                    <a:pt x="1297" y="271"/>
                  </a:lnTo>
                  <a:lnTo>
                    <a:pt x="1297" y="272"/>
                  </a:lnTo>
                  <a:lnTo>
                    <a:pt x="1296" y="273"/>
                  </a:lnTo>
                  <a:lnTo>
                    <a:pt x="1295" y="275"/>
                  </a:lnTo>
                  <a:lnTo>
                    <a:pt x="1284" y="279"/>
                  </a:lnTo>
                  <a:lnTo>
                    <a:pt x="1271" y="284"/>
                  </a:lnTo>
                  <a:lnTo>
                    <a:pt x="1255" y="293"/>
                  </a:lnTo>
                  <a:lnTo>
                    <a:pt x="1241" y="301"/>
                  </a:lnTo>
                  <a:lnTo>
                    <a:pt x="1237" y="306"/>
                  </a:lnTo>
                  <a:lnTo>
                    <a:pt x="1230" y="310"/>
                  </a:lnTo>
                  <a:lnTo>
                    <a:pt x="1227" y="312"/>
                  </a:lnTo>
                  <a:lnTo>
                    <a:pt x="1224" y="313"/>
                  </a:lnTo>
                  <a:lnTo>
                    <a:pt x="1222" y="314"/>
                  </a:lnTo>
                  <a:lnTo>
                    <a:pt x="1220" y="313"/>
                  </a:lnTo>
                  <a:lnTo>
                    <a:pt x="1212" y="313"/>
                  </a:lnTo>
                  <a:lnTo>
                    <a:pt x="1199" y="315"/>
                  </a:lnTo>
                  <a:lnTo>
                    <a:pt x="1187" y="316"/>
                  </a:lnTo>
                  <a:lnTo>
                    <a:pt x="1182" y="317"/>
                  </a:lnTo>
                  <a:lnTo>
                    <a:pt x="1182" y="317"/>
                  </a:lnTo>
                  <a:lnTo>
                    <a:pt x="1183" y="316"/>
                  </a:lnTo>
                  <a:lnTo>
                    <a:pt x="1182" y="314"/>
                  </a:lnTo>
                  <a:lnTo>
                    <a:pt x="1178" y="310"/>
                  </a:lnTo>
                  <a:lnTo>
                    <a:pt x="1172" y="305"/>
                  </a:lnTo>
                  <a:lnTo>
                    <a:pt x="1166" y="300"/>
                  </a:lnTo>
                  <a:lnTo>
                    <a:pt x="1161" y="298"/>
                  </a:lnTo>
                  <a:lnTo>
                    <a:pt x="1156" y="298"/>
                  </a:lnTo>
                  <a:lnTo>
                    <a:pt x="1146" y="298"/>
                  </a:lnTo>
                  <a:lnTo>
                    <a:pt x="1141" y="298"/>
                  </a:lnTo>
                  <a:lnTo>
                    <a:pt x="1137" y="299"/>
                  </a:lnTo>
                  <a:lnTo>
                    <a:pt x="1133" y="299"/>
                  </a:lnTo>
                  <a:lnTo>
                    <a:pt x="1129" y="302"/>
                  </a:lnTo>
                  <a:lnTo>
                    <a:pt x="1127" y="303"/>
                  </a:lnTo>
                  <a:close/>
                  <a:moveTo>
                    <a:pt x="1227" y="268"/>
                  </a:moveTo>
                  <a:lnTo>
                    <a:pt x="1224" y="276"/>
                  </a:lnTo>
                  <a:lnTo>
                    <a:pt x="1219" y="283"/>
                  </a:lnTo>
                  <a:lnTo>
                    <a:pt x="1219" y="284"/>
                  </a:lnTo>
                  <a:lnTo>
                    <a:pt x="1220" y="287"/>
                  </a:lnTo>
                  <a:lnTo>
                    <a:pt x="1221" y="288"/>
                  </a:lnTo>
                  <a:lnTo>
                    <a:pt x="1222" y="288"/>
                  </a:lnTo>
                  <a:lnTo>
                    <a:pt x="1224" y="289"/>
                  </a:lnTo>
                  <a:lnTo>
                    <a:pt x="1226" y="288"/>
                  </a:lnTo>
                  <a:lnTo>
                    <a:pt x="1234" y="284"/>
                  </a:lnTo>
                  <a:lnTo>
                    <a:pt x="1242" y="278"/>
                  </a:lnTo>
                  <a:lnTo>
                    <a:pt x="1244" y="275"/>
                  </a:lnTo>
                  <a:lnTo>
                    <a:pt x="1243" y="271"/>
                  </a:lnTo>
                  <a:lnTo>
                    <a:pt x="1241" y="268"/>
                  </a:lnTo>
                  <a:lnTo>
                    <a:pt x="1240" y="266"/>
                  </a:lnTo>
                  <a:lnTo>
                    <a:pt x="1238" y="264"/>
                  </a:lnTo>
                  <a:lnTo>
                    <a:pt x="1234" y="262"/>
                  </a:lnTo>
                  <a:lnTo>
                    <a:pt x="1231" y="261"/>
                  </a:lnTo>
                  <a:lnTo>
                    <a:pt x="1229" y="262"/>
                  </a:lnTo>
                  <a:lnTo>
                    <a:pt x="1228" y="266"/>
                  </a:lnTo>
                  <a:lnTo>
                    <a:pt x="1227" y="268"/>
                  </a:lnTo>
                  <a:close/>
                  <a:moveTo>
                    <a:pt x="1143" y="274"/>
                  </a:moveTo>
                  <a:lnTo>
                    <a:pt x="1147" y="276"/>
                  </a:lnTo>
                  <a:lnTo>
                    <a:pt x="1156" y="277"/>
                  </a:lnTo>
                  <a:lnTo>
                    <a:pt x="1165" y="278"/>
                  </a:lnTo>
                  <a:lnTo>
                    <a:pt x="1172" y="277"/>
                  </a:lnTo>
                  <a:lnTo>
                    <a:pt x="1176" y="276"/>
                  </a:lnTo>
                  <a:lnTo>
                    <a:pt x="1181" y="276"/>
                  </a:lnTo>
                  <a:lnTo>
                    <a:pt x="1183" y="276"/>
                  </a:lnTo>
                  <a:lnTo>
                    <a:pt x="1185" y="274"/>
                  </a:lnTo>
                  <a:lnTo>
                    <a:pt x="1186" y="273"/>
                  </a:lnTo>
                  <a:lnTo>
                    <a:pt x="1186" y="270"/>
                  </a:lnTo>
                  <a:lnTo>
                    <a:pt x="1185" y="267"/>
                  </a:lnTo>
                  <a:lnTo>
                    <a:pt x="1183" y="265"/>
                  </a:lnTo>
                  <a:lnTo>
                    <a:pt x="1180" y="263"/>
                  </a:lnTo>
                  <a:lnTo>
                    <a:pt x="1177" y="263"/>
                  </a:lnTo>
                  <a:lnTo>
                    <a:pt x="1171" y="263"/>
                  </a:lnTo>
                  <a:lnTo>
                    <a:pt x="1166" y="263"/>
                  </a:lnTo>
                  <a:lnTo>
                    <a:pt x="1164" y="263"/>
                  </a:lnTo>
                  <a:lnTo>
                    <a:pt x="1160" y="263"/>
                  </a:lnTo>
                  <a:lnTo>
                    <a:pt x="1156" y="264"/>
                  </a:lnTo>
                  <a:lnTo>
                    <a:pt x="1152" y="266"/>
                  </a:lnTo>
                  <a:lnTo>
                    <a:pt x="1145" y="271"/>
                  </a:lnTo>
                  <a:lnTo>
                    <a:pt x="1143" y="274"/>
                  </a:lnTo>
                  <a:close/>
                  <a:moveTo>
                    <a:pt x="984" y="288"/>
                  </a:moveTo>
                  <a:lnTo>
                    <a:pt x="983" y="290"/>
                  </a:lnTo>
                  <a:lnTo>
                    <a:pt x="982" y="293"/>
                  </a:lnTo>
                  <a:lnTo>
                    <a:pt x="981" y="298"/>
                  </a:lnTo>
                  <a:lnTo>
                    <a:pt x="981" y="303"/>
                  </a:lnTo>
                  <a:lnTo>
                    <a:pt x="981" y="309"/>
                  </a:lnTo>
                  <a:lnTo>
                    <a:pt x="981" y="314"/>
                  </a:lnTo>
                  <a:lnTo>
                    <a:pt x="983" y="318"/>
                  </a:lnTo>
                  <a:lnTo>
                    <a:pt x="985" y="322"/>
                  </a:lnTo>
                  <a:lnTo>
                    <a:pt x="987" y="324"/>
                  </a:lnTo>
                  <a:lnTo>
                    <a:pt x="991" y="325"/>
                  </a:lnTo>
                  <a:lnTo>
                    <a:pt x="995" y="327"/>
                  </a:lnTo>
                  <a:lnTo>
                    <a:pt x="999" y="325"/>
                  </a:lnTo>
                  <a:lnTo>
                    <a:pt x="1003" y="324"/>
                  </a:lnTo>
                  <a:lnTo>
                    <a:pt x="1005" y="323"/>
                  </a:lnTo>
                  <a:lnTo>
                    <a:pt x="1007" y="320"/>
                  </a:lnTo>
                  <a:lnTo>
                    <a:pt x="1006" y="318"/>
                  </a:lnTo>
                  <a:lnTo>
                    <a:pt x="998" y="306"/>
                  </a:lnTo>
                  <a:lnTo>
                    <a:pt x="991" y="297"/>
                  </a:lnTo>
                  <a:lnTo>
                    <a:pt x="987" y="292"/>
                  </a:lnTo>
                  <a:lnTo>
                    <a:pt x="984" y="288"/>
                  </a:lnTo>
                  <a:close/>
                  <a:moveTo>
                    <a:pt x="1115" y="164"/>
                  </a:moveTo>
                  <a:lnTo>
                    <a:pt x="1114" y="167"/>
                  </a:lnTo>
                  <a:lnTo>
                    <a:pt x="1114" y="170"/>
                  </a:lnTo>
                  <a:lnTo>
                    <a:pt x="1115" y="174"/>
                  </a:lnTo>
                  <a:lnTo>
                    <a:pt x="1117" y="177"/>
                  </a:lnTo>
                  <a:lnTo>
                    <a:pt x="1119" y="179"/>
                  </a:lnTo>
                  <a:lnTo>
                    <a:pt x="1121" y="181"/>
                  </a:lnTo>
                  <a:lnTo>
                    <a:pt x="1123" y="181"/>
                  </a:lnTo>
                  <a:lnTo>
                    <a:pt x="1125" y="179"/>
                  </a:lnTo>
                  <a:lnTo>
                    <a:pt x="1131" y="174"/>
                  </a:lnTo>
                  <a:lnTo>
                    <a:pt x="1136" y="167"/>
                  </a:lnTo>
                  <a:lnTo>
                    <a:pt x="1138" y="165"/>
                  </a:lnTo>
                  <a:lnTo>
                    <a:pt x="1140" y="162"/>
                  </a:lnTo>
                  <a:lnTo>
                    <a:pt x="1140" y="160"/>
                  </a:lnTo>
                  <a:lnTo>
                    <a:pt x="1139" y="159"/>
                  </a:lnTo>
                  <a:lnTo>
                    <a:pt x="1136" y="157"/>
                  </a:lnTo>
                  <a:lnTo>
                    <a:pt x="1135" y="156"/>
                  </a:lnTo>
                  <a:lnTo>
                    <a:pt x="1133" y="156"/>
                  </a:lnTo>
                  <a:lnTo>
                    <a:pt x="1130" y="157"/>
                  </a:lnTo>
                  <a:lnTo>
                    <a:pt x="1120" y="161"/>
                  </a:lnTo>
                  <a:lnTo>
                    <a:pt x="1115" y="164"/>
                  </a:lnTo>
                  <a:close/>
                  <a:moveTo>
                    <a:pt x="1124" y="220"/>
                  </a:moveTo>
                  <a:lnTo>
                    <a:pt x="1123" y="223"/>
                  </a:lnTo>
                  <a:lnTo>
                    <a:pt x="1124" y="226"/>
                  </a:lnTo>
                  <a:lnTo>
                    <a:pt x="1125" y="229"/>
                  </a:lnTo>
                  <a:lnTo>
                    <a:pt x="1128" y="231"/>
                  </a:lnTo>
                  <a:lnTo>
                    <a:pt x="1131" y="236"/>
                  </a:lnTo>
                  <a:lnTo>
                    <a:pt x="1132" y="241"/>
                  </a:lnTo>
                  <a:lnTo>
                    <a:pt x="1128" y="245"/>
                  </a:lnTo>
                  <a:lnTo>
                    <a:pt x="1122" y="248"/>
                  </a:lnTo>
                  <a:lnTo>
                    <a:pt x="1121" y="249"/>
                  </a:lnTo>
                  <a:lnTo>
                    <a:pt x="1120" y="252"/>
                  </a:lnTo>
                  <a:lnTo>
                    <a:pt x="1122" y="254"/>
                  </a:lnTo>
                  <a:lnTo>
                    <a:pt x="1125" y="257"/>
                  </a:lnTo>
                  <a:lnTo>
                    <a:pt x="1131" y="261"/>
                  </a:lnTo>
                  <a:lnTo>
                    <a:pt x="1136" y="262"/>
                  </a:lnTo>
                  <a:lnTo>
                    <a:pt x="1139" y="262"/>
                  </a:lnTo>
                  <a:lnTo>
                    <a:pt x="1143" y="261"/>
                  </a:lnTo>
                  <a:lnTo>
                    <a:pt x="1149" y="258"/>
                  </a:lnTo>
                  <a:lnTo>
                    <a:pt x="1153" y="255"/>
                  </a:lnTo>
                  <a:lnTo>
                    <a:pt x="1160" y="252"/>
                  </a:lnTo>
                  <a:lnTo>
                    <a:pt x="1168" y="249"/>
                  </a:lnTo>
                  <a:lnTo>
                    <a:pt x="1173" y="246"/>
                  </a:lnTo>
                  <a:lnTo>
                    <a:pt x="1175" y="244"/>
                  </a:lnTo>
                  <a:lnTo>
                    <a:pt x="1176" y="243"/>
                  </a:lnTo>
                  <a:lnTo>
                    <a:pt x="1176" y="241"/>
                  </a:lnTo>
                  <a:lnTo>
                    <a:pt x="1176" y="240"/>
                  </a:lnTo>
                  <a:lnTo>
                    <a:pt x="1175" y="237"/>
                  </a:lnTo>
                  <a:lnTo>
                    <a:pt x="1172" y="231"/>
                  </a:lnTo>
                  <a:lnTo>
                    <a:pt x="1171" y="225"/>
                  </a:lnTo>
                  <a:lnTo>
                    <a:pt x="1168" y="223"/>
                  </a:lnTo>
                  <a:lnTo>
                    <a:pt x="1165" y="221"/>
                  </a:lnTo>
                  <a:lnTo>
                    <a:pt x="1160" y="219"/>
                  </a:lnTo>
                  <a:lnTo>
                    <a:pt x="1154" y="218"/>
                  </a:lnTo>
                  <a:lnTo>
                    <a:pt x="1139" y="218"/>
                  </a:lnTo>
                  <a:lnTo>
                    <a:pt x="1131" y="218"/>
                  </a:lnTo>
                  <a:lnTo>
                    <a:pt x="1125" y="220"/>
                  </a:lnTo>
                  <a:lnTo>
                    <a:pt x="1124" y="220"/>
                  </a:lnTo>
                  <a:close/>
                  <a:moveTo>
                    <a:pt x="1007" y="218"/>
                  </a:moveTo>
                  <a:lnTo>
                    <a:pt x="1006" y="220"/>
                  </a:lnTo>
                  <a:lnTo>
                    <a:pt x="1005" y="222"/>
                  </a:lnTo>
                  <a:lnTo>
                    <a:pt x="1005" y="223"/>
                  </a:lnTo>
                  <a:lnTo>
                    <a:pt x="1005" y="225"/>
                  </a:lnTo>
                  <a:lnTo>
                    <a:pt x="1007" y="227"/>
                  </a:lnTo>
                  <a:lnTo>
                    <a:pt x="1011" y="228"/>
                  </a:lnTo>
                  <a:lnTo>
                    <a:pt x="1019" y="231"/>
                  </a:lnTo>
                  <a:lnTo>
                    <a:pt x="1024" y="233"/>
                  </a:lnTo>
                  <a:lnTo>
                    <a:pt x="1029" y="235"/>
                  </a:lnTo>
                  <a:lnTo>
                    <a:pt x="1034" y="235"/>
                  </a:lnTo>
                  <a:lnTo>
                    <a:pt x="1036" y="236"/>
                  </a:lnTo>
                  <a:lnTo>
                    <a:pt x="1037" y="237"/>
                  </a:lnTo>
                  <a:lnTo>
                    <a:pt x="1036" y="239"/>
                  </a:lnTo>
                  <a:lnTo>
                    <a:pt x="1032" y="242"/>
                  </a:lnTo>
                  <a:lnTo>
                    <a:pt x="1023" y="247"/>
                  </a:lnTo>
                  <a:lnTo>
                    <a:pt x="1014" y="249"/>
                  </a:lnTo>
                  <a:lnTo>
                    <a:pt x="1012" y="250"/>
                  </a:lnTo>
                  <a:lnTo>
                    <a:pt x="1010" y="251"/>
                  </a:lnTo>
                  <a:lnTo>
                    <a:pt x="1010" y="252"/>
                  </a:lnTo>
                  <a:lnTo>
                    <a:pt x="1010" y="253"/>
                  </a:lnTo>
                  <a:lnTo>
                    <a:pt x="1011" y="255"/>
                  </a:lnTo>
                  <a:lnTo>
                    <a:pt x="1013" y="256"/>
                  </a:lnTo>
                  <a:lnTo>
                    <a:pt x="1015" y="258"/>
                  </a:lnTo>
                  <a:lnTo>
                    <a:pt x="1019" y="258"/>
                  </a:lnTo>
                  <a:lnTo>
                    <a:pt x="1024" y="259"/>
                  </a:lnTo>
                  <a:lnTo>
                    <a:pt x="1030" y="259"/>
                  </a:lnTo>
                  <a:lnTo>
                    <a:pt x="1043" y="254"/>
                  </a:lnTo>
                  <a:lnTo>
                    <a:pt x="1052" y="251"/>
                  </a:lnTo>
                  <a:lnTo>
                    <a:pt x="1056" y="253"/>
                  </a:lnTo>
                  <a:lnTo>
                    <a:pt x="1062" y="254"/>
                  </a:lnTo>
                  <a:lnTo>
                    <a:pt x="1065" y="254"/>
                  </a:lnTo>
                  <a:lnTo>
                    <a:pt x="1067" y="255"/>
                  </a:lnTo>
                  <a:lnTo>
                    <a:pt x="1068" y="256"/>
                  </a:lnTo>
                  <a:lnTo>
                    <a:pt x="1068" y="258"/>
                  </a:lnTo>
                  <a:lnTo>
                    <a:pt x="1067" y="262"/>
                  </a:lnTo>
                  <a:lnTo>
                    <a:pt x="1066" y="264"/>
                  </a:lnTo>
                  <a:lnTo>
                    <a:pt x="1066" y="266"/>
                  </a:lnTo>
                  <a:lnTo>
                    <a:pt x="1067" y="267"/>
                  </a:lnTo>
                  <a:lnTo>
                    <a:pt x="1070" y="268"/>
                  </a:lnTo>
                  <a:lnTo>
                    <a:pt x="1074" y="268"/>
                  </a:lnTo>
                  <a:lnTo>
                    <a:pt x="1081" y="270"/>
                  </a:lnTo>
                  <a:lnTo>
                    <a:pt x="1086" y="271"/>
                  </a:lnTo>
                  <a:lnTo>
                    <a:pt x="1088" y="270"/>
                  </a:lnTo>
                  <a:lnTo>
                    <a:pt x="1089" y="269"/>
                  </a:lnTo>
                  <a:lnTo>
                    <a:pt x="1091" y="267"/>
                  </a:lnTo>
                  <a:lnTo>
                    <a:pt x="1092" y="264"/>
                  </a:lnTo>
                  <a:lnTo>
                    <a:pt x="1094" y="261"/>
                  </a:lnTo>
                  <a:lnTo>
                    <a:pt x="1095" y="256"/>
                  </a:lnTo>
                  <a:lnTo>
                    <a:pt x="1095" y="253"/>
                  </a:lnTo>
                  <a:lnTo>
                    <a:pt x="1095" y="249"/>
                  </a:lnTo>
                  <a:lnTo>
                    <a:pt x="1095" y="243"/>
                  </a:lnTo>
                  <a:lnTo>
                    <a:pt x="1093" y="235"/>
                  </a:lnTo>
                  <a:lnTo>
                    <a:pt x="1092" y="232"/>
                  </a:lnTo>
                  <a:lnTo>
                    <a:pt x="1089" y="230"/>
                  </a:lnTo>
                  <a:lnTo>
                    <a:pt x="1084" y="227"/>
                  </a:lnTo>
                  <a:lnTo>
                    <a:pt x="1078" y="225"/>
                  </a:lnTo>
                  <a:lnTo>
                    <a:pt x="1066" y="222"/>
                  </a:lnTo>
                  <a:lnTo>
                    <a:pt x="1054" y="219"/>
                  </a:lnTo>
                  <a:lnTo>
                    <a:pt x="1043" y="212"/>
                  </a:lnTo>
                  <a:lnTo>
                    <a:pt x="1036" y="208"/>
                  </a:lnTo>
                  <a:lnTo>
                    <a:pt x="1033" y="208"/>
                  </a:lnTo>
                  <a:lnTo>
                    <a:pt x="1029" y="209"/>
                  </a:lnTo>
                  <a:lnTo>
                    <a:pt x="1023" y="210"/>
                  </a:lnTo>
                  <a:lnTo>
                    <a:pt x="1018" y="213"/>
                  </a:lnTo>
                  <a:lnTo>
                    <a:pt x="1009" y="218"/>
                  </a:lnTo>
                  <a:lnTo>
                    <a:pt x="1007" y="218"/>
                  </a:lnTo>
                  <a:close/>
                  <a:moveTo>
                    <a:pt x="875" y="290"/>
                  </a:moveTo>
                  <a:lnTo>
                    <a:pt x="877" y="291"/>
                  </a:lnTo>
                  <a:lnTo>
                    <a:pt x="880" y="292"/>
                  </a:lnTo>
                  <a:lnTo>
                    <a:pt x="884" y="291"/>
                  </a:lnTo>
                  <a:lnTo>
                    <a:pt x="889" y="291"/>
                  </a:lnTo>
                  <a:lnTo>
                    <a:pt x="897" y="289"/>
                  </a:lnTo>
                  <a:lnTo>
                    <a:pt x="901" y="288"/>
                  </a:lnTo>
                  <a:lnTo>
                    <a:pt x="905" y="288"/>
                  </a:lnTo>
                  <a:lnTo>
                    <a:pt x="915" y="287"/>
                  </a:lnTo>
                  <a:lnTo>
                    <a:pt x="919" y="286"/>
                  </a:lnTo>
                  <a:lnTo>
                    <a:pt x="924" y="284"/>
                  </a:lnTo>
                  <a:lnTo>
                    <a:pt x="927" y="283"/>
                  </a:lnTo>
                  <a:lnTo>
                    <a:pt x="930" y="280"/>
                  </a:lnTo>
                  <a:lnTo>
                    <a:pt x="931" y="275"/>
                  </a:lnTo>
                  <a:lnTo>
                    <a:pt x="931" y="269"/>
                  </a:lnTo>
                  <a:lnTo>
                    <a:pt x="930" y="266"/>
                  </a:lnTo>
                  <a:lnTo>
                    <a:pt x="928" y="264"/>
                  </a:lnTo>
                  <a:lnTo>
                    <a:pt x="926" y="262"/>
                  </a:lnTo>
                  <a:lnTo>
                    <a:pt x="923" y="262"/>
                  </a:lnTo>
                  <a:lnTo>
                    <a:pt x="918" y="265"/>
                  </a:lnTo>
                  <a:lnTo>
                    <a:pt x="908" y="272"/>
                  </a:lnTo>
                  <a:lnTo>
                    <a:pt x="897" y="278"/>
                  </a:lnTo>
                  <a:lnTo>
                    <a:pt x="887" y="284"/>
                  </a:lnTo>
                  <a:lnTo>
                    <a:pt x="878" y="289"/>
                  </a:lnTo>
                  <a:lnTo>
                    <a:pt x="875" y="290"/>
                  </a:lnTo>
                  <a:close/>
                  <a:moveTo>
                    <a:pt x="840" y="320"/>
                  </a:moveTo>
                  <a:lnTo>
                    <a:pt x="847" y="320"/>
                  </a:lnTo>
                  <a:lnTo>
                    <a:pt x="855" y="318"/>
                  </a:lnTo>
                  <a:lnTo>
                    <a:pt x="858" y="318"/>
                  </a:lnTo>
                  <a:lnTo>
                    <a:pt x="861" y="318"/>
                  </a:lnTo>
                  <a:lnTo>
                    <a:pt x="864" y="319"/>
                  </a:lnTo>
                  <a:lnTo>
                    <a:pt x="862" y="321"/>
                  </a:lnTo>
                  <a:lnTo>
                    <a:pt x="862" y="324"/>
                  </a:lnTo>
                  <a:lnTo>
                    <a:pt x="864" y="327"/>
                  </a:lnTo>
                  <a:lnTo>
                    <a:pt x="866" y="329"/>
                  </a:lnTo>
                  <a:lnTo>
                    <a:pt x="869" y="330"/>
                  </a:lnTo>
                  <a:lnTo>
                    <a:pt x="876" y="332"/>
                  </a:lnTo>
                  <a:lnTo>
                    <a:pt x="882" y="333"/>
                  </a:lnTo>
                  <a:lnTo>
                    <a:pt x="886" y="332"/>
                  </a:lnTo>
                  <a:lnTo>
                    <a:pt x="890" y="329"/>
                  </a:lnTo>
                  <a:lnTo>
                    <a:pt x="895" y="323"/>
                  </a:lnTo>
                  <a:lnTo>
                    <a:pt x="901" y="318"/>
                  </a:lnTo>
                  <a:lnTo>
                    <a:pt x="911" y="308"/>
                  </a:lnTo>
                  <a:lnTo>
                    <a:pt x="915" y="303"/>
                  </a:lnTo>
                  <a:lnTo>
                    <a:pt x="918" y="301"/>
                  </a:lnTo>
                  <a:lnTo>
                    <a:pt x="925" y="298"/>
                  </a:lnTo>
                  <a:lnTo>
                    <a:pt x="930" y="296"/>
                  </a:lnTo>
                  <a:lnTo>
                    <a:pt x="932" y="294"/>
                  </a:lnTo>
                  <a:lnTo>
                    <a:pt x="934" y="292"/>
                  </a:lnTo>
                  <a:lnTo>
                    <a:pt x="933" y="291"/>
                  </a:lnTo>
                  <a:lnTo>
                    <a:pt x="930" y="290"/>
                  </a:lnTo>
                  <a:lnTo>
                    <a:pt x="924" y="290"/>
                  </a:lnTo>
                  <a:lnTo>
                    <a:pt x="916" y="291"/>
                  </a:lnTo>
                  <a:lnTo>
                    <a:pt x="900" y="297"/>
                  </a:lnTo>
                  <a:lnTo>
                    <a:pt x="888" y="305"/>
                  </a:lnTo>
                  <a:lnTo>
                    <a:pt x="881" y="309"/>
                  </a:lnTo>
                  <a:lnTo>
                    <a:pt x="880" y="310"/>
                  </a:lnTo>
                  <a:lnTo>
                    <a:pt x="878" y="311"/>
                  </a:lnTo>
                  <a:lnTo>
                    <a:pt x="877" y="311"/>
                  </a:lnTo>
                  <a:lnTo>
                    <a:pt x="875" y="310"/>
                  </a:lnTo>
                  <a:lnTo>
                    <a:pt x="867" y="311"/>
                  </a:lnTo>
                  <a:lnTo>
                    <a:pt x="855" y="315"/>
                  </a:lnTo>
                  <a:lnTo>
                    <a:pt x="845" y="318"/>
                  </a:lnTo>
                  <a:lnTo>
                    <a:pt x="840" y="320"/>
                  </a:lnTo>
                  <a:close/>
                  <a:moveTo>
                    <a:pt x="718" y="439"/>
                  </a:moveTo>
                  <a:lnTo>
                    <a:pt x="714" y="441"/>
                  </a:lnTo>
                  <a:lnTo>
                    <a:pt x="707" y="444"/>
                  </a:lnTo>
                  <a:lnTo>
                    <a:pt x="704" y="446"/>
                  </a:lnTo>
                  <a:lnTo>
                    <a:pt x="702" y="447"/>
                  </a:lnTo>
                  <a:lnTo>
                    <a:pt x="699" y="448"/>
                  </a:lnTo>
                  <a:lnTo>
                    <a:pt x="698" y="447"/>
                  </a:lnTo>
                  <a:lnTo>
                    <a:pt x="697" y="446"/>
                  </a:lnTo>
                  <a:lnTo>
                    <a:pt x="696" y="443"/>
                  </a:lnTo>
                  <a:lnTo>
                    <a:pt x="697" y="439"/>
                  </a:lnTo>
                  <a:lnTo>
                    <a:pt x="698" y="434"/>
                  </a:lnTo>
                  <a:lnTo>
                    <a:pt x="701" y="427"/>
                  </a:lnTo>
                  <a:lnTo>
                    <a:pt x="705" y="423"/>
                  </a:lnTo>
                  <a:lnTo>
                    <a:pt x="718" y="413"/>
                  </a:lnTo>
                  <a:lnTo>
                    <a:pt x="742" y="395"/>
                  </a:lnTo>
                  <a:lnTo>
                    <a:pt x="766" y="375"/>
                  </a:lnTo>
                  <a:lnTo>
                    <a:pt x="781" y="363"/>
                  </a:lnTo>
                  <a:lnTo>
                    <a:pt x="787" y="358"/>
                  </a:lnTo>
                  <a:lnTo>
                    <a:pt x="798" y="351"/>
                  </a:lnTo>
                  <a:lnTo>
                    <a:pt x="808" y="344"/>
                  </a:lnTo>
                  <a:lnTo>
                    <a:pt x="816" y="339"/>
                  </a:lnTo>
                  <a:lnTo>
                    <a:pt x="822" y="335"/>
                  </a:lnTo>
                  <a:lnTo>
                    <a:pt x="826" y="332"/>
                  </a:lnTo>
                  <a:lnTo>
                    <a:pt x="828" y="330"/>
                  </a:lnTo>
                  <a:lnTo>
                    <a:pt x="829" y="330"/>
                  </a:lnTo>
                  <a:lnTo>
                    <a:pt x="829" y="331"/>
                  </a:lnTo>
                  <a:lnTo>
                    <a:pt x="829" y="333"/>
                  </a:lnTo>
                  <a:lnTo>
                    <a:pt x="828" y="338"/>
                  </a:lnTo>
                  <a:lnTo>
                    <a:pt x="826" y="344"/>
                  </a:lnTo>
                  <a:lnTo>
                    <a:pt x="824" y="349"/>
                  </a:lnTo>
                  <a:lnTo>
                    <a:pt x="822" y="352"/>
                  </a:lnTo>
                  <a:lnTo>
                    <a:pt x="812" y="360"/>
                  </a:lnTo>
                  <a:lnTo>
                    <a:pt x="804" y="371"/>
                  </a:lnTo>
                  <a:lnTo>
                    <a:pt x="803" y="375"/>
                  </a:lnTo>
                  <a:lnTo>
                    <a:pt x="802" y="380"/>
                  </a:lnTo>
                  <a:lnTo>
                    <a:pt x="800" y="386"/>
                  </a:lnTo>
                  <a:lnTo>
                    <a:pt x="793" y="393"/>
                  </a:lnTo>
                  <a:lnTo>
                    <a:pt x="787" y="400"/>
                  </a:lnTo>
                  <a:lnTo>
                    <a:pt x="782" y="406"/>
                  </a:lnTo>
                  <a:lnTo>
                    <a:pt x="779" y="408"/>
                  </a:lnTo>
                  <a:lnTo>
                    <a:pt x="777" y="410"/>
                  </a:lnTo>
                  <a:lnTo>
                    <a:pt x="774" y="410"/>
                  </a:lnTo>
                  <a:lnTo>
                    <a:pt x="773" y="410"/>
                  </a:lnTo>
                  <a:lnTo>
                    <a:pt x="772" y="405"/>
                  </a:lnTo>
                  <a:lnTo>
                    <a:pt x="773" y="397"/>
                  </a:lnTo>
                  <a:lnTo>
                    <a:pt x="773" y="394"/>
                  </a:lnTo>
                  <a:lnTo>
                    <a:pt x="772" y="393"/>
                  </a:lnTo>
                  <a:lnTo>
                    <a:pt x="771" y="393"/>
                  </a:lnTo>
                  <a:lnTo>
                    <a:pt x="768" y="395"/>
                  </a:lnTo>
                  <a:lnTo>
                    <a:pt x="757" y="407"/>
                  </a:lnTo>
                  <a:lnTo>
                    <a:pt x="744" y="423"/>
                  </a:lnTo>
                  <a:lnTo>
                    <a:pt x="738" y="431"/>
                  </a:lnTo>
                  <a:lnTo>
                    <a:pt x="732" y="440"/>
                  </a:lnTo>
                  <a:lnTo>
                    <a:pt x="726" y="445"/>
                  </a:lnTo>
                  <a:lnTo>
                    <a:pt x="722" y="448"/>
                  </a:lnTo>
                  <a:lnTo>
                    <a:pt x="720" y="448"/>
                  </a:lnTo>
                  <a:lnTo>
                    <a:pt x="720" y="446"/>
                  </a:lnTo>
                  <a:lnTo>
                    <a:pt x="721" y="444"/>
                  </a:lnTo>
                  <a:lnTo>
                    <a:pt x="721" y="442"/>
                  </a:lnTo>
                  <a:lnTo>
                    <a:pt x="724" y="437"/>
                  </a:lnTo>
                  <a:lnTo>
                    <a:pt x="725" y="434"/>
                  </a:lnTo>
                  <a:lnTo>
                    <a:pt x="722" y="437"/>
                  </a:lnTo>
                  <a:lnTo>
                    <a:pt x="718" y="439"/>
                  </a:lnTo>
                  <a:close/>
                  <a:moveTo>
                    <a:pt x="748" y="451"/>
                  </a:moveTo>
                  <a:lnTo>
                    <a:pt x="755" y="448"/>
                  </a:lnTo>
                  <a:lnTo>
                    <a:pt x="760" y="444"/>
                  </a:lnTo>
                  <a:lnTo>
                    <a:pt x="763" y="441"/>
                  </a:lnTo>
                  <a:lnTo>
                    <a:pt x="765" y="439"/>
                  </a:lnTo>
                  <a:lnTo>
                    <a:pt x="766" y="435"/>
                  </a:lnTo>
                  <a:lnTo>
                    <a:pt x="767" y="431"/>
                  </a:lnTo>
                  <a:lnTo>
                    <a:pt x="769" y="425"/>
                  </a:lnTo>
                  <a:lnTo>
                    <a:pt x="770" y="419"/>
                  </a:lnTo>
                  <a:lnTo>
                    <a:pt x="771" y="418"/>
                  </a:lnTo>
                  <a:lnTo>
                    <a:pt x="771" y="417"/>
                  </a:lnTo>
                  <a:lnTo>
                    <a:pt x="770" y="417"/>
                  </a:lnTo>
                  <a:lnTo>
                    <a:pt x="769" y="418"/>
                  </a:lnTo>
                  <a:lnTo>
                    <a:pt x="756" y="429"/>
                  </a:lnTo>
                  <a:lnTo>
                    <a:pt x="744" y="440"/>
                  </a:lnTo>
                  <a:lnTo>
                    <a:pt x="742" y="448"/>
                  </a:lnTo>
                  <a:lnTo>
                    <a:pt x="743" y="453"/>
                  </a:lnTo>
                  <a:lnTo>
                    <a:pt x="746" y="451"/>
                  </a:lnTo>
                  <a:lnTo>
                    <a:pt x="748" y="451"/>
                  </a:lnTo>
                  <a:close/>
                  <a:moveTo>
                    <a:pt x="766" y="454"/>
                  </a:moveTo>
                  <a:lnTo>
                    <a:pt x="768" y="456"/>
                  </a:lnTo>
                  <a:lnTo>
                    <a:pt x="771" y="457"/>
                  </a:lnTo>
                  <a:lnTo>
                    <a:pt x="776" y="459"/>
                  </a:lnTo>
                  <a:lnTo>
                    <a:pt x="782" y="460"/>
                  </a:lnTo>
                  <a:lnTo>
                    <a:pt x="787" y="461"/>
                  </a:lnTo>
                  <a:lnTo>
                    <a:pt x="792" y="461"/>
                  </a:lnTo>
                  <a:lnTo>
                    <a:pt x="798" y="460"/>
                  </a:lnTo>
                  <a:lnTo>
                    <a:pt x="801" y="459"/>
                  </a:lnTo>
                  <a:lnTo>
                    <a:pt x="806" y="453"/>
                  </a:lnTo>
                  <a:lnTo>
                    <a:pt x="815" y="446"/>
                  </a:lnTo>
                  <a:lnTo>
                    <a:pt x="820" y="442"/>
                  </a:lnTo>
                  <a:lnTo>
                    <a:pt x="823" y="440"/>
                  </a:lnTo>
                  <a:lnTo>
                    <a:pt x="826" y="439"/>
                  </a:lnTo>
                  <a:lnTo>
                    <a:pt x="827" y="439"/>
                  </a:lnTo>
                  <a:lnTo>
                    <a:pt x="828" y="440"/>
                  </a:lnTo>
                  <a:lnTo>
                    <a:pt x="830" y="441"/>
                  </a:lnTo>
                  <a:lnTo>
                    <a:pt x="833" y="441"/>
                  </a:lnTo>
                  <a:lnTo>
                    <a:pt x="836" y="441"/>
                  </a:lnTo>
                  <a:lnTo>
                    <a:pt x="844" y="441"/>
                  </a:lnTo>
                  <a:lnTo>
                    <a:pt x="849" y="441"/>
                  </a:lnTo>
                  <a:lnTo>
                    <a:pt x="854" y="440"/>
                  </a:lnTo>
                  <a:lnTo>
                    <a:pt x="860" y="440"/>
                  </a:lnTo>
                  <a:lnTo>
                    <a:pt x="862" y="440"/>
                  </a:lnTo>
                  <a:lnTo>
                    <a:pt x="865" y="440"/>
                  </a:lnTo>
                  <a:lnTo>
                    <a:pt x="866" y="440"/>
                  </a:lnTo>
                  <a:lnTo>
                    <a:pt x="865" y="442"/>
                  </a:lnTo>
                  <a:lnTo>
                    <a:pt x="857" y="445"/>
                  </a:lnTo>
                  <a:lnTo>
                    <a:pt x="848" y="447"/>
                  </a:lnTo>
                  <a:lnTo>
                    <a:pt x="843" y="449"/>
                  </a:lnTo>
                  <a:lnTo>
                    <a:pt x="838" y="451"/>
                  </a:lnTo>
                  <a:lnTo>
                    <a:pt x="834" y="453"/>
                  </a:lnTo>
                  <a:lnTo>
                    <a:pt x="831" y="456"/>
                  </a:lnTo>
                  <a:lnTo>
                    <a:pt x="824" y="463"/>
                  </a:lnTo>
                  <a:lnTo>
                    <a:pt x="812" y="469"/>
                  </a:lnTo>
                  <a:lnTo>
                    <a:pt x="803" y="475"/>
                  </a:lnTo>
                  <a:lnTo>
                    <a:pt x="800" y="479"/>
                  </a:lnTo>
                  <a:lnTo>
                    <a:pt x="801" y="481"/>
                  </a:lnTo>
                  <a:lnTo>
                    <a:pt x="803" y="482"/>
                  </a:lnTo>
                  <a:lnTo>
                    <a:pt x="805" y="483"/>
                  </a:lnTo>
                  <a:lnTo>
                    <a:pt x="809" y="483"/>
                  </a:lnTo>
                  <a:lnTo>
                    <a:pt x="816" y="484"/>
                  </a:lnTo>
                  <a:lnTo>
                    <a:pt x="825" y="482"/>
                  </a:lnTo>
                  <a:lnTo>
                    <a:pt x="831" y="482"/>
                  </a:lnTo>
                  <a:lnTo>
                    <a:pt x="838" y="481"/>
                  </a:lnTo>
                  <a:lnTo>
                    <a:pt x="842" y="479"/>
                  </a:lnTo>
                  <a:lnTo>
                    <a:pt x="846" y="477"/>
                  </a:lnTo>
                  <a:lnTo>
                    <a:pt x="852" y="473"/>
                  </a:lnTo>
                  <a:lnTo>
                    <a:pt x="858" y="468"/>
                  </a:lnTo>
                  <a:lnTo>
                    <a:pt x="872" y="455"/>
                  </a:lnTo>
                  <a:lnTo>
                    <a:pt x="883" y="444"/>
                  </a:lnTo>
                  <a:lnTo>
                    <a:pt x="889" y="441"/>
                  </a:lnTo>
                  <a:lnTo>
                    <a:pt x="893" y="438"/>
                  </a:lnTo>
                  <a:lnTo>
                    <a:pt x="896" y="437"/>
                  </a:lnTo>
                  <a:lnTo>
                    <a:pt x="899" y="437"/>
                  </a:lnTo>
                  <a:lnTo>
                    <a:pt x="903" y="440"/>
                  </a:lnTo>
                  <a:lnTo>
                    <a:pt x="904" y="444"/>
                  </a:lnTo>
                  <a:lnTo>
                    <a:pt x="905" y="445"/>
                  </a:lnTo>
                  <a:lnTo>
                    <a:pt x="908" y="445"/>
                  </a:lnTo>
                  <a:lnTo>
                    <a:pt x="909" y="445"/>
                  </a:lnTo>
                  <a:lnTo>
                    <a:pt x="912" y="444"/>
                  </a:lnTo>
                  <a:lnTo>
                    <a:pt x="918" y="441"/>
                  </a:lnTo>
                  <a:lnTo>
                    <a:pt x="924" y="440"/>
                  </a:lnTo>
                  <a:lnTo>
                    <a:pt x="930" y="440"/>
                  </a:lnTo>
                  <a:lnTo>
                    <a:pt x="932" y="440"/>
                  </a:lnTo>
                  <a:lnTo>
                    <a:pt x="932" y="441"/>
                  </a:lnTo>
                  <a:lnTo>
                    <a:pt x="934" y="442"/>
                  </a:lnTo>
                  <a:lnTo>
                    <a:pt x="935" y="443"/>
                  </a:lnTo>
                  <a:lnTo>
                    <a:pt x="936" y="442"/>
                  </a:lnTo>
                  <a:lnTo>
                    <a:pt x="938" y="441"/>
                  </a:lnTo>
                  <a:lnTo>
                    <a:pt x="940" y="438"/>
                  </a:lnTo>
                  <a:lnTo>
                    <a:pt x="949" y="424"/>
                  </a:lnTo>
                  <a:lnTo>
                    <a:pt x="954" y="418"/>
                  </a:lnTo>
                  <a:lnTo>
                    <a:pt x="956" y="416"/>
                  </a:lnTo>
                  <a:lnTo>
                    <a:pt x="961" y="410"/>
                  </a:lnTo>
                  <a:lnTo>
                    <a:pt x="963" y="407"/>
                  </a:lnTo>
                  <a:lnTo>
                    <a:pt x="965" y="403"/>
                  </a:lnTo>
                  <a:lnTo>
                    <a:pt x="966" y="399"/>
                  </a:lnTo>
                  <a:lnTo>
                    <a:pt x="965" y="395"/>
                  </a:lnTo>
                  <a:lnTo>
                    <a:pt x="964" y="386"/>
                  </a:lnTo>
                  <a:lnTo>
                    <a:pt x="962" y="378"/>
                  </a:lnTo>
                  <a:lnTo>
                    <a:pt x="961" y="376"/>
                  </a:lnTo>
                  <a:lnTo>
                    <a:pt x="958" y="375"/>
                  </a:lnTo>
                  <a:lnTo>
                    <a:pt x="955" y="377"/>
                  </a:lnTo>
                  <a:lnTo>
                    <a:pt x="949" y="380"/>
                  </a:lnTo>
                  <a:lnTo>
                    <a:pt x="941" y="388"/>
                  </a:lnTo>
                  <a:lnTo>
                    <a:pt x="937" y="391"/>
                  </a:lnTo>
                  <a:lnTo>
                    <a:pt x="934" y="391"/>
                  </a:lnTo>
                  <a:lnTo>
                    <a:pt x="932" y="388"/>
                  </a:lnTo>
                  <a:lnTo>
                    <a:pt x="928" y="384"/>
                  </a:lnTo>
                  <a:lnTo>
                    <a:pt x="924" y="379"/>
                  </a:lnTo>
                  <a:lnTo>
                    <a:pt x="923" y="377"/>
                  </a:lnTo>
                  <a:lnTo>
                    <a:pt x="922" y="374"/>
                  </a:lnTo>
                  <a:lnTo>
                    <a:pt x="921" y="372"/>
                  </a:lnTo>
                  <a:lnTo>
                    <a:pt x="922" y="371"/>
                  </a:lnTo>
                  <a:lnTo>
                    <a:pt x="925" y="365"/>
                  </a:lnTo>
                  <a:lnTo>
                    <a:pt x="928" y="361"/>
                  </a:lnTo>
                  <a:lnTo>
                    <a:pt x="930" y="358"/>
                  </a:lnTo>
                  <a:lnTo>
                    <a:pt x="930" y="356"/>
                  </a:lnTo>
                  <a:lnTo>
                    <a:pt x="930" y="354"/>
                  </a:lnTo>
                  <a:lnTo>
                    <a:pt x="927" y="352"/>
                  </a:lnTo>
                  <a:lnTo>
                    <a:pt x="925" y="351"/>
                  </a:lnTo>
                  <a:lnTo>
                    <a:pt x="924" y="350"/>
                  </a:lnTo>
                  <a:lnTo>
                    <a:pt x="922" y="350"/>
                  </a:lnTo>
                  <a:lnTo>
                    <a:pt x="920" y="351"/>
                  </a:lnTo>
                  <a:lnTo>
                    <a:pt x="915" y="354"/>
                  </a:lnTo>
                  <a:lnTo>
                    <a:pt x="906" y="359"/>
                  </a:lnTo>
                  <a:lnTo>
                    <a:pt x="902" y="361"/>
                  </a:lnTo>
                  <a:lnTo>
                    <a:pt x="899" y="364"/>
                  </a:lnTo>
                  <a:lnTo>
                    <a:pt x="897" y="367"/>
                  </a:lnTo>
                  <a:lnTo>
                    <a:pt x="895" y="371"/>
                  </a:lnTo>
                  <a:lnTo>
                    <a:pt x="894" y="374"/>
                  </a:lnTo>
                  <a:lnTo>
                    <a:pt x="894" y="376"/>
                  </a:lnTo>
                  <a:lnTo>
                    <a:pt x="897" y="381"/>
                  </a:lnTo>
                  <a:lnTo>
                    <a:pt x="900" y="390"/>
                  </a:lnTo>
                  <a:lnTo>
                    <a:pt x="898" y="394"/>
                  </a:lnTo>
                  <a:lnTo>
                    <a:pt x="895" y="397"/>
                  </a:lnTo>
                  <a:lnTo>
                    <a:pt x="893" y="398"/>
                  </a:lnTo>
                  <a:lnTo>
                    <a:pt x="892" y="399"/>
                  </a:lnTo>
                  <a:lnTo>
                    <a:pt x="892" y="400"/>
                  </a:lnTo>
                  <a:lnTo>
                    <a:pt x="893" y="401"/>
                  </a:lnTo>
                  <a:lnTo>
                    <a:pt x="896" y="402"/>
                  </a:lnTo>
                  <a:lnTo>
                    <a:pt x="900" y="402"/>
                  </a:lnTo>
                  <a:lnTo>
                    <a:pt x="902" y="402"/>
                  </a:lnTo>
                  <a:lnTo>
                    <a:pt x="903" y="403"/>
                  </a:lnTo>
                  <a:lnTo>
                    <a:pt x="903" y="404"/>
                  </a:lnTo>
                  <a:lnTo>
                    <a:pt x="902" y="406"/>
                  </a:lnTo>
                  <a:lnTo>
                    <a:pt x="899" y="412"/>
                  </a:lnTo>
                  <a:lnTo>
                    <a:pt x="895" y="420"/>
                  </a:lnTo>
                  <a:lnTo>
                    <a:pt x="892" y="422"/>
                  </a:lnTo>
                  <a:lnTo>
                    <a:pt x="890" y="424"/>
                  </a:lnTo>
                  <a:lnTo>
                    <a:pt x="888" y="425"/>
                  </a:lnTo>
                  <a:lnTo>
                    <a:pt x="886" y="425"/>
                  </a:lnTo>
                  <a:lnTo>
                    <a:pt x="872" y="419"/>
                  </a:lnTo>
                  <a:lnTo>
                    <a:pt x="861" y="413"/>
                  </a:lnTo>
                  <a:lnTo>
                    <a:pt x="860" y="409"/>
                  </a:lnTo>
                  <a:lnTo>
                    <a:pt x="859" y="403"/>
                  </a:lnTo>
                  <a:lnTo>
                    <a:pt x="858" y="400"/>
                  </a:lnTo>
                  <a:lnTo>
                    <a:pt x="856" y="398"/>
                  </a:lnTo>
                  <a:lnTo>
                    <a:pt x="854" y="395"/>
                  </a:lnTo>
                  <a:lnTo>
                    <a:pt x="851" y="394"/>
                  </a:lnTo>
                  <a:lnTo>
                    <a:pt x="844" y="389"/>
                  </a:lnTo>
                  <a:lnTo>
                    <a:pt x="838" y="384"/>
                  </a:lnTo>
                  <a:lnTo>
                    <a:pt x="835" y="382"/>
                  </a:lnTo>
                  <a:lnTo>
                    <a:pt x="832" y="382"/>
                  </a:lnTo>
                  <a:lnTo>
                    <a:pt x="829" y="383"/>
                  </a:lnTo>
                  <a:lnTo>
                    <a:pt x="825" y="386"/>
                  </a:lnTo>
                  <a:lnTo>
                    <a:pt x="809" y="399"/>
                  </a:lnTo>
                  <a:lnTo>
                    <a:pt x="803" y="406"/>
                  </a:lnTo>
                  <a:lnTo>
                    <a:pt x="799" y="409"/>
                  </a:lnTo>
                  <a:lnTo>
                    <a:pt x="792" y="411"/>
                  </a:lnTo>
                  <a:lnTo>
                    <a:pt x="789" y="412"/>
                  </a:lnTo>
                  <a:lnTo>
                    <a:pt x="787" y="415"/>
                  </a:lnTo>
                  <a:lnTo>
                    <a:pt x="786" y="417"/>
                  </a:lnTo>
                  <a:lnTo>
                    <a:pt x="787" y="420"/>
                  </a:lnTo>
                  <a:lnTo>
                    <a:pt x="790" y="423"/>
                  </a:lnTo>
                  <a:lnTo>
                    <a:pt x="793" y="425"/>
                  </a:lnTo>
                  <a:lnTo>
                    <a:pt x="796" y="426"/>
                  </a:lnTo>
                  <a:lnTo>
                    <a:pt x="800" y="427"/>
                  </a:lnTo>
                  <a:lnTo>
                    <a:pt x="803" y="428"/>
                  </a:lnTo>
                  <a:lnTo>
                    <a:pt x="804" y="429"/>
                  </a:lnTo>
                  <a:lnTo>
                    <a:pt x="804" y="429"/>
                  </a:lnTo>
                  <a:lnTo>
                    <a:pt x="802" y="431"/>
                  </a:lnTo>
                  <a:lnTo>
                    <a:pt x="789" y="438"/>
                  </a:lnTo>
                  <a:lnTo>
                    <a:pt x="779" y="443"/>
                  </a:lnTo>
                  <a:lnTo>
                    <a:pt x="770" y="450"/>
                  </a:lnTo>
                  <a:lnTo>
                    <a:pt x="766" y="454"/>
                  </a:lnTo>
                  <a:close/>
                  <a:moveTo>
                    <a:pt x="986" y="531"/>
                  </a:moveTo>
                  <a:lnTo>
                    <a:pt x="988" y="536"/>
                  </a:lnTo>
                  <a:lnTo>
                    <a:pt x="993" y="542"/>
                  </a:lnTo>
                  <a:lnTo>
                    <a:pt x="1002" y="549"/>
                  </a:lnTo>
                  <a:lnTo>
                    <a:pt x="1010" y="556"/>
                  </a:lnTo>
                  <a:lnTo>
                    <a:pt x="1019" y="562"/>
                  </a:lnTo>
                  <a:lnTo>
                    <a:pt x="1026" y="570"/>
                  </a:lnTo>
                  <a:lnTo>
                    <a:pt x="1032" y="575"/>
                  </a:lnTo>
                  <a:lnTo>
                    <a:pt x="1035" y="580"/>
                  </a:lnTo>
                  <a:lnTo>
                    <a:pt x="1036" y="588"/>
                  </a:lnTo>
                  <a:lnTo>
                    <a:pt x="1037" y="597"/>
                  </a:lnTo>
                  <a:lnTo>
                    <a:pt x="1037" y="600"/>
                  </a:lnTo>
                  <a:lnTo>
                    <a:pt x="1039" y="603"/>
                  </a:lnTo>
                  <a:lnTo>
                    <a:pt x="1041" y="604"/>
                  </a:lnTo>
                  <a:lnTo>
                    <a:pt x="1043" y="604"/>
                  </a:lnTo>
                  <a:lnTo>
                    <a:pt x="1050" y="601"/>
                  </a:lnTo>
                  <a:lnTo>
                    <a:pt x="1059" y="595"/>
                  </a:lnTo>
                  <a:lnTo>
                    <a:pt x="1069" y="586"/>
                  </a:lnTo>
                  <a:lnTo>
                    <a:pt x="1074" y="581"/>
                  </a:lnTo>
                  <a:lnTo>
                    <a:pt x="1079" y="574"/>
                  </a:lnTo>
                  <a:lnTo>
                    <a:pt x="1086" y="561"/>
                  </a:lnTo>
                  <a:lnTo>
                    <a:pt x="1089" y="554"/>
                  </a:lnTo>
                  <a:lnTo>
                    <a:pt x="1091" y="548"/>
                  </a:lnTo>
                  <a:lnTo>
                    <a:pt x="1091" y="541"/>
                  </a:lnTo>
                  <a:lnTo>
                    <a:pt x="1090" y="536"/>
                  </a:lnTo>
                  <a:lnTo>
                    <a:pt x="1086" y="532"/>
                  </a:lnTo>
                  <a:lnTo>
                    <a:pt x="1081" y="529"/>
                  </a:lnTo>
                  <a:lnTo>
                    <a:pt x="1076" y="526"/>
                  </a:lnTo>
                  <a:lnTo>
                    <a:pt x="1071" y="523"/>
                  </a:lnTo>
                  <a:lnTo>
                    <a:pt x="1067" y="520"/>
                  </a:lnTo>
                  <a:lnTo>
                    <a:pt x="1065" y="518"/>
                  </a:lnTo>
                  <a:lnTo>
                    <a:pt x="1064" y="516"/>
                  </a:lnTo>
                  <a:lnTo>
                    <a:pt x="1064" y="515"/>
                  </a:lnTo>
                  <a:lnTo>
                    <a:pt x="1064" y="514"/>
                  </a:lnTo>
                  <a:lnTo>
                    <a:pt x="1065" y="512"/>
                  </a:lnTo>
                  <a:lnTo>
                    <a:pt x="1071" y="504"/>
                  </a:lnTo>
                  <a:lnTo>
                    <a:pt x="1077" y="492"/>
                  </a:lnTo>
                  <a:lnTo>
                    <a:pt x="1083" y="483"/>
                  </a:lnTo>
                  <a:lnTo>
                    <a:pt x="1084" y="476"/>
                  </a:lnTo>
                  <a:lnTo>
                    <a:pt x="1085" y="471"/>
                  </a:lnTo>
                  <a:lnTo>
                    <a:pt x="1086" y="464"/>
                  </a:lnTo>
                  <a:lnTo>
                    <a:pt x="1085" y="461"/>
                  </a:lnTo>
                  <a:lnTo>
                    <a:pt x="1084" y="459"/>
                  </a:lnTo>
                  <a:lnTo>
                    <a:pt x="1083" y="457"/>
                  </a:lnTo>
                  <a:lnTo>
                    <a:pt x="1078" y="459"/>
                  </a:lnTo>
                  <a:lnTo>
                    <a:pt x="1074" y="463"/>
                  </a:lnTo>
                  <a:lnTo>
                    <a:pt x="1071" y="467"/>
                  </a:lnTo>
                  <a:lnTo>
                    <a:pt x="1068" y="473"/>
                  </a:lnTo>
                  <a:lnTo>
                    <a:pt x="1065" y="478"/>
                  </a:lnTo>
                  <a:lnTo>
                    <a:pt x="1062" y="484"/>
                  </a:lnTo>
                  <a:lnTo>
                    <a:pt x="1058" y="488"/>
                  </a:lnTo>
                  <a:lnTo>
                    <a:pt x="1056" y="489"/>
                  </a:lnTo>
                  <a:lnTo>
                    <a:pt x="1055" y="489"/>
                  </a:lnTo>
                  <a:lnTo>
                    <a:pt x="1053" y="489"/>
                  </a:lnTo>
                  <a:lnTo>
                    <a:pt x="1052" y="488"/>
                  </a:lnTo>
                  <a:lnTo>
                    <a:pt x="1047" y="482"/>
                  </a:lnTo>
                  <a:lnTo>
                    <a:pt x="1043" y="475"/>
                  </a:lnTo>
                  <a:lnTo>
                    <a:pt x="1042" y="474"/>
                  </a:lnTo>
                  <a:lnTo>
                    <a:pt x="1040" y="474"/>
                  </a:lnTo>
                  <a:lnTo>
                    <a:pt x="1037" y="475"/>
                  </a:lnTo>
                  <a:lnTo>
                    <a:pt x="1034" y="478"/>
                  </a:lnTo>
                  <a:lnTo>
                    <a:pt x="1028" y="486"/>
                  </a:lnTo>
                  <a:lnTo>
                    <a:pt x="1022" y="490"/>
                  </a:lnTo>
                  <a:lnTo>
                    <a:pt x="1019" y="492"/>
                  </a:lnTo>
                  <a:lnTo>
                    <a:pt x="1017" y="493"/>
                  </a:lnTo>
                  <a:lnTo>
                    <a:pt x="1015" y="495"/>
                  </a:lnTo>
                  <a:lnTo>
                    <a:pt x="1015" y="497"/>
                  </a:lnTo>
                  <a:lnTo>
                    <a:pt x="1017" y="500"/>
                  </a:lnTo>
                  <a:lnTo>
                    <a:pt x="1018" y="505"/>
                  </a:lnTo>
                  <a:lnTo>
                    <a:pt x="1020" y="508"/>
                  </a:lnTo>
                  <a:lnTo>
                    <a:pt x="1023" y="512"/>
                  </a:lnTo>
                  <a:lnTo>
                    <a:pt x="1027" y="518"/>
                  </a:lnTo>
                  <a:lnTo>
                    <a:pt x="1030" y="522"/>
                  </a:lnTo>
                  <a:lnTo>
                    <a:pt x="1028" y="527"/>
                  </a:lnTo>
                  <a:lnTo>
                    <a:pt x="1023" y="533"/>
                  </a:lnTo>
                  <a:lnTo>
                    <a:pt x="1021" y="535"/>
                  </a:lnTo>
                  <a:lnTo>
                    <a:pt x="1018" y="537"/>
                  </a:lnTo>
                  <a:lnTo>
                    <a:pt x="1015" y="537"/>
                  </a:lnTo>
                  <a:lnTo>
                    <a:pt x="1013" y="536"/>
                  </a:lnTo>
                  <a:lnTo>
                    <a:pt x="998" y="530"/>
                  </a:lnTo>
                  <a:lnTo>
                    <a:pt x="988" y="527"/>
                  </a:lnTo>
                  <a:lnTo>
                    <a:pt x="986" y="529"/>
                  </a:lnTo>
                  <a:lnTo>
                    <a:pt x="986" y="531"/>
                  </a:lnTo>
                  <a:close/>
                  <a:moveTo>
                    <a:pt x="705" y="596"/>
                  </a:moveTo>
                  <a:lnTo>
                    <a:pt x="719" y="585"/>
                  </a:lnTo>
                  <a:lnTo>
                    <a:pt x="740" y="570"/>
                  </a:lnTo>
                  <a:lnTo>
                    <a:pt x="751" y="561"/>
                  </a:lnTo>
                  <a:lnTo>
                    <a:pt x="761" y="554"/>
                  </a:lnTo>
                  <a:lnTo>
                    <a:pt x="768" y="548"/>
                  </a:lnTo>
                  <a:lnTo>
                    <a:pt x="771" y="543"/>
                  </a:lnTo>
                  <a:lnTo>
                    <a:pt x="772" y="539"/>
                  </a:lnTo>
                  <a:lnTo>
                    <a:pt x="773" y="536"/>
                  </a:lnTo>
                  <a:lnTo>
                    <a:pt x="773" y="533"/>
                  </a:lnTo>
                  <a:lnTo>
                    <a:pt x="772" y="530"/>
                  </a:lnTo>
                  <a:lnTo>
                    <a:pt x="770" y="526"/>
                  </a:lnTo>
                  <a:lnTo>
                    <a:pt x="767" y="522"/>
                  </a:lnTo>
                  <a:lnTo>
                    <a:pt x="762" y="519"/>
                  </a:lnTo>
                  <a:lnTo>
                    <a:pt x="755" y="516"/>
                  </a:lnTo>
                  <a:lnTo>
                    <a:pt x="745" y="511"/>
                  </a:lnTo>
                  <a:lnTo>
                    <a:pt x="742" y="509"/>
                  </a:lnTo>
                  <a:lnTo>
                    <a:pt x="740" y="509"/>
                  </a:lnTo>
                  <a:lnTo>
                    <a:pt x="733" y="514"/>
                  </a:lnTo>
                  <a:lnTo>
                    <a:pt x="724" y="520"/>
                  </a:lnTo>
                  <a:lnTo>
                    <a:pt x="717" y="523"/>
                  </a:lnTo>
                  <a:lnTo>
                    <a:pt x="713" y="526"/>
                  </a:lnTo>
                  <a:lnTo>
                    <a:pt x="712" y="526"/>
                  </a:lnTo>
                  <a:lnTo>
                    <a:pt x="711" y="521"/>
                  </a:lnTo>
                  <a:lnTo>
                    <a:pt x="708" y="514"/>
                  </a:lnTo>
                  <a:lnTo>
                    <a:pt x="706" y="510"/>
                  </a:lnTo>
                  <a:lnTo>
                    <a:pt x="704" y="507"/>
                  </a:lnTo>
                  <a:lnTo>
                    <a:pt x="702" y="506"/>
                  </a:lnTo>
                  <a:lnTo>
                    <a:pt x="699" y="506"/>
                  </a:lnTo>
                  <a:lnTo>
                    <a:pt x="697" y="506"/>
                  </a:lnTo>
                  <a:lnTo>
                    <a:pt x="694" y="506"/>
                  </a:lnTo>
                  <a:lnTo>
                    <a:pt x="679" y="512"/>
                  </a:lnTo>
                  <a:lnTo>
                    <a:pt x="672" y="515"/>
                  </a:lnTo>
                  <a:lnTo>
                    <a:pt x="667" y="517"/>
                  </a:lnTo>
                  <a:lnTo>
                    <a:pt x="657" y="519"/>
                  </a:lnTo>
                  <a:lnTo>
                    <a:pt x="653" y="521"/>
                  </a:lnTo>
                  <a:lnTo>
                    <a:pt x="649" y="523"/>
                  </a:lnTo>
                  <a:lnTo>
                    <a:pt x="646" y="527"/>
                  </a:lnTo>
                  <a:lnTo>
                    <a:pt x="644" y="530"/>
                  </a:lnTo>
                  <a:lnTo>
                    <a:pt x="644" y="533"/>
                  </a:lnTo>
                  <a:lnTo>
                    <a:pt x="646" y="534"/>
                  </a:lnTo>
                  <a:lnTo>
                    <a:pt x="649" y="535"/>
                  </a:lnTo>
                  <a:lnTo>
                    <a:pt x="651" y="536"/>
                  </a:lnTo>
                  <a:lnTo>
                    <a:pt x="654" y="536"/>
                  </a:lnTo>
                  <a:lnTo>
                    <a:pt x="655" y="538"/>
                  </a:lnTo>
                  <a:lnTo>
                    <a:pt x="655" y="540"/>
                  </a:lnTo>
                  <a:lnTo>
                    <a:pt x="653" y="545"/>
                  </a:lnTo>
                  <a:lnTo>
                    <a:pt x="638" y="562"/>
                  </a:lnTo>
                  <a:lnTo>
                    <a:pt x="632" y="572"/>
                  </a:lnTo>
                  <a:lnTo>
                    <a:pt x="631" y="577"/>
                  </a:lnTo>
                  <a:lnTo>
                    <a:pt x="631" y="583"/>
                  </a:lnTo>
                  <a:lnTo>
                    <a:pt x="630" y="586"/>
                  </a:lnTo>
                  <a:lnTo>
                    <a:pt x="629" y="590"/>
                  </a:lnTo>
                  <a:lnTo>
                    <a:pt x="628" y="593"/>
                  </a:lnTo>
                  <a:lnTo>
                    <a:pt x="625" y="596"/>
                  </a:lnTo>
                  <a:lnTo>
                    <a:pt x="617" y="604"/>
                  </a:lnTo>
                  <a:lnTo>
                    <a:pt x="610" y="614"/>
                  </a:lnTo>
                  <a:lnTo>
                    <a:pt x="607" y="619"/>
                  </a:lnTo>
                  <a:lnTo>
                    <a:pt x="604" y="623"/>
                  </a:lnTo>
                  <a:lnTo>
                    <a:pt x="603" y="626"/>
                  </a:lnTo>
                  <a:lnTo>
                    <a:pt x="602" y="629"/>
                  </a:lnTo>
                  <a:lnTo>
                    <a:pt x="602" y="634"/>
                  </a:lnTo>
                  <a:lnTo>
                    <a:pt x="601" y="639"/>
                  </a:lnTo>
                  <a:lnTo>
                    <a:pt x="602" y="642"/>
                  </a:lnTo>
                  <a:lnTo>
                    <a:pt x="603" y="645"/>
                  </a:lnTo>
                  <a:lnTo>
                    <a:pt x="605" y="647"/>
                  </a:lnTo>
                  <a:lnTo>
                    <a:pt x="608" y="650"/>
                  </a:lnTo>
                  <a:lnTo>
                    <a:pt x="616" y="654"/>
                  </a:lnTo>
                  <a:lnTo>
                    <a:pt x="623" y="658"/>
                  </a:lnTo>
                  <a:lnTo>
                    <a:pt x="626" y="660"/>
                  </a:lnTo>
                  <a:lnTo>
                    <a:pt x="627" y="662"/>
                  </a:lnTo>
                  <a:lnTo>
                    <a:pt x="628" y="664"/>
                  </a:lnTo>
                  <a:lnTo>
                    <a:pt x="628" y="666"/>
                  </a:lnTo>
                  <a:lnTo>
                    <a:pt x="627" y="671"/>
                  </a:lnTo>
                  <a:lnTo>
                    <a:pt x="628" y="676"/>
                  </a:lnTo>
                  <a:lnTo>
                    <a:pt x="628" y="679"/>
                  </a:lnTo>
                  <a:lnTo>
                    <a:pt x="629" y="680"/>
                  </a:lnTo>
                  <a:lnTo>
                    <a:pt x="630" y="681"/>
                  </a:lnTo>
                  <a:lnTo>
                    <a:pt x="632" y="681"/>
                  </a:lnTo>
                  <a:lnTo>
                    <a:pt x="647" y="665"/>
                  </a:lnTo>
                  <a:lnTo>
                    <a:pt x="657" y="651"/>
                  </a:lnTo>
                  <a:lnTo>
                    <a:pt x="659" y="651"/>
                  </a:lnTo>
                  <a:lnTo>
                    <a:pt x="663" y="650"/>
                  </a:lnTo>
                  <a:lnTo>
                    <a:pt x="667" y="650"/>
                  </a:lnTo>
                  <a:lnTo>
                    <a:pt x="669" y="649"/>
                  </a:lnTo>
                  <a:lnTo>
                    <a:pt x="671" y="647"/>
                  </a:lnTo>
                  <a:lnTo>
                    <a:pt x="672" y="645"/>
                  </a:lnTo>
                  <a:lnTo>
                    <a:pt x="678" y="629"/>
                  </a:lnTo>
                  <a:lnTo>
                    <a:pt x="685" y="615"/>
                  </a:lnTo>
                  <a:lnTo>
                    <a:pt x="697" y="603"/>
                  </a:lnTo>
                  <a:lnTo>
                    <a:pt x="705" y="596"/>
                  </a:lnTo>
                  <a:close/>
                  <a:moveTo>
                    <a:pt x="921" y="501"/>
                  </a:moveTo>
                  <a:lnTo>
                    <a:pt x="922" y="505"/>
                  </a:lnTo>
                  <a:lnTo>
                    <a:pt x="924" y="509"/>
                  </a:lnTo>
                  <a:lnTo>
                    <a:pt x="928" y="513"/>
                  </a:lnTo>
                  <a:lnTo>
                    <a:pt x="934" y="517"/>
                  </a:lnTo>
                  <a:lnTo>
                    <a:pt x="940" y="520"/>
                  </a:lnTo>
                  <a:lnTo>
                    <a:pt x="945" y="522"/>
                  </a:lnTo>
                  <a:lnTo>
                    <a:pt x="947" y="523"/>
                  </a:lnTo>
                  <a:lnTo>
                    <a:pt x="949" y="523"/>
                  </a:lnTo>
                  <a:lnTo>
                    <a:pt x="952" y="522"/>
                  </a:lnTo>
                  <a:lnTo>
                    <a:pt x="954" y="520"/>
                  </a:lnTo>
                  <a:lnTo>
                    <a:pt x="958" y="515"/>
                  </a:lnTo>
                  <a:lnTo>
                    <a:pt x="961" y="511"/>
                  </a:lnTo>
                  <a:lnTo>
                    <a:pt x="963" y="509"/>
                  </a:lnTo>
                  <a:lnTo>
                    <a:pt x="963" y="507"/>
                  </a:lnTo>
                  <a:lnTo>
                    <a:pt x="963" y="504"/>
                  </a:lnTo>
                  <a:lnTo>
                    <a:pt x="962" y="499"/>
                  </a:lnTo>
                  <a:lnTo>
                    <a:pt x="959" y="495"/>
                  </a:lnTo>
                  <a:lnTo>
                    <a:pt x="957" y="493"/>
                  </a:lnTo>
                  <a:lnTo>
                    <a:pt x="955" y="491"/>
                  </a:lnTo>
                  <a:lnTo>
                    <a:pt x="952" y="491"/>
                  </a:lnTo>
                  <a:lnTo>
                    <a:pt x="946" y="492"/>
                  </a:lnTo>
                  <a:lnTo>
                    <a:pt x="938" y="495"/>
                  </a:lnTo>
                  <a:lnTo>
                    <a:pt x="925" y="499"/>
                  </a:lnTo>
                  <a:lnTo>
                    <a:pt x="921" y="501"/>
                  </a:lnTo>
                  <a:close/>
                  <a:moveTo>
                    <a:pt x="968" y="715"/>
                  </a:moveTo>
                  <a:lnTo>
                    <a:pt x="962" y="708"/>
                  </a:lnTo>
                  <a:lnTo>
                    <a:pt x="955" y="700"/>
                  </a:lnTo>
                  <a:lnTo>
                    <a:pt x="952" y="696"/>
                  </a:lnTo>
                  <a:lnTo>
                    <a:pt x="949" y="692"/>
                  </a:lnTo>
                  <a:lnTo>
                    <a:pt x="949" y="691"/>
                  </a:lnTo>
                  <a:lnTo>
                    <a:pt x="949" y="689"/>
                  </a:lnTo>
                  <a:lnTo>
                    <a:pt x="950" y="688"/>
                  </a:lnTo>
                  <a:lnTo>
                    <a:pt x="952" y="687"/>
                  </a:lnTo>
                  <a:lnTo>
                    <a:pt x="962" y="683"/>
                  </a:lnTo>
                  <a:lnTo>
                    <a:pt x="976" y="681"/>
                  </a:lnTo>
                  <a:lnTo>
                    <a:pt x="983" y="679"/>
                  </a:lnTo>
                  <a:lnTo>
                    <a:pt x="988" y="678"/>
                  </a:lnTo>
                  <a:lnTo>
                    <a:pt x="990" y="676"/>
                  </a:lnTo>
                  <a:lnTo>
                    <a:pt x="991" y="675"/>
                  </a:lnTo>
                  <a:lnTo>
                    <a:pt x="992" y="673"/>
                  </a:lnTo>
                  <a:lnTo>
                    <a:pt x="992" y="672"/>
                  </a:lnTo>
                  <a:lnTo>
                    <a:pt x="989" y="668"/>
                  </a:lnTo>
                  <a:lnTo>
                    <a:pt x="984" y="661"/>
                  </a:lnTo>
                  <a:lnTo>
                    <a:pt x="976" y="652"/>
                  </a:lnTo>
                  <a:lnTo>
                    <a:pt x="966" y="644"/>
                  </a:lnTo>
                  <a:lnTo>
                    <a:pt x="958" y="635"/>
                  </a:lnTo>
                  <a:lnTo>
                    <a:pt x="949" y="626"/>
                  </a:lnTo>
                  <a:lnTo>
                    <a:pt x="944" y="620"/>
                  </a:lnTo>
                  <a:lnTo>
                    <a:pt x="942" y="615"/>
                  </a:lnTo>
                  <a:lnTo>
                    <a:pt x="940" y="602"/>
                  </a:lnTo>
                  <a:lnTo>
                    <a:pt x="938" y="585"/>
                  </a:lnTo>
                  <a:lnTo>
                    <a:pt x="935" y="570"/>
                  </a:lnTo>
                  <a:lnTo>
                    <a:pt x="933" y="561"/>
                  </a:lnTo>
                  <a:lnTo>
                    <a:pt x="933" y="547"/>
                  </a:lnTo>
                  <a:lnTo>
                    <a:pt x="934" y="534"/>
                  </a:lnTo>
                  <a:lnTo>
                    <a:pt x="928" y="533"/>
                  </a:lnTo>
                  <a:lnTo>
                    <a:pt x="917" y="530"/>
                  </a:lnTo>
                  <a:lnTo>
                    <a:pt x="910" y="529"/>
                  </a:lnTo>
                  <a:lnTo>
                    <a:pt x="904" y="529"/>
                  </a:lnTo>
                  <a:lnTo>
                    <a:pt x="901" y="529"/>
                  </a:lnTo>
                  <a:lnTo>
                    <a:pt x="899" y="530"/>
                  </a:lnTo>
                  <a:lnTo>
                    <a:pt x="898" y="531"/>
                  </a:lnTo>
                  <a:lnTo>
                    <a:pt x="897" y="533"/>
                  </a:lnTo>
                  <a:lnTo>
                    <a:pt x="895" y="541"/>
                  </a:lnTo>
                  <a:lnTo>
                    <a:pt x="892" y="550"/>
                  </a:lnTo>
                  <a:lnTo>
                    <a:pt x="891" y="554"/>
                  </a:lnTo>
                  <a:lnTo>
                    <a:pt x="891" y="558"/>
                  </a:lnTo>
                  <a:lnTo>
                    <a:pt x="892" y="562"/>
                  </a:lnTo>
                  <a:lnTo>
                    <a:pt x="894" y="565"/>
                  </a:lnTo>
                  <a:lnTo>
                    <a:pt x="898" y="572"/>
                  </a:lnTo>
                  <a:lnTo>
                    <a:pt x="902" y="579"/>
                  </a:lnTo>
                  <a:lnTo>
                    <a:pt x="904" y="582"/>
                  </a:lnTo>
                  <a:lnTo>
                    <a:pt x="904" y="585"/>
                  </a:lnTo>
                  <a:lnTo>
                    <a:pt x="904" y="588"/>
                  </a:lnTo>
                  <a:lnTo>
                    <a:pt x="902" y="591"/>
                  </a:lnTo>
                  <a:lnTo>
                    <a:pt x="895" y="596"/>
                  </a:lnTo>
                  <a:lnTo>
                    <a:pt x="883" y="602"/>
                  </a:lnTo>
                  <a:lnTo>
                    <a:pt x="878" y="604"/>
                  </a:lnTo>
                  <a:lnTo>
                    <a:pt x="874" y="605"/>
                  </a:lnTo>
                  <a:lnTo>
                    <a:pt x="872" y="604"/>
                  </a:lnTo>
                  <a:lnTo>
                    <a:pt x="871" y="604"/>
                  </a:lnTo>
                  <a:lnTo>
                    <a:pt x="870" y="603"/>
                  </a:lnTo>
                  <a:lnTo>
                    <a:pt x="869" y="601"/>
                  </a:lnTo>
                  <a:lnTo>
                    <a:pt x="871" y="590"/>
                  </a:lnTo>
                  <a:lnTo>
                    <a:pt x="874" y="574"/>
                  </a:lnTo>
                  <a:lnTo>
                    <a:pt x="875" y="567"/>
                  </a:lnTo>
                  <a:lnTo>
                    <a:pt x="875" y="561"/>
                  </a:lnTo>
                  <a:lnTo>
                    <a:pt x="874" y="559"/>
                  </a:lnTo>
                  <a:lnTo>
                    <a:pt x="873" y="557"/>
                  </a:lnTo>
                  <a:lnTo>
                    <a:pt x="872" y="557"/>
                  </a:lnTo>
                  <a:lnTo>
                    <a:pt x="870" y="557"/>
                  </a:lnTo>
                  <a:lnTo>
                    <a:pt x="865" y="559"/>
                  </a:lnTo>
                  <a:lnTo>
                    <a:pt x="859" y="563"/>
                  </a:lnTo>
                  <a:lnTo>
                    <a:pt x="853" y="570"/>
                  </a:lnTo>
                  <a:lnTo>
                    <a:pt x="847" y="576"/>
                  </a:lnTo>
                  <a:lnTo>
                    <a:pt x="842" y="582"/>
                  </a:lnTo>
                  <a:lnTo>
                    <a:pt x="836" y="586"/>
                  </a:lnTo>
                  <a:lnTo>
                    <a:pt x="834" y="587"/>
                  </a:lnTo>
                  <a:lnTo>
                    <a:pt x="832" y="588"/>
                  </a:lnTo>
                  <a:lnTo>
                    <a:pt x="830" y="588"/>
                  </a:lnTo>
                  <a:lnTo>
                    <a:pt x="828" y="586"/>
                  </a:lnTo>
                  <a:lnTo>
                    <a:pt x="826" y="583"/>
                  </a:lnTo>
                  <a:lnTo>
                    <a:pt x="825" y="578"/>
                  </a:lnTo>
                  <a:lnTo>
                    <a:pt x="825" y="573"/>
                  </a:lnTo>
                  <a:lnTo>
                    <a:pt x="826" y="567"/>
                  </a:lnTo>
                  <a:lnTo>
                    <a:pt x="826" y="562"/>
                  </a:lnTo>
                  <a:lnTo>
                    <a:pt x="826" y="557"/>
                  </a:lnTo>
                  <a:lnTo>
                    <a:pt x="826" y="554"/>
                  </a:lnTo>
                  <a:lnTo>
                    <a:pt x="824" y="552"/>
                  </a:lnTo>
                  <a:lnTo>
                    <a:pt x="822" y="552"/>
                  </a:lnTo>
                  <a:lnTo>
                    <a:pt x="816" y="555"/>
                  </a:lnTo>
                  <a:lnTo>
                    <a:pt x="810" y="560"/>
                  </a:lnTo>
                  <a:lnTo>
                    <a:pt x="804" y="565"/>
                  </a:lnTo>
                  <a:lnTo>
                    <a:pt x="796" y="571"/>
                  </a:lnTo>
                  <a:lnTo>
                    <a:pt x="791" y="575"/>
                  </a:lnTo>
                  <a:lnTo>
                    <a:pt x="789" y="576"/>
                  </a:lnTo>
                  <a:lnTo>
                    <a:pt x="787" y="577"/>
                  </a:lnTo>
                  <a:lnTo>
                    <a:pt x="786" y="577"/>
                  </a:lnTo>
                  <a:lnTo>
                    <a:pt x="785" y="576"/>
                  </a:lnTo>
                  <a:lnTo>
                    <a:pt x="786" y="566"/>
                  </a:lnTo>
                  <a:lnTo>
                    <a:pt x="788" y="556"/>
                  </a:lnTo>
                  <a:lnTo>
                    <a:pt x="789" y="552"/>
                  </a:lnTo>
                  <a:lnTo>
                    <a:pt x="789" y="549"/>
                  </a:lnTo>
                  <a:lnTo>
                    <a:pt x="789" y="547"/>
                  </a:lnTo>
                  <a:lnTo>
                    <a:pt x="789" y="547"/>
                  </a:lnTo>
                  <a:lnTo>
                    <a:pt x="788" y="547"/>
                  </a:lnTo>
                  <a:lnTo>
                    <a:pt x="787" y="547"/>
                  </a:lnTo>
                  <a:lnTo>
                    <a:pt x="773" y="554"/>
                  </a:lnTo>
                  <a:lnTo>
                    <a:pt x="754" y="564"/>
                  </a:lnTo>
                  <a:lnTo>
                    <a:pt x="743" y="571"/>
                  </a:lnTo>
                  <a:lnTo>
                    <a:pt x="735" y="577"/>
                  </a:lnTo>
                  <a:lnTo>
                    <a:pt x="728" y="582"/>
                  </a:lnTo>
                  <a:lnTo>
                    <a:pt x="726" y="586"/>
                  </a:lnTo>
                  <a:lnTo>
                    <a:pt x="723" y="600"/>
                  </a:lnTo>
                  <a:lnTo>
                    <a:pt x="722" y="606"/>
                  </a:lnTo>
                  <a:lnTo>
                    <a:pt x="717" y="608"/>
                  </a:lnTo>
                  <a:lnTo>
                    <a:pt x="707" y="613"/>
                  </a:lnTo>
                  <a:lnTo>
                    <a:pt x="702" y="616"/>
                  </a:lnTo>
                  <a:lnTo>
                    <a:pt x="698" y="619"/>
                  </a:lnTo>
                  <a:lnTo>
                    <a:pt x="696" y="621"/>
                  </a:lnTo>
                  <a:lnTo>
                    <a:pt x="695" y="623"/>
                  </a:lnTo>
                  <a:lnTo>
                    <a:pt x="695" y="624"/>
                  </a:lnTo>
                  <a:lnTo>
                    <a:pt x="695" y="626"/>
                  </a:lnTo>
                  <a:lnTo>
                    <a:pt x="697" y="629"/>
                  </a:lnTo>
                  <a:lnTo>
                    <a:pt x="700" y="634"/>
                  </a:lnTo>
                  <a:lnTo>
                    <a:pt x="704" y="637"/>
                  </a:lnTo>
                  <a:lnTo>
                    <a:pt x="708" y="640"/>
                  </a:lnTo>
                  <a:lnTo>
                    <a:pt x="714" y="642"/>
                  </a:lnTo>
                  <a:lnTo>
                    <a:pt x="719" y="644"/>
                  </a:lnTo>
                  <a:lnTo>
                    <a:pt x="723" y="645"/>
                  </a:lnTo>
                  <a:lnTo>
                    <a:pt x="726" y="645"/>
                  </a:lnTo>
                  <a:lnTo>
                    <a:pt x="735" y="639"/>
                  </a:lnTo>
                  <a:lnTo>
                    <a:pt x="743" y="630"/>
                  </a:lnTo>
                  <a:lnTo>
                    <a:pt x="747" y="626"/>
                  </a:lnTo>
                  <a:lnTo>
                    <a:pt x="750" y="624"/>
                  </a:lnTo>
                  <a:lnTo>
                    <a:pt x="752" y="623"/>
                  </a:lnTo>
                  <a:lnTo>
                    <a:pt x="752" y="623"/>
                  </a:lnTo>
                  <a:lnTo>
                    <a:pt x="754" y="623"/>
                  </a:lnTo>
                  <a:lnTo>
                    <a:pt x="754" y="625"/>
                  </a:lnTo>
                  <a:lnTo>
                    <a:pt x="752" y="628"/>
                  </a:lnTo>
                  <a:lnTo>
                    <a:pt x="750" y="632"/>
                  </a:lnTo>
                  <a:lnTo>
                    <a:pt x="747" y="638"/>
                  </a:lnTo>
                  <a:lnTo>
                    <a:pt x="743" y="642"/>
                  </a:lnTo>
                  <a:lnTo>
                    <a:pt x="735" y="649"/>
                  </a:lnTo>
                  <a:lnTo>
                    <a:pt x="732" y="652"/>
                  </a:lnTo>
                  <a:lnTo>
                    <a:pt x="727" y="651"/>
                  </a:lnTo>
                  <a:lnTo>
                    <a:pt x="719" y="649"/>
                  </a:lnTo>
                  <a:lnTo>
                    <a:pt x="714" y="649"/>
                  </a:lnTo>
                  <a:lnTo>
                    <a:pt x="710" y="650"/>
                  </a:lnTo>
                  <a:lnTo>
                    <a:pt x="707" y="652"/>
                  </a:lnTo>
                  <a:lnTo>
                    <a:pt x="705" y="653"/>
                  </a:lnTo>
                  <a:lnTo>
                    <a:pt x="704" y="657"/>
                  </a:lnTo>
                  <a:lnTo>
                    <a:pt x="703" y="660"/>
                  </a:lnTo>
                  <a:lnTo>
                    <a:pt x="703" y="666"/>
                  </a:lnTo>
                  <a:lnTo>
                    <a:pt x="704" y="671"/>
                  </a:lnTo>
                  <a:lnTo>
                    <a:pt x="706" y="676"/>
                  </a:lnTo>
                  <a:lnTo>
                    <a:pt x="710" y="681"/>
                  </a:lnTo>
                  <a:lnTo>
                    <a:pt x="713" y="683"/>
                  </a:lnTo>
                  <a:lnTo>
                    <a:pt x="717" y="685"/>
                  </a:lnTo>
                  <a:lnTo>
                    <a:pt x="720" y="686"/>
                  </a:lnTo>
                  <a:lnTo>
                    <a:pt x="723" y="685"/>
                  </a:lnTo>
                  <a:lnTo>
                    <a:pt x="734" y="681"/>
                  </a:lnTo>
                  <a:lnTo>
                    <a:pt x="750" y="674"/>
                  </a:lnTo>
                  <a:lnTo>
                    <a:pt x="760" y="670"/>
                  </a:lnTo>
                  <a:lnTo>
                    <a:pt x="769" y="667"/>
                  </a:lnTo>
                  <a:lnTo>
                    <a:pt x="780" y="665"/>
                  </a:lnTo>
                  <a:lnTo>
                    <a:pt x="788" y="665"/>
                  </a:lnTo>
                  <a:lnTo>
                    <a:pt x="802" y="666"/>
                  </a:lnTo>
                  <a:lnTo>
                    <a:pt x="810" y="668"/>
                  </a:lnTo>
                  <a:lnTo>
                    <a:pt x="812" y="669"/>
                  </a:lnTo>
                  <a:lnTo>
                    <a:pt x="812" y="671"/>
                  </a:lnTo>
                  <a:lnTo>
                    <a:pt x="811" y="673"/>
                  </a:lnTo>
                  <a:lnTo>
                    <a:pt x="808" y="676"/>
                  </a:lnTo>
                  <a:lnTo>
                    <a:pt x="805" y="680"/>
                  </a:lnTo>
                  <a:lnTo>
                    <a:pt x="801" y="681"/>
                  </a:lnTo>
                  <a:lnTo>
                    <a:pt x="796" y="681"/>
                  </a:lnTo>
                  <a:lnTo>
                    <a:pt x="791" y="681"/>
                  </a:lnTo>
                  <a:lnTo>
                    <a:pt x="786" y="681"/>
                  </a:lnTo>
                  <a:lnTo>
                    <a:pt x="780" y="681"/>
                  </a:lnTo>
                  <a:lnTo>
                    <a:pt x="772" y="682"/>
                  </a:lnTo>
                  <a:lnTo>
                    <a:pt x="764" y="685"/>
                  </a:lnTo>
                  <a:lnTo>
                    <a:pt x="746" y="690"/>
                  </a:lnTo>
                  <a:lnTo>
                    <a:pt x="727" y="693"/>
                  </a:lnTo>
                  <a:lnTo>
                    <a:pt x="720" y="694"/>
                  </a:lnTo>
                  <a:lnTo>
                    <a:pt x="714" y="696"/>
                  </a:lnTo>
                  <a:lnTo>
                    <a:pt x="711" y="698"/>
                  </a:lnTo>
                  <a:lnTo>
                    <a:pt x="710" y="700"/>
                  </a:lnTo>
                  <a:lnTo>
                    <a:pt x="708" y="702"/>
                  </a:lnTo>
                  <a:lnTo>
                    <a:pt x="708" y="703"/>
                  </a:lnTo>
                  <a:lnTo>
                    <a:pt x="710" y="711"/>
                  </a:lnTo>
                  <a:lnTo>
                    <a:pt x="713" y="719"/>
                  </a:lnTo>
                  <a:lnTo>
                    <a:pt x="715" y="723"/>
                  </a:lnTo>
                  <a:lnTo>
                    <a:pt x="717" y="726"/>
                  </a:lnTo>
                  <a:lnTo>
                    <a:pt x="720" y="728"/>
                  </a:lnTo>
                  <a:lnTo>
                    <a:pt x="723" y="730"/>
                  </a:lnTo>
                  <a:lnTo>
                    <a:pt x="728" y="730"/>
                  </a:lnTo>
                  <a:lnTo>
                    <a:pt x="735" y="730"/>
                  </a:lnTo>
                  <a:lnTo>
                    <a:pt x="743" y="728"/>
                  </a:lnTo>
                  <a:lnTo>
                    <a:pt x="751" y="727"/>
                  </a:lnTo>
                  <a:lnTo>
                    <a:pt x="759" y="725"/>
                  </a:lnTo>
                  <a:lnTo>
                    <a:pt x="765" y="725"/>
                  </a:lnTo>
                  <a:lnTo>
                    <a:pt x="768" y="725"/>
                  </a:lnTo>
                  <a:lnTo>
                    <a:pt x="770" y="726"/>
                  </a:lnTo>
                  <a:lnTo>
                    <a:pt x="771" y="727"/>
                  </a:lnTo>
                  <a:lnTo>
                    <a:pt x="771" y="729"/>
                  </a:lnTo>
                  <a:lnTo>
                    <a:pt x="771" y="749"/>
                  </a:lnTo>
                  <a:lnTo>
                    <a:pt x="771" y="759"/>
                  </a:lnTo>
                  <a:lnTo>
                    <a:pt x="778" y="759"/>
                  </a:lnTo>
                  <a:lnTo>
                    <a:pt x="791" y="757"/>
                  </a:lnTo>
                  <a:lnTo>
                    <a:pt x="808" y="754"/>
                  </a:lnTo>
                  <a:lnTo>
                    <a:pt x="820" y="751"/>
                  </a:lnTo>
                  <a:lnTo>
                    <a:pt x="830" y="747"/>
                  </a:lnTo>
                  <a:lnTo>
                    <a:pt x="843" y="741"/>
                  </a:lnTo>
                  <a:lnTo>
                    <a:pt x="850" y="738"/>
                  </a:lnTo>
                  <a:lnTo>
                    <a:pt x="856" y="735"/>
                  </a:lnTo>
                  <a:lnTo>
                    <a:pt x="862" y="731"/>
                  </a:lnTo>
                  <a:lnTo>
                    <a:pt x="868" y="727"/>
                  </a:lnTo>
                  <a:lnTo>
                    <a:pt x="878" y="717"/>
                  </a:lnTo>
                  <a:lnTo>
                    <a:pt x="886" y="709"/>
                  </a:lnTo>
                  <a:lnTo>
                    <a:pt x="890" y="707"/>
                  </a:lnTo>
                  <a:lnTo>
                    <a:pt x="894" y="707"/>
                  </a:lnTo>
                  <a:lnTo>
                    <a:pt x="899" y="707"/>
                  </a:lnTo>
                  <a:lnTo>
                    <a:pt x="904" y="710"/>
                  </a:lnTo>
                  <a:lnTo>
                    <a:pt x="911" y="714"/>
                  </a:lnTo>
                  <a:lnTo>
                    <a:pt x="918" y="717"/>
                  </a:lnTo>
                  <a:lnTo>
                    <a:pt x="924" y="719"/>
                  </a:lnTo>
                  <a:lnTo>
                    <a:pt x="932" y="722"/>
                  </a:lnTo>
                  <a:lnTo>
                    <a:pt x="944" y="723"/>
                  </a:lnTo>
                  <a:lnTo>
                    <a:pt x="952" y="724"/>
                  </a:lnTo>
                  <a:lnTo>
                    <a:pt x="962" y="719"/>
                  </a:lnTo>
                  <a:lnTo>
                    <a:pt x="968" y="715"/>
                  </a:lnTo>
                  <a:close/>
                  <a:moveTo>
                    <a:pt x="1545" y="2250"/>
                  </a:moveTo>
                  <a:lnTo>
                    <a:pt x="1533" y="2254"/>
                  </a:lnTo>
                  <a:lnTo>
                    <a:pt x="1516" y="2259"/>
                  </a:lnTo>
                  <a:lnTo>
                    <a:pt x="1509" y="2262"/>
                  </a:lnTo>
                  <a:lnTo>
                    <a:pt x="1504" y="2265"/>
                  </a:lnTo>
                  <a:lnTo>
                    <a:pt x="1502" y="2267"/>
                  </a:lnTo>
                  <a:lnTo>
                    <a:pt x="1501" y="2269"/>
                  </a:lnTo>
                  <a:lnTo>
                    <a:pt x="1502" y="2271"/>
                  </a:lnTo>
                  <a:lnTo>
                    <a:pt x="1503" y="2273"/>
                  </a:lnTo>
                  <a:lnTo>
                    <a:pt x="1508" y="2277"/>
                  </a:lnTo>
                  <a:lnTo>
                    <a:pt x="1513" y="2281"/>
                  </a:lnTo>
                  <a:lnTo>
                    <a:pt x="1517" y="2283"/>
                  </a:lnTo>
                  <a:lnTo>
                    <a:pt x="1523" y="2283"/>
                  </a:lnTo>
                  <a:lnTo>
                    <a:pt x="1533" y="2284"/>
                  </a:lnTo>
                  <a:lnTo>
                    <a:pt x="1541" y="2285"/>
                  </a:lnTo>
                  <a:lnTo>
                    <a:pt x="1552" y="2289"/>
                  </a:lnTo>
                  <a:lnTo>
                    <a:pt x="1563" y="2292"/>
                  </a:lnTo>
                  <a:lnTo>
                    <a:pt x="1569" y="2293"/>
                  </a:lnTo>
                  <a:lnTo>
                    <a:pt x="1573" y="2294"/>
                  </a:lnTo>
                  <a:lnTo>
                    <a:pt x="1576" y="2294"/>
                  </a:lnTo>
                  <a:lnTo>
                    <a:pt x="1577" y="2292"/>
                  </a:lnTo>
                  <a:lnTo>
                    <a:pt x="1578" y="2289"/>
                  </a:lnTo>
                  <a:lnTo>
                    <a:pt x="1579" y="2284"/>
                  </a:lnTo>
                  <a:lnTo>
                    <a:pt x="1581" y="2282"/>
                  </a:lnTo>
                  <a:lnTo>
                    <a:pt x="1582" y="2280"/>
                  </a:lnTo>
                  <a:lnTo>
                    <a:pt x="1585" y="2280"/>
                  </a:lnTo>
                  <a:lnTo>
                    <a:pt x="1589" y="2280"/>
                  </a:lnTo>
                  <a:lnTo>
                    <a:pt x="1600" y="2280"/>
                  </a:lnTo>
                  <a:lnTo>
                    <a:pt x="1616" y="2277"/>
                  </a:lnTo>
                  <a:lnTo>
                    <a:pt x="1623" y="2276"/>
                  </a:lnTo>
                  <a:lnTo>
                    <a:pt x="1629" y="2274"/>
                  </a:lnTo>
                  <a:lnTo>
                    <a:pt x="1634" y="2273"/>
                  </a:lnTo>
                  <a:lnTo>
                    <a:pt x="1634" y="2272"/>
                  </a:lnTo>
                  <a:lnTo>
                    <a:pt x="1627" y="2266"/>
                  </a:lnTo>
                  <a:lnTo>
                    <a:pt x="1615" y="2256"/>
                  </a:lnTo>
                  <a:lnTo>
                    <a:pt x="1606" y="2251"/>
                  </a:lnTo>
                  <a:lnTo>
                    <a:pt x="1599" y="2247"/>
                  </a:lnTo>
                  <a:lnTo>
                    <a:pt x="1592" y="2244"/>
                  </a:lnTo>
                  <a:lnTo>
                    <a:pt x="1584" y="2243"/>
                  </a:lnTo>
                  <a:lnTo>
                    <a:pt x="1575" y="2243"/>
                  </a:lnTo>
                  <a:lnTo>
                    <a:pt x="1569" y="2243"/>
                  </a:lnTo>
                  <a:lnTo>
                    <a:pt x="1567" y="2244"/>
                  </a:lnTo>
                  <a:lnTo>
                    <a:pt x="1564" y="2245"/>
                  </a:lnTo>
                  <a:lnTo>
                    <a:pt x="1562" y="2247"/>
                  </a:lnTo>
                  <a:lnTo>
                    <a:pt x="1560" y="2249"/>
                  </a:lnTo>
                  <a:lnTo>
                    <a:pt x="1557" y="2251"/>
                  </a:lnTo>
                  <a:lnTo>
                    <a:pt x="1555" y="2252"/>
                  </a:lnTo>
                  <a:lnTo>
                    <a:pt x="1553" y="2252"/>
                  </a:lnTo>
                  <a:lnTo>
                    <a:pt x="1550" y="2252"/>
                  </a:lnTo>
                  <a:lnTo>
                    <a:pt x="1547" y="2251"/>
                  </a:lnTo>
                  <a:lnTo>
                    <a:pt x="1545" y="2250"/>
                  </a:lnTo>
                  <a:close/>
                  <a:moveTo>
                    <a:pt x="1297" y="2187"/>
                  </a:moveTo>
                  <a:lnTo>
                    <a:pt x="1307" y="2180"/>
                  </a:lnTo>
                  <a:lnTo>
                    <a:pt x="1323" y="2170"/>
                  </a:lnTo>
                  <a:lnTo>
                    <a:pt x="1333" y="2164"/>
                  </a:lnTo>
                  <a:lnTo>
                    <a:pt x="1341" y="2161"/>
                  </a:lnTo>
                  <a:lnTo>
                    <a:pt x="1346" y="2161"/>
                  </a:lnTo>
                  <a:lnTo>
                    <a:pt x="1350" y="2161"/>
                  </a:lnTo>
                  <a:lnTo>
                    <a:pt x="1353" y="2162"/>
                  </a:lnTo>
                  <a:lnTo>
                    <a:pt x="1356" y="2164"/>
                  </a:lnTo>
                  <a:lnTo>
                    <a:pt x="1361" y="2167"/>
                  </a:lnTo>
                  <a:lnTo>
                    <a:pt x="1369" y="2171"/>
                  </a:lnTo>
                  <a:lnTo>
                    <a:pt x="1376" y="2173"/>
                  </a:lnTo>
                  <a:lnTo>
                    <a:pt x="1384" y="2174"/>
                  </a:lnTo>
                  <a:lnTo>
                    <a:pt x="1399" y="2175"/>
                  </a:lnTo>
                  <a:lnTo>
                    <a:pt x="1410" y="2176"/>
                  </a:lnTo>
                  <a:lnTo>
                    <a:pt x="1424" y="2181"/>
                  </a:lnTo>
                  <a:lnTo>
                    <a:pt x="1445" y="2190"/>
                  </a:lnTo>
                  <a:lnTo>
                    <a:pt x="1456" y="2196"/>
                  </a:lnTo>
                  <a:lnTo>
                    <a:pt x="1465" y="2201"/>
                  </a:lnTo>
                  <a:lnTo>
                    <a:pt x="1473" y="2206"/>
                  </a:lnTo>
                  <a:lnTo>
                    <a:pt x="1478" y="2211"/>
                  </a:lnTo>
                  <a:lnTo>
                    <a:pt x="1485" y="2220"/>
                  </a:lnTo>
                  <a:lnTo>
                    <a:pt x="1492" y="2228"/>
                  </a:lnTo>
                  <a:lnTo>
                    <a:pt x="1495" y="2231"/>
                  </a:lnTo>
                  <a:lnTo>
                    <a:pt x="1495" y="2234"/>
                  </a:lnTo>
                  <a:lnTo>
                    <a:pt x="1495" y="2236"/>
                  </a:lnTo>
                  <a:lnTo>
                    <a:pt x="1494" y="2238"/>
                  </a:lnTo>
                  <a:lnTo>
                    <a:pt x="1493" y="2239"/>
                  </a:lnTo>
                  <a:lnTo>
                    <a:pt x="1491" y="2240"/>
                  </a:lnTo>
                  <a:lnTo>
                    <a:pt x="1485" y="2242"/>
                  </a:lnTo>
                  <a:lnTo>
                    <a:pt x="1478" y="2244"/>
                  </a:lnTo>
                  <a:lnTo>
                    <a:pt x="1468" y="2244"/>
                  </a:lnTo>
                  <a:lnTo>
                    <a:pt x="1459" y="2245"/>
                  </a:lnTo>
                  <a:lnTo>
                    <a:pt x="1449" y="2244"/>
                  </a:lnTo>
                  <a:lnTo>
                    <a:pt x="1441" y="2242"/>
                  </a:lnTo>
                  <a:lnTo>
                    <a:pt x="1432" y="2239"/>
                  </a:lnTo>
                  <a:lnTo>
                    <a:pt x="1426" y="2234"/>
                  </a:lnTo>
                  <a:lnTo>
                    <a:pt x="1415" y="2224"/>
                  </a:lnTo>
                  <a:lnTo>
                    <a:pt x="1401" y="2214"/>
                  </a:lnTo>
                  <a:lnTo>
                    <a:pt x="1394" y="2209"/>
                  </a:lnTo>
                  <a:lnTo>
                    <a:pt x="1387" y="2206"/>
                  </a:lnTo>
                  <a:lnTo>
                    <a:pt x="1381" y="2204"/>
                  </a:lnTo>
                  <a:lnTo>
                    <a:pt x="1376" y="2203"/>
                  </a:lnTo>
                  <a:lnTo>
                    <a:pt x="1362" y="2201"/>
                  </a:lnTo>
                  <a:lnTo>
                    <a:pt x="1347" y="2199"/>
                  </a:lnTo>
                  <a:lnTo>
                    <a:pt x="1339" y="2197"/>
                  </a:lnTo>
                  <a:lnTo>
                    <a:pt x="1333" y="2197"/>
                  </a:lnTo>
                  <a:lnTo>
                    <a:pt x="1329" y="2197"/>
                  </a:lnTo>
                  <a:lnTo>
                    <a:pt x="1326" y="2198"/>
                  </a:lnTo>
                  <a:lnTo>
                    <a:pt x="1326" y="2201"/>
                  </a:lnTo>
                  <a:lnTo>
                    <a:pt x="1327" y="2204"/>
                  </a:lnTo>
                  <a:lnTo>
                    <a:pt x="1327" y="2205"/>
                  </a:lnTo>
                  <a:lnTo>
                    <a:pt x="1327" y="2206"/>
                  </a:lnTo>
                  <a:lnTo>
                    <a:pt x="1325" y="2206"/>
                  </a:lnTo>
                  <a:lnTo>
                    <a:pt x="1319" y="2206"/>
                  </a:lnTo>
                  <a:lnTo>
                    <a:pt x="1310" y="2204"/>
                  </a:lnTo>
                  <a:lnTo>
                    <a:pt x="1303" y="2201"/>
                  </a:lnTo>
                  <a:lnTo>
                    <a:pt x="1297" y="2199"/>
                  </a:lnTo>
                  <a:lnTo>
                    <a:pt x="1294" y="2198"/>
                  </a:lnTo>
                  <a:lnTo>
                    <a:pt x="1294" y="2193"/>
                  </a:lnTo>
                  <a:lnTo>
                    <a:pt x="1297" y="2187"/>
                  </a:lnTo>
                  <a:close/>
                  <a:moveTo>
                    <a:pt x="2970" y="1751"/>
                  </a:moveTo>
                  <a:lnTo>
                    <a:pt x="2962" y="1758"/>
                  </a:lnTo>
                  <a:lnTo>
                    <a:pt x="2954" y="1768"/>
                  </a:lnTo>
                  <a:lnTo>
                    <a:pt x="2954" y="1771"/>
                  </a:lnTo>
                  <a:lnTo>
                    <a:pt x="2955" y="1776"/>
                  </a:lnTo>
                  <a:lnTo>
                    <a:pt x="2956" y="1777"/>
                  </a:lnTo>
                  <a:lnTo>
                    <a:pt x="2956" y="1779"/>
                  </a:lnTo>
                  <a:lnTo>
                    <a:pt x="2957" y="1779"/>
                  </a:lnTo>
                  <a:lnTo>
                    <a:pt x="2958" y="1779"/>
                  </a:lnTo>
                  <a:lnTo>
                    <a:pt x="2963" y="1770"/>
                  </a:lnTo>
                  <a:lnTo>
                    <a:pt x="2967" y="1763"/>
                  </a:lnTo>
                  <a:lnTo>
                    <a:pt x="2970" y="1762"/>
                  </a:lnTo>
                  <a:lnTo>
                    <a:pt x="2972" y="1761"/>
                  </a:lnTo>
                  <a:lnTo>
                    <a:pt x="2975" y="1761"/>
                  </a:lnTo>
                  <a:lnTo>
                    <a:pt x="2979" y="1762"/>
                  </a:lnTo>
                  <a:lnTo>
                    <a:pt x="2981" y="1763"/>
                  </a:lnTo>
                  <a:lnTo>
                    <a:pt x="2982" y="1763"/>
                  </a:lnTo>
                  <a:lnTo>
                    <a:pt x="2984" y="1762"/>
                  </a:lnTo>
                  <a:lnTo>
                    <a:pt x="2985" y="1761"/>
                  </a:lnTo>
                  <a:lnTo>
                    <a:pt x="2987" y="1757"/>
                  </a:lnTo>
                  <a:lnTo>
                    <a:pt x="2989" y="1754"/>
                  </a:lnTo>
                  <a:lnTo>
                    <a:pt x="2994" y="1751"/>
                  </a:lnTo>
                  <a:lnTo>
                    <a:pt x="2998" y="1749"/>
                  </a:lnTo>
                  <a:lnTo>
                    <a:pt x="2999" y="1748"/>
                  </a:lnTo>
                  <a:lnTo>
                    <a:pt x="3000" y="1746"/>
                  </a:lnTo>
                  <a:lnTo>
                    <a:pt x="3000" y="1744"/>
                  </a:lnTo>
                  <a:lnTo>
                    <a:pt x="2998" y="1740"/>
                  </a:lnTo>
                  <a:lnTo>
                    <a:pt x="2993" y="1734"/>
                  </a:lnTo>
                  <a:lnTo>
                    <a:pt x="2988" y="1731"/>
                  </a:lnTo>
                  <a:lnTo>
                    <a:pt x="2986" y="1731"/>
                  </a:lnTo>
                  <a:lnTo>
                    <a:pt x="2984" y="1731"/>
                  </a:lnTo>
                  <a:lnTo>
                    <a:pt x="2983" y="1732"/>
                  </a:lnTo>
                  <a:lnTo>
                    <a:pt x="2982" y="1733"/>
                  </a:lnTo>
                  <a:lnTo>
                    <a:pt x="2976" y="1745"/>
                  </a:lnTo>
                  <a:lnTo>
                    <a:pt x="2973" y="1751"/>
                  </a:lnTo>
                  <a:lnTo>
                    <a:pt x="2971" y="1751"/>
                  </a:lnTo>
                  <a:lnTo>
                    <a:pt x="2970" y="1751"/>
                  </a:lnTo>
                  <a:close/>
                  <a:moveTo>
                    <a:pt x="3055" y="1671"/>
                  </a:moveTo>
                  <a:lnTo>
                    <a:pt x="3052" y="1678"/>
                  </a:lnTo>
                  <a:lnTo>
                    <a:pt x="3051" y="1684"/>
                  </a:lnTo>
                  <a:lnTo>
                    <a:pt x="3051" y="1691"/>
                  </a:lnTo>
                  <a:lnTo>
                    <a:pt x="3053" y="1696"/>
                  </a:lnTo>
                  <a:lnTo>
                    <a:pt x="3055" y="1702"/>
                  </a:lnTo>
                  <a:lnTo>
                    <a:pt x="3056" y="1707"/>
                  </a:lnTo>
                  <a:lnTo>
                    <a:pt x="3055" y="1713"/>
                  </a:lnTo>
                  <a:lnTo>
                    <a:pt x="3053" y="1716"/>
                  </a:lnTo>
                  <a:lnTo>
                    <a:pt x="3050" y="1718"/>
                  </a:lnTo>
                  <a:lnTo>
                    <a:pt x="3045" y="1719"/>
                  </a:lnTo>
                  <a:lnTo>
                    <a:pt x="3043" y="1720"/>
                  </a:lnTo>
                  <a:lnTo>
                    <a:pt x="3042" y="1721"/>
                  </a:lnTo>
                  <a:lnTo>
                    <a:pt x="3042" y="1723"/>
                  </a:lnTo>
                  <a:lnTo>
                    <a:pt x="3042" y="1725"/>
                  </a:lnTo>
                  <a:lnTo>
                    <a:pt x="3045" y="1732"/>
                  </a:lnTo>
                  <a:lnTo>
                    <a:pt x="3048" y="1737"/>
                  </a:lnTo>
                  <a:lnTo>
                    <a:pt x="3049" y="1740"/>
                  </a:lnTo>
                  <a:lnTo>
                    <a:pt x="3050" y="1742"/>
                  </a:lnTo>
                  <a:lnTo>
                    <a:pt x="3050" y="1745"/>
                  </a:lnTo>
                  <a:lnTo>
                    <a:pt x="3050" y="1748"/>
                  </a:lnTo>
                  <a:lnTo>
                    <a:pt x="3049" y="1756"/>
                  </a:lnTo>
                  <a:lnTo>
                    <a:pt x="3050" y="1762"/>
                  </a:lnTo>
                  <a:lnTo>
                    <a:pt x="3051" y="1767"/>
                  </a:lnTo>
                  <a:lnTo>
                    <a:pt x="3052" y="1769"/>
                  </a:lnTo>
                  <a:lnTo>
                    <a:pt x="3054" y="1771"/>
                  </a:lnTo>
                  <a:lnTo>
                    <a:pt x="3061" y="1773"/>
                  </a:lnTo>
                  <a:lnTo>
                    <a:pt x="3063" y="1773"/>
                  </a:lnTo>
                  <a:lnTo>
                    <a:pt x="3066" y="1772"/>
                  </a:lnTo>
                  <a:lnTo>
                    <a:pt x="3067" y="1769"/>
                  </a:lnTo>
                  <a:lnTo>
                    <a:pt x="3068" y="1764"/>
                  </a:lnTo>
                  <a:lnTo>
                    <a:pt x="3068" y="1751"/>
                  </a:lnTo>
                  <a:lnTo>
                    <a:pt x="3068" y="1739"/>
                  </a:lnTo>
                  <a:lnTo>
                    <a:pt x="3069" y="1729"/>
                  </a:lnTo>
                  <a:lnTo>
                    <a:pt x="3068" y="1724"/>
                  </a:lnTo>
                  <a:lnTo>
                    <a:pt x="3066" y="1722"/>
                  </a:lnTo>
                  <a:lnTo>
                    <a:pt x="3065" y="1718"/>
                  </a:lnTo>
                  <a:lnTo>
                    <a:pt x="3064" y="1713"/>
                  </a:lnTo>
                  <a:lnTo>
                    <a:pt x="3065" y="1704"/>
                  </a:lnTo>
                  <a:lnTo>
                    <a:pt x="3066" y="1694"/>
                  </a:lnTo>
                  <a:lnTo>
                    <a:pt x="3067" y="1685"/>
                  </a:lnTo>
                  <a:lnTo>
                    <a:pt x="3066" y="1679"/>
                  </a:lnTo>
                  <a:lnTo>
                    <a:pt x="3064" y="1675"/>
                  </a:lnTo>
                  <a:lnTo>
                    <a:pt x="3062" y="1672"/>
                  </a:lnTo>
                  <a:lnTo>
                    <a:pt x="3059" y="1671"/>
                  </a:lnTo>
                  <a:lnTo>
                    <a:pt x="3056" y="1671"/>
                  </a:lnTo>
                  <a:lnTo>
                    <a:pt x="3055" y="1671"/>
                  </a:lnTo>
                  <a:close/>
                  <a:moveTo>
                    <a:pt x="2133" y="1095"/>
                  </a:moveTo>
                  <a:lnTo>
                    <a:pt x="2137" y="1078"/>
                  </a:lnTo>
                  <a:lnTo>
                    <a:pt x="2143" y="1040"/>
                  </a:lnTo>
                  <a:lnTo>
                    <a:pt x="2148" y="1019"/>
                  </a:lnTo>
                  <a:lnTo>
                    <a:pt x="2152" y="999"/>
                  </a:lnTo>
                  <a:lnTo>
                    <a:pt x="2155" y="990"/>
                  </a:lnTo>
                  <a:lnTo>
                    <a:pt x="2158" y="982"/>
                  </a:lnTo>
                  <a:lnTo>
                    <a:pt x="2161" y="976"/>
                  </a:lnTo>
                  <a:lnTo>
                    <a:pt x="2164" y="972"/>
                  </a:lnTo>
                  <a:lnTo>
                    <a:pt x="2175" y="959"/>
                  </a:lnTo>
                  <a:lnTo>
                    <a:pt x="2188" y="946"/>
                  </a:lnTo>
                  <a:lnTo>
                    <a:pt x="2193" y="938"/>
                  </a:lnTo>
                  <a:lnTo>
                    <a:pt x="2197" y="932"/>
                  </a:lnTo>
                  <a:lnTo>
                    <a:pt x="2198" y="928"/>
                  </a:lnTo>
                  <a:lnTo>
                    <a:pt x="2199" y="925"/>
                  </a:lnTo>
                  <a:lnTo>
                    <a:pt x="2199" y="922"/>
                  </a:lnTo>
                  <a:lnTo>
                    <a:pt x="2199" y="918"/>
                  </a:lnTo>
                  <a:lnTo>
                    <a:pt x="2198" y="911"/>
                  </a:lnTo>
                  <a:lnTo>
                    <a:pt x="2198" y="903"/>
                  </a:lnTo>
                  <a:lnTo>
                    <a:pt x="2199" y="893"/>
                  </a:lnTo>
                  <a:lnTo>
                    <a:pt x="2202" y="885"/>
                  </a:lnTo>
                  <a:lnTo>
                    <a:pt x="2204" y="877"/>
                  </a:lnTo>
                  <a:lnTo>
                    <a:pt x="2208" y="870"/>
                  </a:lnTo>
                  <a:lnTo>
                    <a:pt x="2209" y="868"/>
                  </a:lnTo>
                  <a:lnTo>
                    <a:pt x="2211" y="866"/>
                  </a:lnTo>
                  <a:lnTo>
                    <a:pt x="2213" y="864"/>
                  </a:lnTo>
                  <a:lnTo>
                    <a:pt x="2215" y="864"/>
                  </a:lnTo>
                  <a:lnTo>
                    <a:pt x="2219" y="862"/>
                  </a:lnTo>
                  <a:lnTo>
                    <a:pt x="2226" y="857"/>
                  </a:lnTo>
                  <a:lnTo>
                    <a:pt x="2232" y="850"/>
                  </a:lnTo>
                  <a:lnTo>
                    <a:pt x="2239" y="843"/>
                  </a:lnTo>
                  <a:lnTo>
                    <a:pt x="2247" y="837"/>
                  </a:lnTo>
                  <a:lnTo>
                    <a:pt x="2254" y="834"/>
                  </a:lnTo>
                  <a:lnTo>
                    <a:pt x="2257" y="833"/>
                  </a:lnTo>
                  <a:lnTo>
                    <a:pt x="2260" y="833"/>
                  </a:lnTo>
                  <a:lnTo>
                    <a:pt x="2262" y="834"/>
                  </a:lnTo>
                  <a:lnTo>
                    <a:pt x="2265" y="836"/>
                  </a:lnTo>
                  <a:lnTo>
                    <a:pt x="2269" y="840"/>
                  </a:lnTo>
                  <a:lnTo>
                    <a:pt x="2271" y="842"/>
                  </a:lnTo>
                  <a:lnTo>
                    <a:pt x="2273" y="841"/>
                  </a:lnTo>
                  <a:lnTo>
                    <a:pt x="2275" y="839"/>
                  </a:lnTo>
                  <a:lnTo>
                    <a:pt x="2276" y="836"/>
                  </a:lnTo>
                  <a:lnTo>
                    <a:pt x="2278" y="832"/>
                  </a:lnTo>
                  <a:lnTo>
                    <a:pt x="2280" y="828"/>
                  </a:lnTo>
                  <a:lnTo>
                    <a:pt x="2283" y="825"/>
                  </a:lnTo>
                  <a:lnTo>
                    <a:pt x="2288" y="821"/>
                  </a:lnTo>
                  <a:lnTo>
                    <a:pt x="2297" y="814"/>
                  </a:lnTo>
                  <a:lnTo>
                    <a:pt x="2307" y="804"/>
                  </a:lnTo>
                  <a:lnTo>
                    <a:pt x="2317" y="793"/>
                  </a:lnTo>
                  <a:lnTo>
                    <a:pt x="2326" y="781"/>
                  </a:lnTo>
                  <a:lnTo>
                    <a:pt x="2334" y="770"/>
                  </a:lnTo>
                  <a:lnTo>
                    <a:pt x="2336" y="766"/>
                  </a:lnTo>
                  <a:lnTo>
                    <a:pt x="2338" y="760"/>
                  </a:lnTo>
                  <a:lnTo>
                    <a:pt x="2338" y="757"/>
                  </a:lnTo>
                  <a:lnTo>
                    <a:pt x="2337" y="754"/>
                  </a:lnTo>
                  <a:lnTo>
                    <a:pt x="2330" y="745"/>
                  </a:lnTo>
                  <a:lnTo>
                    <a:pt x="2327" y="735"/>
                  </a:lnTo>
                  <a:lnTo>
                    <a:pt x="2325" y="729"/>
                  </a:lnTo>
                  <a:lnTo>
                    <a:pt x="2325" y="727"/>
                  </a:lnTo>
                  <a:lnTo>
                    <a:pt x="2328" y="731"/>
                  </a:lnTo>
                  <a:lnTo>
                    <a:pt x="2338" y="741"/>
                  </a:lnTo>
                  <a:lnTo>
                    <a:pt x="2343" y="747"/>
                  </a:lnTo>
                  <a:lnTo>
                    <a:pt x="2349" y="751"/>
                  </a:lnTo>
                  <a:lnTo>
                    <a:pt x="2352" y="752"/>
                  </a:lnTo>
                  <a:lnTo>
                    <a:pt x="2357" y="753"/>
                  </a:lnTo>
                  <a:lnTo>
                    <a:pt x="2360" y="754"/>
                  </a:lnTo>
                  <a:lnTo>
                    <a:pt x="2363" y="754"/>
                  </a:lnTo>
                  <a:lnTo>
                    <a:pt x="2374" y="750"/>
                  </a:lnTo>
                  <a:lnTo>
                    <a:pt x="2391" y="742"/>
                  </a:lnTo>
                  <a:lnTo>
                    <a:pt x="2412" y="731"/>
                  </a:lnTo>
                  <a:lnTo>
                    <a:pt x="2435" y="718"/>
                  </a:lnTo>
                  <a:lnTo>
                    <a:pt x="2475" y="696"/>
                  </a:lnTo>
                  <a:lnTo>
                    <a:pt x="2493" y="686"/>
                  </a:lnTo>
                  <a:lnTo>
                    <a:pt x="2485" y="682"/>
                  </a:lnTo>
                  <a:lnTo>
                    <a:pt x="2470" y="673"/>
                  </a:lnTo>
                  <a:lnTo>
                    <a:pt x="2459" y="669"/>
                  </a:lnTo>
                  <a:lnTo>
                    <a:pt x="2450" y="665"/>
                  </a:lnTo>
                  <a:lnTo>
                    <a:pt x="2445" y="664"/>
                  </a:lnTo>
                  <a:lnTo>
                    <a:pt x="2440" y="663"/>
                  </a:lnTo>
                  <a:lnTo>
                    <a:pt x="2436" y="663"/>
                  </a:lnTo>
                  <a:lnTo>
                    <a:pt x="2432" y="664"/>
                  </a:lnTo>
                  <a:lnTo>
                    <a:pt x="2426" y="665"/>
                  </a:lnTo>
                  <a:lnTo>
                    <a:pt x="2420" y="664"/>
                  </a:lnTo>
                  <a:lnTo>
                    <a:pt x="2416" y="661"/>
                  </a:lnTo>
                  <a:lnTo>
                    <a:pt x="2413" y="658"/>
                  </a:lnTo>
                  <a:lnTo>
                    <a:pt x="2411" y="654"/>
                  </a:lnTo>
                  <a:lnTo>
                    <a:pt x="2410" y="651"/>
                  </a:lnTo>
                  <a:lnTo>
                    <a:pt x="2411" y="648"/>
                  </a:lnTo>
                  <a:lnTo>
                    <a:pt x="2413" y="646"/>
                  </a:lnTo>
                  <a:lnTo>
                    <a:pt x="2420" y="642"/>
                  </a:lnTo>
                  <a:lnTo>
                    <a:pt x="2430" y="640"/>
                  </a:lnTo>
                  <a:lnTo>
                    <a:pt x="2434" y="638"/>
                  </a:lnTo>
                  <a:lnTo>
                    <a:pt x="2437" y="636"/>
                  </a:lnTo>
                  <a:lnTo>
                    <a:pt x="2437" y="635"/>
                  </a:lnTo>
                  <a:lnTo>
                    <a:pt x="2437" y="634"/>
                  </a:lnTo>
                  <a:lnTo>
                    <a:pt x="2436" y="632"/>
                  </a:lnTo>
                  <a:lnTo>
                    <a:pt x="2435" y="631"/>
                  </a:lnTo>
                  <a:lnTo>
                    <a:pt x="2432" y="628"/>
                  </a:lnTo>
                  <a:lnTo>
                    <a:pt x="2430" y="625"/>
                  </a:lnTo>
                  <a:lnTo>
                    <a:pt x="2428" y="621"/>
                  </a:lnTo>
                  <a:lnTo>
                    <a:pt x="2427" y="618"/>
                  </a:lnTo>
                  <a:lnTo>
                    <a:pt x="2427" y="615"/>
                  </a:lnTo>
                  <a:lnTo>
                    <a:pt x="2428" y="613"/>
                  </a:lnTo>
                  <a:lnTo>
                    <a:pt x="2430" y="612"/>
                  </a:lnTo>
                  <a:lnTo>
                    <a:pt x="2434" y="613"/>
                  </a:lnTo>
                  <a:lnTo>
                    <a:pt x="2438" y="616"/>
                  </a:lnTo>
                  <a:lnTo>
                    <a:pt x="2444" y="621"/>
                  </a:lnTo>
                  <a:lnTo>
                    <a:pt x="2448" y="627"/>
                  </a:lnTo>
                  <a:lnTo>
                    <a:pt x="2453" y="635"/>
                  </a:lnTo>
                  <a:lnTo>
                    <a:pt x="2459" y="646"/>
                  </a:lnTo>
                  <a:lnTo>
                    <a:pt x="2462" y="651"/>
                  </a:lnTo>
                  <a:lnTo>
                    <a:pt x="2464" y="654"/>
                  </a:lnTo>
                  <a:lnTo>
                    <a:pt x="2471" y="663"/>
                  </a:lnTo>
                  <a:lnTo>
                    <a:pt x="2475" y="666"/>
                  </a:lnTo>
                  <a:lnTo>
                    <a:pt x="2479" y="669"/>
                  </a:lnTo>
                  <a:lnTo>
                    <a:pt x="2482" y="670"/>
                  </a:lnTo>
                  <a:lnTo>
                    <a:pt x="2487" y="670"/>
                  </a:lnTo>
                  <a:lnTo>
                    <a:pt x="2491" y="668"/>
                  </a:lnTo>
                  <a:lnTo>
                    <a:pt x="2495" y="665"/>
                  </a:lnTo>
                  <a:lnTo>
                    <a:pt x="2500" y="661"/>
                  </a:lnTo>
                  <a:lnTo>
                    <a:pt x="2504" y="656"/>
                  </a:lnTo>
                  <a:lnTo>
                    <a:pt x="2507" y="650"/>
                  </a:lnTo>
                  <a:lnTo>
                    <a:pt x="2509" y="645"/>
                  </a:lnTo>
                  <a:lnTo>
                    <a:pt x="2510" y="643"/>
                  </a:lnTo>
                  <a:lnTo>
                    <a:pt x="2509" y="640"/>
                  </a:lnTo>
                  <a:lnTo>
                    <a:pt x="2507" y="637"/>
                  </a:lnTo>
                  <a:lnTo>
                    <a:pt x="2506" y="635"/>
                  </a:lnTo>
                  <a:lnTo>
                    <a:pt x="2496" y="621"/>
                  </a:lnTo>
                  <a:lnTo>
                    <a:pt x="2483" y="605"/>
                  </a:lnTo>
                  <a:lnTo>
                    <a:pt x="2471" y="591"/>
                  </a:lnTo>
                  <a:lnTo>
                    <a:pt x="2460" y="579"/>
                  </a:lnTo>
                  <a:lnTo>
                    <a:pt x="2449" y="569"/>
                  </a:lnTo>
                  <a:lnTo>
                    <a:pt x="2434" y="556"/>
                  </a:lnTo>
                  <a:lnTo>
                    <a:pt x="2422" y="545"/>
                  </a:lnTo>
                  <a:lnTo>
                    <a:pt x="2416" y="541"/>
                  </a:lnTo>
                  <a:lnTo>
                    <a:pt x="2420" y="541"/>
                  </a:lnTo>
                  <a:lnTo>
                    <a:pt x="2432" y="541"/>
                  </a:lnTo>
                  <a:lnTo>
                    <a:pt x="2438" y="541"/>
                  </a:lnTo>
                  <a:lnTo>
                    <a:pt x="2445" y="542"/>
                  </a:lnTo>
                  <a:lnTo>
                    <a:pt x="2449" y="543"/>
                  </a:lnTo>
                  <a:lnTo>
                    <a:pt x="2452" y="547"/>
                  </a:lnTo>
                  <a:lnTo>
                    <a:pt x="2454" y="548"/>
                  </a:lnTo>
                  <a:lnTo>
                    <a:pt x="2456" y="548"/>
                  </a:lnTo>
                  <a:lnTo>
                    <a:pt x="2457" y="547"/>
                  </a:lnTo>
                  <a:lnTo>
                    <a:pt x="2458" y="544"/>
                  </a:lnTo>
                  <a:lnTo>
                    <a:pt x="2459" y="538"/>
                  </a:lnTo>
                  <a:lnTo>
                    <a:pt x="2459" y="536"/>
                  </a:lnTo>
                  <a:lnTo>
                    <a:pt x="2459" y="533"/>
                  </a:lnTo>
                  <a:lnTo>
                    <a:pt x="2458" y="526"/>
                  </a:lnTo>
                  <a:lnTo>
                    <a:pt x="2459" y="522"/>
                  </a:lnTo>
                  <a:lnTo>
                    <a:pt x="2460" y="520"/>
                  </a:lnTo>
                  <a:lnTo>
                    <a:pt x="2462" y="520"/>
                  </a:lnTo>
                  <a:lnTo>
                    <a:pt x="2464" y="522"/>
                  </a:lnTo>
                  <a:lnTo>
                    <a:pt x="2469" y="527"/>
                  </a:lnTo>
                  <a:lnTo>
                    <a:pt x="2474" y="529"/>
                  </a:lnTo>
                  <a:lnTo>
                    <a:pt x="2479" y="530"/>
                  </a:lnTo>
                  <a:lnTo>
                    <a:pt x="2484" y="531"/>
                  </a:lnTo>
                  <a:lnTo>
                    <a:pt x="2493" y="531"/>
                  </a:lnTo>
                  <a:lnTo>
                    <a:pt x="2497" y="531"/>
                  </a:lnTo>
                  <a:lnTo>
                    <a:pt x="2492" y="520"/>
                  </a:lnTo>
                  <a:lnTo>
                    <a:pt x="2487" y="510"/>
                  </a:lnTo>
                  <a:lnTo>
                    <a:pt x="2480" y="506"/>
                  </a:lnTo>
                  <a:lnTo>
                    <a:pt x="2469" y="497"/>
                  </a:lnTo>
                  <a:lnTo>
                    <a:pt x="2463" y="493"/>
                  </a:lnTo>
                  <a:lnTo>
                    <a:pt x="2459" y="489"/>
                  </a:lnTo>
                  <a:lnTo>
                    <a:pt x="2458" y="488"/>
                  </a:lnTo>
                  <a:lnTo>
                    <a:pt x="2458" y="486"/>
                  </a:lnTo>
                  <a:lnTo>
                    <a:pt x="2458" y="485"/>
                  </a:lnTo>
                  <a:lnTo>
                    <a:pt x="2459" y="484"/>
                  </a:lnTo>
                  <a:lnTo>
                    <a:pt x="2469" y="482"/>
                  </a:lnTo>
                  <a:lnTo>
                    <a:pt x="2480" y="479"/>
                  </a:lnTo>
                  <a:lnTo>
                    <a:pt x="2492" y="478"/>
                  </a:lnTo>
                  <a:lnTo>
                    <a:pt x="2497" y="478"/>
                  </a:lnTo>
                  <a:lnTo>
                    <a:pt x="2497" y="476"/>
                  </a:lnTo>
                  <a:lnTo>
                    <a:pt x="2492" y="470"/>
                  </a:lnTo>
                  <a:lnTo>
                    <a:pt x="2483" y="462"/>
                  </a:lnTo>
                  <a:lnTo>
                    <a:pt x="2475" y="453"/>
                  </a:lnTo>
                  <a:lnTo>
                    <a:pt x="2464" y="444"/>
                  </a:lnTo>
                  <a:lnTo>
                    <a:pt x="2455" y="432"/>
                  </a:lnTo>
                  <a:lnTo>
                    <a:pt x="2451" y="427"/>
                  </a:lnTo>
                  <a:lnTo>
                    <a:pt x="2449" y="423"/>
                  </a:lnTo>
                  <a:lnTo>
                    <a:pt x="2448" y="422"/>
                  </a:lnTo>
                  <a:lnTo>
                    <a:pt x="2448" y="421"/>
                  </a:lnTo>
                  <a:lnTo>
                    <a:pt x="2448" y="421"/>
                  </a:lnTo>
                  <a:lnTo>
                    <a:pt x="2449" y="421"/>
                  </a:lnTo>
                  <a:lnTo>
                    <a:pt x="2458" y="427"/>
                  </a:lnTo>
                  <a:lnTo>
                    <a:pt x="2472" y="435"/>
                  </a:lnTo>
                  <a:lnTo>
                    <a:pt x="2479" y="440"/>
                  </a:lnTo>
                  <a:lnTo>
                    <a:pt x="2484" y="442"/>
                  </a:lnTo>
                  <a:lnTo>
                    <a:pt x="2487" y="443"/>
                  </a:lnTo>
                  <a:lnTo>
                    <a:pt x="2489" y="443"/>
                  </a:lnTo>
                  <a:lnTo>
                    <a:pt x="2490" y="443"/>
                  </a:lnTo>
                  <a:lnTo>
                    <a:pt x="2490" y="442"/>
                  </a:lnTo>
                  <a:lnTo>
                    <a:pt x="2482" y="431"/>
                  </a:lnTo>
                  <a:lnTo>
                    <a:pt x="2469" y="413"/>
                  </a:lnTo>
                  <a:lnTo>
                    <a:pt x="2454" y="398"/>
                  </a:lnTo>
                  <a:lnTo>
                    <a:pt x="2447" y="389"/>
                  </a:lnTo>
                  <a:lnTo>
                    <a:pt x="2440" y="387"/>
                  </a:lnTo>
                  <a:lnTo>
                    <a:pt x="2433" y="383"/>
                  </a:lnTo>
                  <a:lnTo>
                    <a:pt x="2430" y="380"/>
                  </a:lnTo>
                  <a:lnTo>
                    <a:pt x="2427" y="378"/>
                  </a:lnTo>
                  <a:lnTo>
                    <a:pt x="2426" y="375"/>
                  </a:lnTo>
                  <a:lnTo>
                    <a:pt x="2427" y="371"/>
                  </a:lnTo>
                  <a:lnTo>
                    <a:pt x="2429" y="367"/>
                  </a:lnTo>
                  <a:lnTo>
                    <a:pt x="2432" y="364"/>
                  </a:lnTo>
                  <a:lnTo>
                    <a:pt x="2435" y="361"/>
                  </a:lnTo>
                  <a:lnTo>
                    <a:pt x="2438" y="359"/>
                  </a:lnTo>
                  <a:lnTo>
                    <a:pt x="2442" y="357"/>
                  </a:lnTo>
                  <a:lnTo>
                    <a:pt x="2447" y="357"/>
                  </a:lnTo>
                  <a:lnTo>
                    <a:pt x="2450" y="357"/>
                  </a:lnTo>
                  <a:lnTo>
                    <a:pt x="2454" y="359"/>
                  </a:lnTo>
                  <a:lnTo>
                    <a:pt x="2473" y="375"/>
                  </a:lnTo>
                  <a:lnTo>
                    <a:pt x="2482" y="381"/>
                  </a:lnTo>
                  <a:lnTo>
                    <a:pt x="2481" y="375"/>
                  </a:lnTo>
                  <a:lnTo>
                    <a:pt x="2478" y="362"/>
                  </a:lnTo>
                  <a:lnTo>
                    <a:pt x="2474" y="350"/>
                  </a:lnTo>
                  <a:lnTo>
                    <a:pt x="2472" y="344"/>
                  </a:lnTo>
                  <a:lnTo>
                    <a:pt x="2467" y="343"/>
                  </a:lnTo>
                  <a:lnTo>
                    <a:pt x="2460" y="343"/>
                  </a:lnTo>
                  <a:lnTo>
                    <a:pt x="2455" y="342"/>
                  </a:lnTo>
                  <a:lnTo>
                    <a:pt x="2448" y="340"/>
                  </a:lnTo>
                  <a:lnTo>
                    <a:pt x="2444" y="339"/>
                  </a:lnTo>
                  <a:lnTo>
                    <a:pt x="2440" y="337"/>
                  </a:lnTo>
                  <a:lnTo>
                    <a:pt x="2438" y="335"/>
                  </a:lnTo>
                  <a:lnTo>
                    <a:pt x="2438" y="334"/>
                  </a:lnTo>
                  <a:lnTo>
                    <a:pt x="2440" y="330"/>
                  </a:lnTo>
                  <a:lnTo>
                    <a:pt x="2444" y="325"/>
                  </a:lnTo>
                  <a:lnTo>
                    <a:pt x="2446" y="322"/>
                  </a:lnTo>
                  <a:lnTo>
                    <a:pt x="2446" y="319"/>
                  </a:lnTo>
                  <a:lnTo>
                    <a:pt x="2438" y="318"/>
                  </a:lnTo>
                  <a:lnTo>
                    <a:pt x="2428" y="319"/>
                  </a:lnTo>
                  <a:lnTo>
                    <a:pt x="2424" y="319"/>
                  </a:lnTo>
                  <a:lnTo>
                    <a:pt x="2419" y="317"/>
                  </a:lnTo>
                  <a:lnTo>
                    <a:pt x="2417" y="316"/>
                  </a:lnTo>
                  <a:lnTo>
                    <a:pt x="2415" y="315"/>
                  </a:lnTo>
                  <a:lnTo>
                    <a:pt x="2413" y="313"/>
                  </a:lnTo>
                  <a:lnTo>
                    <a:pt x="2412" y="311"/>
                  </a:lnTo>
                  <a:lnTo>
                    <a:pt x="2411" y="306"/>
                  </a:lnTo>
                  <a:lnTo>
                    <a:pt x="2410" y="301"/>
                  </a:lnTo>
                  <a:lnTo>
                    <a:pt x="2410" y="300"/>
                  </a:lnTo>
                  <a:lnTo>
                    <a:pt x="2410" y="299"/>
                  </a:lnTo>
                  <a:lnTo>
                    <a:pt x="2411" y="297"/>
                  </a:lnTo>
                  <a:lnTo>
                    <a:pt x="2413" y="297"/>
                  </a:lnTo>
                  <a:lnTo>
                    <a:pt x="2417" y="296"/>
                  </a:lnTo>
                  <a:lnTo>
                    <a:pt x="2422" y="296"/>
                  </a:lnTo>
                  <a:lnTo>
                    <a:pt x="2423" y="295"/>
                  </a:lnTo>
                  <a:lnTo>
                    <a:pt x="2423" y="293"/>
                  </a:lnTo>
                  <a:lnTo>
                    <a:pt x="2422" y="291"/>
                  </a:lnTo>
                  <a:lnTo>
                    <a:pt x="2418" y="287"/>
                  </a:lnTo>
                  <a:lnTo>
                    <a:pt x="2411" y="278"/>
                  </a:lnTo>
                  <a:lnTo>
                    <a:pt x="2406" y="272"/>
                  </a:lnTo>
                  <a:lnTo>
                    <a:pt x="2405" y="270"/>
                  </a:lnTo>
                  <a:lnTo>
                    <a:pt x="2404" y="268"/>
                  </a:lnTo>
                  <a:lnTo>
                    <a:pt x="2403" y="267"/>
                  </a:lnTo>
                  <a:lnTo>
                    <a:pt x="2404" y="266"/>
                  </a:lnTo>
                  <a:lnTo>
                    <a:pt x="2416" y="262"/>
                  </a:lnTo>
                  <a:lnTo>
                    <a:pt x="2426" y="258"/>
                  </a:lnTo>
                  <a:lnTo>
                    <a:pt x="2417" y="246"/>
                  </a:lnTo>
                  <a:lnTo>
                    <a:pt x="2410" y="235"/>
                  </a:lnTo>
                  <a:lnTo>
                    <a:pt x="2417" y="232"/>
                  </a:lnTo>
                  <a:lnTo>
                    <a:pt x="2424" y="228"/>
                  </a:lnTo>
                  <a:lnTo>
                    <a:pt x="2416" y="224"/>
                  </a:lnTo>
                  <a:lnTo>
                    <a:pt x="2410" y="221"/>
                  </a:lnTo>
                  <a:lnTo>
                    <a:pt x="2411" y="222"/>
                  </a:lnTo>
                  <a:lnTo>
                    <a:pt x="2412" y="225"/>
                  </a:lnTo>
                  <a:lnTo>
                    <a:pt x="2412" y="226"/>
                  </a:lnTo>
                  <a:lnTo>
                    <a:pt x="2411" y="226"/>
                  </a:lnTo>
                  <a:lnTo>
                    <a:pt x="2409" y="226"/>
                  </a:lnTo>
                  <a:lnTo>
                    <a:pt x="2406" y="225"/>
                  </a:lnTo>
                  <a:lnTo>
                    <a:pt x="2400" y="223"/>
                  </a:lnTo>
                  <a:lnTo>
                    <a:pt x="2395" y="222"/>
                  </a:lnTo>
                  <a:lnTo>
                    <a:pt x="2393" y="220"/>
                  </a:lnTo>
                  <a:lnTo>
                    <a:pt x="2392" y="217"/>
                  </a:lnTo>
                  <a:lnTo>
                    <a:pt x="2392" y="213"/>
                  </a:lnTo>
                  <a:lnTo>
                    <a:pt x="2392" y="211"/>
                  </a:lnTo>
                  <a:lnTo>
                    <a:pt x="2394" y="209"/>
                  </a:lnTo>
                  <a:lnTo>
                    <a:pt x="2396" y="207"/>
                  </a:lnTo>
                  <a:lnTo>
                    <a:pt x="2403" y="210"/>
                  </a:lnTo>
                  <a:lnTo>
                    <a:pt x="2412" y="217"/>
                  </a:lnTo>
                  <a:lnTo>
                    <a:pt x="2417" y="220"/>
                  </a:lnTo>
                  <a:lnTo>
                    <a:pt x="2423" y="222"/>
                  </a:lnTo>
                  <a:lnTo>
                    <a:pt x="2426" y="223"/>
                  </a:lnTo>
                  <a:lnTo>
                    <a:pt x="2429" y="222"/>
                  </a:lnTo>
                  <a:lnTo>
                    <a:pt x="2433" y="219"/>
                  </a:lnTo>
                  <a:lnTo>
                    <a:pt x="2436" y="218"/>
                  </a:lnTo>
                  <a:lnTo>
                    <a:pt x="2436" y="217"/>
                  </a:lnTo>
                  <a:lnTo>
                    <a:pt x="2436" y="215"/>
                  </a:lnTo>
                  <a:lnTo>
                    <a:pt x="2435" y="214"/>
                  </a:lnTo>
                  <a:lnTo>
                    <a:pt x="2433" y="213"/>
                  </a:lnTo>
                  <a:lnTo>
                    <a:pt x="2429" y="210"/>
                  </a:lnTo>
                  <a:lnTo>
                    <a:pt x="2425" y="207"/>
                  </a:lnTo>
                  <a:lnTo>
                    <a:pt x="2418" y="205"/>
                  </a:lnTo>
                  <a:lnTo>
                    <a:pt x="2409" y="202"/>
                  </a:lnTo>
                  <a:lnTo>
                    <a:pt x="2397" y="198"/>
                  </a:lnTo>
                  <a:lnTo>
                    <a:pt x="2389" y="193"/>
                  </a:lnTo>
                  <a:lnTo>
                    <a:pt x="2386" y="192"/>
                  </a:lnTo>
                  <a:lnTo>
                    <a:pt x="2384" y="191"/>
                  </a:lnTo>
                  <a:lnTo>
                    <a:pt x="2382" y="191"/>
                  </a:lnTo>
                  <a:lnTo>
                    <a:pt x="2380" y="191"/>
                  </a:lnTo>
                  <a:lnTo>
                    <a:pt x="2374" y="192"/>
                  </a:lnTo>
                  <a:lnTo>
                    <a:pt x="2369" y="191"/>
                  </a:lnTo>
                  <a:lnTo>
                    <a:pt x="2366" y="190"/>
                  </a:lnTo>
                  <a:lnTo>
                    <a:pt x="2366" y="189"/>
                  </a:lnTo>
                  <a:lnTo>
                    <a:pt x="2368" y="188"/>
                  </a:lnTo>
                  <a:lnTo>
                    <a:pt x="2371" y="186"/>
                  </a:lnTo>
                  <a:lnTo>
                    <a:pt x="2374" y="186"/>
                  </a:lnTo>
                  <a:lnTo>
                    <a:pt x="2379" y="187"/>
                  </a:lnTo>
                  <a:lnTo>
                    <a:pt x="2384" y="189"/>
                  </a:lnTo>
                  <a:lnTo>
                    <a:pt x="2390" y="192"/>
                  </a:lnTo>
                  <a:lnTo>
                    <a:pt x="2397" y="196"/>
                  </a:lnTo>
                  <a:lnTo>
                    <a:pt x="2404" y="196"/>
                  </a:lnTo>
                  <a:lnTo>
                    <a:pt x="2410" y="197"/>
                  </a:lnTo>
                  <a:lnTo>
                    <a:pt x="2418" y="199"/>
                  </a:lnTo>
                  <a:lnTo>
                    <a:pt x="2425" y="202"/>
                  </a:lnTo>
                  <a:lnTo>
                    <a:pt x="2427" y="203"/>
                  </a:lnTo>
                  <a:lnTo>
                    <a:pt x="2428" y="203"/>
                  </a:lnTo>
                  <a:lnTo>
                    <a:pt x="2431" y="204"/>
                  </a:lnTo>
                  <a:lnTo>
                    <a:pt x="2434" y="204"/>
                  </a:lnTo>
                  <a:lnTo>
                    <a:pt x="2437" y="202"/>
                  </a:lnTo>
                  <a:lnTo>
                    <a:pt x="2442" y="200"/>
                  </a:lnTo>
                  <a:lnTo>
                    <a:pt x="2449" y="199"/>
                  </a:lnTo>
                  <a:lnTo>
                    <a:pt x="2452" y="199"/>
                  </a:lnTo>
                  <a:lnTo>
                    <a:pt x="2454" y="198"/>
                  </a:lnTo>
                  <a:lnTo>
                    <a:pt x="2454" y="197"/>
                  </a:lnTo>
                  <a:lnTo>
                    <a:pt x="2452" y="196"/>
                  </a:lnTo>
                  <a:lnTo>
                    <a:pt x="2440" y="188"/>
                  </a:lnTo>
                  <a:lnTo>
                    <a:pt x="2422" y="177"/>
                  </a:lnTo>
                  <a:lnTo>
                    <a:pt x="2401" y="165"/>
                  </a:lnTo>
                  <a:lnTo>
                    <a:pt x="2384" y="159"/>
                  </a:lnTo>
                  <a:lnTo>
                    <a:pt x="2380" y="158"/>
                  </a:lnTo>
                  <a:lnTo>
                    <a:pt x="2379" y="159"/>
                  </a:lnTo>
                  <a:lnTo>
                    <a:pt x="2378" y="160"/>
                  </a:lnTo>
                  <a:lnTo>
                    <a:pt x="2379" y="162"/>
                  </a:lnTo>
                  <a:lnTo>
                    <a:pt x="2380" y="163"/>
                  </a:lnTo>
                  <a:lnTo>
                    <a:pt x="2380" y="164"/>
                  </a:lnTo>
                  <a:lnTo>
                    <a:pt x="2378" y="164"/>
                  </a:lnTo>
                  <a:lnTo>
                    <a:pt x="2373" y="161"/>
                  </a:lnTo>
                  <a:lnTo>
                    <a:pt x="2361" y="155"/>
                  </a:lnTo>
                  <a:lnTo>
                    <a:pt x="2360" y="155"/>
                  </a:lnTo>
                  <a:lnTo>
                    <a:pt x="2363" y="157"/>
                  </a:lnTo>
                  <a:lnTo>
                    <a:pt x="2371" y="161"/>
                  </a:lnTo>
                  <a:lnTo>
                    <a:pt x="2376" y="164"/>
                  </a:lnTo>
                  <a:lnTo>
                    <a:pt x="2376" y="164"/>
                  </a:lnTo>
                  <a:lnTo>
                    <a:pt x="2368" y="163"/>
                  </a:lnTo>
                  <a:lnTo>
                    <a:pt x="2358" y="159"/>
                  </a:lnTo>
                  <a:lnTo>
                    <a:pt x="2351" y="154"/>
                  </a:lnTo>
                  <a:lnTo>
                    <a:pt x="2346" y="150"/>
                  </a:lnTo>
                  <a:lnTo>
                    <a:pt x="2345" y="149"/>
                  </a:lnTo>
                  <a:lnTo>
                    <a:pt x="2343" y="148"/>
                  </a:lnTo>
                  <a:lnTo>
                    <a:pt x="2342" y="148"/>
                  </a:lnTo>
                  <a:lnTo>
                    <a:pt x="2342" y="149"/>
                  </a:lnTo>
                  <a:lnTo>
                    <a:pt x="2334" y="153"/>
                  </a:lnTo>
                  <a:lnTo>
                    <a:pt x="2329" y="156"/>
                  </a:lnTo>
                  <a:lnTo>
                    <a:pt x="2330" y="164"/>
                  </a:lnTo>
                  <a:lnTo>
                    <a:pt x="2330" y="170"/>
                  </a:lnTo>
                  <a:lnTo>
                    <a:pt x="2324" y="171"/>
                  </a:lnTo>
                  <a:lnTo>
                    <a:pt x="2316" y="170"/>
                  </a:lnTo>
                  <a:lnTo>
                    <a:pt x="2313" y="169"/>
                  </a:lnTo>
                  <a:lnTo>
                    <a:pt x="2310" y="167"/>
                  </a:lnTo>
                  <a:lnTo>
                    <a:pt x="2309" y="167"/>
                  </a:lnTo>
                  <a:lnTo>
                    <a:pt x="2309" y="166"/>
                  </a:lnTo>
                  <a:lnTo>
                    <a:pt x="2309" y="165"/>
                  </a:lnTo>
                  <a:lnTo>
                    <a:pt x="2310" y="165"/>
                  </a:lnTo>
                  <a:lnTo>
                    <a:pt x="2315" y="163"/>
                  </a:lnTo>
                  <a:lnTo>
                    <a:pt x="2318" y="161"/>
                  </a:lnTo>
                  <a:lnTo>
                    <a:pt x="2320" y="159"/>
                  </a:lnTo>
                  <a:lnTo>
                    <a:pt x="2320" y="156"/>
                  </a:lnTo>
                  <a:lnTo>
                    <a:pt x="2321" y="149"/>
                  </a:lnTo>
                  <a:lnTo>
                    <a:pt x="2320" y="143"/>
                  </a:lnTo>
                  <a:lnTo>
                    <a:pt x="2316" y="138"/>
                  </a:lnTo>
                  <a:lnTo>
                    <a:pt x="2309" y="132"/>
                  </a:lnTo>
                  <a:lnTo>
                    <a:pt x="2302" y="126"/>
                  </a:lnTo>
                  <a:lnTo>
                    <a:pt x="2297" y="124"/>
                  </a:lnTo>
                  <a:lnTo>
                    <a:pt x="2290" y="123"/>
                  </a:lnTo>
                  <a:lnTo>
                    <a:pt x="2283" y="122"/>
                  </a:lnTo>
                  <a:lnTo>
                    <a:pt x="2281" y="122"/>
                  </a:lnTo>
                  <a:lnTo>
                    <a:pt x="2279" y="122"/>
                  </a:lnTo>
                  <a:lnTo>
                    <a:pt x="2278" y="122"/>
                  </a:lnTo>
                  <a:lnTo>
                    <a:pt x="2278" y="123"/>
                  </a:lnTo>
                  <a:lnTo>
                    <a:pt x="2279" y="125"/>
                  </a:lnTo>
                  <a:lnTo>
                    <a:pt x="2278" y="126"/>
                  </a:lnTo>
                  <a:lnTo>
                    <a:pt x="2277" y="126"/>
                  </a:lnTo>
                  <a:lnTo>
                    <a:pt x="2275" y="127"/>
                  </a:lnTo>
                  <a:lnTo>
                    <a:pt x="2271" y="128"/>
                  </a:lnTo>
                  <a:lnTo>
                    <a:pt x="2265" y="128"/>
                  </a:lnTo>
                  <a:lnTo>
                    <a:pt x="2251" y="126"/>
                  </a:lnTo>
                  <a:lnTo>
                    <a:pt x="2241" y="125"/>
                  </a:lnTo>
                  <a:lnTo>
                    <a:pt x="2252" y="124"/>
                  </a:lnTo>
                  <a:lnTo>
                    <a:pt x="2263" y="124"/>
                  </a:lnTo>
                  <a:lnTo>
                    <a:pt x="2264" y="123"/>
                  </a:lnTo>
                  <a:lnTo>
                    <a:pt x="2266" y="123"/>
                  </a:lnTo>
                  <a:lnTo>
                    <a:pt x="2266" y="121"/>
                  </a:lnTo>
                  <a:lnTo>
                    <a:pt x="2265" y="120"/>
                  </a:lnTo>
                  <a:lnTo>
                    <a:pt x="2257" y="115"/>
                  </a:lnTo>
                  <a:lnTo>
                    <a:pt x="2247" y="111"/>
                  </a:lnTo>
                  <a:lnTo>
                    <a:pt x="2240" y="109"/>
                  </a:lnTo>
                  <a:lnTo>
                    <a:pt x="2230" y="106"/>
                  </a:lnTo>
                  <a:lnTo>
                    <a:pt x="2218" y="103"/>
                  </a:lnTo>
                  <a:lnTo>
                    <a:pt x="2207" y="101"/>
                  </a:lnTo>
                  <a:lnTo>
                    <a:pt x="2191" y="101"/>
                  </a:lnTo>
                  <a:lnTo>
                    <a:pt x="2176" y="100"/>
                  </a:lnTo>
                  <a:lnTo>
                    <a:pt x="2166" y="99"/>
                  </a:lnTo>
                  <a:lnTo>
                    <a:pt x="2158" y="98"/>
                  </a:lnTo>
                  <a:lnTo>
                    <a:pt x="2154" y="97"/>
                  </a:lnTo>
                  <a:lnTo>
                    <a:pt x="2152" y="96"/>
                  </a:lnTo>
                  <a:lnTo>
                    <a:pt x="2151" y="95"/>
                  </a:lnTo>
                  <a:lnTo>
                    <a:pt x="2152" y="94"/>
                  </a:lnTo>
                  <a:lnTo>
                    <a:pt x="2158" y="93"/>
                  </a:lnTo>
                  <a:lnTo>
                    <a:pt x="2164" y="92"/>
                  </a:lnTo>
                  <a:lnTo>
                    <a:pt x="2170" y="92"/>
                  </a:lnTo>
                  <a:lnTo>
                    <a:pt x="2177" y="93"/>
                  </a:lnTo>
                  <a:lnTo>
                    <a:pt x="2185" y="93"/>
                  </a:lnTo>
                  <a:lnTo>
                    <a:pt x="2195" y="95"/>
                  </a:lnTo>
                  <a:lnTo>
                    <a:pt x="2207" y="97"/>
                  </a:lnTo>
                  <a:lnTo>
                    <a:pt x="2218" y="99"/>
                  </a:lnTo>
                  <a:lnTo>
                    <a:pt x="2228" y="103"/>
                  </a:lnTo>
                  <a:lnTo>
                    <a:pt x="2238" y="106"/>
                  </a:lnTo>
                  <a:lnTo>
                    <a:pt x="2246" y="109"/>
                  </a:lnTo>
                  <a:lnTo>
                    <a:pt x="2251" y="110"/>
                  </a:lnTo>
                  <a:lnTo>
                    <a:pt x="2262" y="112"/>
                  </a:lnTo>
                  <a:lnTo>
                    <a:pt x="2280" y="115"/>
                  </a:lnTo>
                  <a:lnTo>
                    <a:pt x="2292" y="118"/>
                  </a:lnTo>
                  <a:lnTo>
                    <a:pt x="2296" y="118"/>
                  </a:lnTo>
                  <a:lnTo>
                    <a:pt x="2296" y="117"/>
                  </a:lnTo>
                  <a:lnTo>
                    <a:pt x="2288" y="113"/>
                  </a:lnTo>
                  <a:lnTo>
                    <a:pt x="2277" y="108"/>
                  </a:lnTo>
                  <a:lnTo>
                    <a:pt x="2262" y="102"/>
                  </a:lnTo>
                  <a:lnTo>
                    <a:pt x="2250" y="97"/>
                  </a:lnTo>
                  <a:lnTo>
                    <a:pt x="2243" y="95"/>
                  </a:lnTo>
                  <a:lnTo>
                    <a:pt x="2239" y="94"/>
                  </a:lnTo>
                  <a:lnTo>
                    <a:pt x="2233" y="92"/>
                  </a:lnTo>
                  <a:lnTo>
                    <a:pt x="2234" y="92"/>
                  </a:lnTo>
                  <a:lnTo>
                    <a:pt x="2233" y="90"/>
                  </a:lnTo>
                  <a:lnTo>
                    <a:pt x="2228" y="87"/>
                  </a:lnTo>
                  <a:lnTo>
                    <a:pt x="2218" y="83"/>
                  </a:lnTo>
                  <a:lnTo>
                    <a:pt x="2208" y="81"/>
                  </a:lnTo>
                  <a:lnTo>
                    <a:pt x="2193" y="77"/>
                  </a:lnTo>
                  <a:lnTo>
                    <a:pt x="2183" y="74"/>
                  </a:lnTo>
                  <a:lnTo>
                    <a:pt x="2172" y="70"/>
                  </a:lnTo>
                  <a:lnTo>
                    <a:pt x="2162" y="67"/>
                  </a:lnTo>
                  <a:lnTo>
                    <a:pt x="2153" y="65"/>
                  </a:lnTo>
                  <a:lnTo>
                    <a:pt x="2141" y="62"/>
                  </a:lnTo>
                  <a:lnTo>
                    <a:pt x="2125" y="59"/>
                  </a:lnTo>
                  <a:lnTo>
                    <a:pt x="2116" y="57"/>
                  </a:lnTo>
                  <a:lnTo>
                    <a:pt x="2104" y="55"/>
                  </a:lnTo>
                  <a:lnTo>
                    <a:pt x="2095" y="53"/>
                  </a:lnTo>
                  <a:lnTo>
                    <a:pt x="2093" y="52"/>
                  </a:lnTo>
                  <a:lnTo>
                    <a:pt x="2104" y="54"/>
                  </a:lnTo>
                  <a:lnTo>
                    <a:pt x="2124" y="57"/>
                  </a:lnTo>
                  <a:lnTo>
                    <a:pt x="2133" y="58"/>
                  </a:lnTo>
                  <a:lnTo>
                    <a:pt x="2142" y="60"/>
                  </a:lnTo>
                  <a:lnTo>
                    <a:pt x="2150" y="62"/>
                  </a:lnTo>
                  <a:lnTo>
                    <a:pt x="2155" y="64"/>
                  </a:lnTo>
                  <a:lnTo>
                    <a:pt x="2167" y="68"/>
                  </a:lnTo>
                  <a:lnTo>
                    <a:pt x="2183" y="72"/>
                  </a:lnTo>
                  <a:lnTo>
                    <a:pt x="2196" y="76"/>
                  </a:lnTo>
                  <a:lnTo>
                    <a:pt x="2204" y="78"/>
                  </a:lnTo>
                  <a:lnTo>
                    <a:pt x="2209" y="80"/>
                  </a:lnTo>
                  <a:lnTo>
                    <a:pt x="2214" y="81"/>
                  </a:lnTo>
                  <a:lnTo>
                    <a:pt x="2207" y="79"/>
                  </a:lnTo>
                  <a:lnTo>
                    <a:pt x="2193" y="74"/>
                  </a:lnTo>
                  <a:lnTo>
                    <a:pt x="2178" y="69"/>
                  </a:lnTo>
                  <a:lnTo>
                    <a:pt x="2166" y="66"/>
                  </a:lnTo>
                  <a:lnTo>
                    <a:pt x="2156" y="62"/>
                  </a:lnTo>
                  <a:lnTo>
                    <a:pt x="2144" y="58"/>
                  </a:lnTo>
                  <a:lnTo>
                    <a:pt x="2132" y="55"/>
                  </a:lnTo>
                  <a:lnTo>
                    <a:pt x="2122" y="52"/>
                  </a:lnTo>
                  <a:lnTo>
                    <a:pt x="2110" y="49"/>
                  </a:lnTo>
                  <a:lnTo>
                    <a:pt x="2096" y="45"/>
                  </a:lnTo>
                  <a:lnTo>
                    <a:pt x="2081" y="40"/>
                  </a:lnTo>
                  <a:lnTo>
                    <a:pt x="2068" y="37"/>
                  </a:lnTo>
                  <a:lnTo>
                    <a:pt x="2065" y="37"/>
                  </a:lnTo>
                  <a:lnTo>
                    <a:pt x="2064" y="37"/>
                  </a:lnTo>
                  <a:lnTo>
                    <a:pt x="2064" y="37"/>
                  </a:lnTo>
                  <a:lnTo>
                    <a:pt x="2066" y="38"/>
                  </a:lnTo>
                  <a:lnTo>
                    <a:pt x="2072" y="39"/>
                  </a:lnTo>
                  <a:lnTo>
                    <a:pt x="2072" y="40"/>
                  </a:lnTo>
                  <a:lnTo>
                    <a:pt x="2059" y="37"/>
                  </a:lnTo>
                  <a:lnTo>
                    <a:pt x="2052" y="35"/>
                  </a:lnTo>
                  <a:lnTo>
                    <a:pt x="2053" y="35"/>
                  </a:lnTo>
                  <a:lnTo>
                    <a:pt x="2055" y="36"/>
                  </a:lnTo>
                  <a:lnTo>
                    <a:pt x="2056" y="37"/>
                  </a:lnTo>
                  <a:lnTo>
                    <a:pt x="2051" y="36"/>
                  </a:lnTo>
                  <a:lnTo>
                    <a:pt x="2041" y="33"/>
                  </a:lnTo>
                  <a:lnTo>
                    <a:pt x="2039" y="33"/>
                  </a:lnTo>
                  <a:lnTo>
                    <a:pt x="2040" y="34"/>
                  </a:lnTo>
                  <a:lnTo>
                    <a:pt x="2045" y="36"/>
                  </a:lnTo>
                  <a:lnTo>
                    <a:pt x="2052" y="38"/>
                  </a:lnTo>
                  <a:lnTo>
                    <a:pt x="2059" y="39"/>
                  </a:lnTo>
                  <a:lnTo>
                    <a:pt x="2061" y="40"/>
                  </a:lnTo>
                  <a:lnTo>
                    <a:pt x="2063" y="42"/>
                  </a:lnTo>
                  <a:lnTo>
                    <a:pt x="2062" y="42"/>
                  </a:lnTo>
                  <a:lnTo>
                    <a:pt x="2060" y="42"/>
                  </a:lnTo>
                  <a:lnTo>
                    <a:pt x="2052" y="39"/>
                  </a:lnTo>
                  <a:lnTo>
                    <a:pt x="2042" y="37"/>
                  </a:lnTo>
                  <a:lnTo>
                    <a:pt x="2037" y="36"/>
                  </a:lnTo>
                  <a:lnTo>
                    <a:pt x="2038" y="37"/>
                  </a:lnTo>
                  <a:lnTo>
                    <a:pt x="2049" y="40"/>
                  </a:lnTo>
                  <a:lnTo>
                    <a:pt x="2050" y="42"/>
                  </a:lnTo>
                  <a:lnTo>
                    <a:pt x="2043" y="40"/>
                  </a:lnTo>
                  <a:lnTo>
                    <a:pt x="2043" y="40"/>
                  </a:lnTo>
                  <a:lnTo>
                    <a:pt x="2047" y="43"/>
                  </a:lnTo>
                  <a:lnTo>
                    <a:pt x="2053" y="45"/>
                  </a:lnTo>
                  <a:lnTo>
                    <a:pt x="2055" y="46"/>
                  </a:lnTo>
                  <a:lnTo>
                    <a:pt x="2056" y="46"/>
                  </a:lnTo>
                  <a:lnTo>
                    <a:pt x="2056" y="46"/>
                  </a:lnTo>
                  <a:lnTo>
                    <a:pt x="2053" y="46"/>
                  </a:lnTo>
                  <a:lnTo>
                    <a:pt x="2041" y="43"/>
                  </a:lnTo>
                  <a:lnTo>
                    <a:pt x="2029" y="38"/>
                  </a:lnTo>
                  <a:lnTo>
                    <a:pt x="2015" y="34"/>
                  </a:lnTo>
                  <a:lnTo>
                    <a:pt x="2005" y="31"/>
                  </a:lnTo>
                  <a:lnTo>
                    <a:pt x="1990" y="26"/>
                  </a:lnTo>
                  <a:lnTo>
                    <a:pt x="1981" y="24"/>
                  </a:lnTo>
                  <a:lnTo>
                    <a:pt x="1988" y="27"/>
                  </a:lnTo>
                  <a:lnTo>
                    <a:pt x="1990" y="28"/>
                  </a:lnTo>
                  <a:lnTo>
                    <a:pt x="1975" y="26"/>
                  </a:lnTo>
                  <a:lnTo>
                    <a:pt x="1968" y="25"/>
                  </a:lnTo>
                  <a:lnTo>
                    <a:pt x="1967" y="26"/>
                  </a:lnTo>
                  <a:lnTo>
                    <a:pt x="1967" y="27"/>
                  </a:lnTo>
                  <a:lnTo>
                    <a:pt x="1969" y="28"/>
                  </a:lnTo>
                  <a:lnTo>
                    <a:pt x="1975" y="30"/>
                  </a:lnTo>
                  <a:lnTo>
                    <a:pt x="1986" y="31"/>
                  </a:lnTo>
                  <a:lnTo>
                    <a:pt x="1996" y="33"/>
                  </a:lnTo>
                  <a:lnTo>
                    <a:pt x="2008" y="36"/>
                  </a:lnTo>
                  <a:lnTo>
                    <a:pt x="2018" y="39"/>
                  </a:lnTo>
                  <a:lnTo>
                    <a:pt x="2036" y="48"/>
                  </a:lnTo>
                  <a:lnTo>
                    <a:pt x="2042" y="51"/>
                  </a:lnTo>
                  <a:lnTo>
                    <a:pt x="2042" y="51"/>
                  </a:lnTo>
                  <a:lnTo>
                    <a:pt x="2042" y="52"/>
                  </a:lnTo>
                  <a:lnTo>
                    <a:pt x="2039" y="52"/>
                  </a:lnTo>
                  <a:lnTo>
                    <a:pt x="2032" y="49"/>
                  </a:lnTo>
                  <a:lnTo>
                    <a:pt x="2024" y="46"/>
                  </a:lnTo>
                  <a:lnTo>
                    <a:pt x="2018" y="43"/>
                  </a:lnTo>
                  <a:lnTo>
                    <a:pt x="2011" y="39"/>
                  </a:lnTo>
                  <a:lnTo>
                    <a:pt x="2000" y="36"/>
                  </a:lnTo>
                  <a:lnTo>
                    <a:pt x="1983" y="33"/>
                  </a:lnTo>
                  <a:lnTo>
                    <a:pt x="1961" y="29"/>
                  </a:lnTo>
                  <a:lnTo>
                    <a:pt x="1951" y="27"/>
                  </a:lnTo>
                  <a:lnTo>
                    <a:pt x="1946" y="27"/>
                  </a:lnTo>
                  <a:lnTo>
                    <a:pt x="1945" y="27"/>
                  </a:lnTo>
                  <a:lnTo>
                    <a:pt x="1945" y="27"/>
                  </a:lnTo>
                  <a:lnTo>
                    <a:pt x="1946" y="28"/>
                  </a:lnTo>
                  <a:lnTo>
                    <a:pt x="1949" y="29"/>
                  </a:lnTo>
                  <a:lnTo>
                    <a:pt x="1964" y="34"/>
                  </a:lnTo>
                  <a:lnTo>
                    <a:pt x="1974" y="37"/>
                  </a:lnTo>
                  <a:lnTo>
                    <a:pt x="1983" y="40"/>
                  </a:lnTo>
                  <a:lnTo>
                    <a:pt x="1988" y="44"/>
                  </a:lnTo>
                  <a:lnTo>
                    <a:pt x="1997" y="47"/>
                  </a:lnTo>
                  <a:lnTo>
                    <a:pt x="2011" y="51"/>
                  </a:lnTo>
                  <a:lnTo>
                    <a:pt x="2016" y="53"/>
                  </a:lnTo>
                  <a:lnTo>
                    <a:pt x="2019" y="54"/>
                  </a:lnTo>
                  <a:lnTo>
                    <a:pt x="2018" y="54"/>
                  </a:lnTo>
                  <a:lnTo>
                    <a:pt x="2012" y="53"/>
                  </a:lnTo>
                  <a:lnTo>
                    <a:pt x="1996" y="50"/>
                  </a:lnTo>
                  <a:lnTo>
                    <a:pt x="1986" y="47"/>
                  </a:lnTo>
                  <a:lnTo>
                    <a:pt x="1981" y="46"/>
                  </a:lnTo>
                  <a:lnTo>
                    <a:pt x="1979" y="45"/>
                  </a:lnTo>
                  <a:lnTo>
                    <a:pt x="1978" y="45"/>
                  </a:lnTo>
                  <a:lnTo>
                    <a:pt x="1977" y="46"/>
                  </a:lnTo>
                  <a:lnTo>
                    <a:pt x="1976" y="51"/>
                  </a:lnTo>
                  <a:lnTo>
                    <a:pt x="1977" y="54"/>
                  </a:lnTo>
                  <a:lnTo>
                    <a:pt x="1983" y="56"/>
                  </a:lnTo>
                  <a:lnTo>
                    <a:pt x="1990" y="58"/>
                  </a:lnTo>
                  <a:lnTo>
                    <a:pt x="1993" y="59"/>
                  </a:lnTo>
                  <a:lnTo>
                    <a:pt x="1995" y="60"/>
                  </a:lnTo>
                  <a:lnTo>
                    <a:pt x="1994" y="60"/>
                  </a:lnTo>
                  <a:lnTo>
                    <a:pt x="1992" y="60"/>
                  </a:lnTo>
                  <a:lnTo>
                    <a:pt x="1983" y="61"/>
                  </a:lnTo>
                  <a:lnTo>
                    <a:pt x="1977" y="61"/>
                  </a:lnTo>
                  <a:lnTo>
                    <a:pt x="1966" y="55"/>
                  </a:lnTo>
                  <a:lnTo>
                    <a:pt x="1954" y="49"/>
                  </a:lnTo>
                  <a:lnTo>
                    <a:pt x="1946" y="46"/>
                  </a:lnTo>
                  <a:lnTo>
                    <a:pt x="1933" y="42"/>
                  </a:lnTo>
                  <a:lnTo>
                    <a:pt x="1928" y="40"/>
                  </a:lnTo>
                  <a:lnTo>
                    <a:pt x="1924" y="38"/>
                  </a:lnTo>
                  <a:lnTo>
                    <a:pt x="1923" y="37"/>
                  </a:lnTo>
                  <a:lnTo>
                    <a:pt x="1923" y="37"/>
                  </a:lnTo>
                  <a:lnTo>
                    <a:pt x="1924" y="37"/>
                  </a:lnTo>
                  <a:lnTo>
                    <a:pt x="1926" y="36"/>
                  </a:lnTo>
                  <a:lnTo>
                    <a:pt x="1937" y="36"/>
                  </a:lnTo>
                  <a:lnTo>
                    <a:pt x="1940" y="36"/>
                  </a:lnTo>
                  <a:lnTo>
                    <a:pt x="1936" y="35"/>
                  </a:lnTo>
                  <a:lnTo>
                    <a:pt x="1928" y="33"/>
                  </a:lnTo>
                  <a:lnTo>
                    <a:pt x="1923" y="31"/>
                  </a:lnTo>
                  <a:lnTo>
                    <a:pt x="1920" y="29"/>
                  </a:lnTo>
                  <a:lnTo>
                    <a:pt x="1918" y="28"/>
                  </a:lnTo>
                  <a:lnTo>
                    <a:pt x="1913" y="28"/>
                  </a:lnTo>
                  <a:lnTo>
                    <a:pt x="1909" y="30"/>
                  </a:lnTo>
                  <a:lnTo>
                    <a:pt x="1908" y="30"/>
                  </a:lnTo>
                  <a:lnTo>
                    <a:pt x="1904" y="28"/>
                  </a:lnTo>
                  <a:lnTo>
                    <a:pt x="1900" y="27"/>
                  </a:lnTo>
                  <a:lnTo>
                    <a:pt x="1890" y="27"/>
                  </a:lnTo>
                  <a:lnTo>
                    <a:pt x="1884" y="28"/>
                  </a:lnTo>
                  <a:lnTo>
                    <a:pt x="1884" y="30"/>
                  </a:lnTo>
                  <a:lnTo>
                    <a:pt x="1887" y="32"/>
                  </a:lnTo>
                  <a:lnTo>
                    <a:pt x="1888" y="33"/>
                  </a:lnTo>
                  <a:lnTo>
                    <a:pt x="1888" y="35"/>
                  </a:lnTo>
                  <a:lnTo>
                    <a:pt x="1890" y="36"/>
                  </a:lnTo>
                  <a:lnTo>
                    <a:pt x="1896" y="39"/>
                  </a:lnTo>
                  <a:lnTo>
                    <a:pt x="1908" y="46"/>
                  </a:lnTo>
                  <a:lnTo>
                    <a:pt x="1911" y="49"/>
                  </a:lnTo>
                  <a:lnTo>
                    <a:pt x="1911" y="50"/>
                  </a:lnTo>
                  <a:lnTo>
                    <a:pt x="1910" y="51"/>
                  </a:lnTo>
                  <a:lnTo>
                    <a:pt x="1908" y="52"/>
                  </a:lnTo>
                  <a:lnTo>
                    <a:pt x="1904" y="51"/>
                  </a:lnTo>
                  <a:lnTo>
                    <a:pt x="1889" y="45"/>
                  </a:lnTo>
                  <a:lnTo>
                    <a:pt x="1881" y="39"/>
                  </a:lnTo>
                  <a:lnTo>
                    <a:pt x="1882" y="39"/>
                  </a:lnTo>
                  <a:lnTo>
                    <a:pt x="1882" y="38"/>
                  </a:lnTo>
                  <a:lnTo>
                    <a:pt x="1882" y="37"/>
                  </a:lnTo>
                  <a:lnTo>
                    <a:pt x="1881" y="36"/>
                  </a:lnTo>
                  <a:lnTo>
                    <a:pt x="1878" y="34"/>
                  </a:lnTo>
                  <a:lnTo>
                    <a:pt x="1874" y="32"/>
                  </a:lnTo>
                  <a:lnTo>
                    <a:pt x="1863" y="30"/>
                  </a:lnTo>
                  <a:lnTo>
                    <a:pt x="1858" y="30"/>
                  </a:lnTo>
                  <a:lnTo>
                    <a:pt x="1859" y="31"/>
                  </a:lnTo>
                  <a:lnTo>
                    <a:pt x="1861" y="33"/>
                  </a:lnTo>
                  <a:lnTo>
                    <a:pt x="1861" y="34"/>
                  </a:lnTo>
                  <a:lnTo>
                    <a:pt x="1861" y="34"/>
                  </a:lnTo>
                  <a:lnTo>
                    <a:pt x="1860" y="34"/>
                  </a:lnTo>
                  <a:lnTo>
                    <a:pt x="1858" y="34"/>
                  </a:lnTo>
                  <a:lnTo>
                    <a:pt x="1849" y="31"/>
                  </a:lnTo>
                  <a:lnTo>
                    <a:pt x="1843" y="28"/>
                  </a:lnTo>
                  <a:lnTo>
                    <a:pt x="1841" y="27"/>
                  </a:lnTo>
                  <a:lnTo>
                    <a:pt x="1839" y="26"/>
                  </a:lnTo>
                  <a:lnTo>
                    <a:pt x="1836" y="25"/>
                  </a:lnTo>
                  <a:lnTo>
                    <a:pt x="1827" y="26"/>
                  </a:lnTo>
                  <a:lnTo>
                    <a:pt x="1811" y="28"/>
                  </a:lnTo>
                  <a:lnTo>
                    <a:pt x="1802" y="30"/>
                  </a:lnTo>
                  <a:lnTo>
                    <a:pt x="1793" y="30"/>
                  </a:lnTo>
                  <a:lnTo>
                    <a:pt x="1780" y="31"/>
                  </a:lnTo>
                  <a:lnTo>
                    <a:pt x="1769" y="31"/>
                  </a:lnTo>
                  <a:lnTo>
                    <a:pt x="1763" y="32"/>
                  </a:lnTo>
                  <a:lnTo>
                    <a:pt x="1769" y="37"/>
                  </a:lnTo>
                  <a:lnTo>
                    <a:pt x="1785" y="46"/>
                  </a:lnTo>
                  <a:lnTo>
                    <a:pt x="1798" y="54"/>
                  </a:lnTo>
                  <a:lnTo>
                    <a:pt x="1801" y="56"/>
                  </a:lnTo>
                  <a:lnTo>
                    <a:pt x="1793" y="52"/>
                  </a:lnTo>
                  <a:lnTo>
                    <a:pt x="1778" y="46"/>
                  </a:lnTo>
                  <a:lnTo>
                    <a:pt x="1771" y="42"/>
                  </a:lnTo>
                  <a:lnTo>
                    <a:pt x="1764" y="39"/>
                  </a:lnTo>
                  <a:lnTo>
                    <a:pt x="1756" y="37"/>
                  </a:lnTo>
                  <a:lnTo>
                    <a:pt x="1751" y="36"/>
                  </a:lnTo>
                  <a:lnTo>
                    <a:pt x="1743" y="36"/>
                  </a:lnTo>
                  <a:lnTo>
                    <a:pt x="1737" y="37"/>
                  </a:lnTo>
                  <a:lnTo>
                    <a:pt x="1735" y="37"/>
                  </a:lnTo>
                  <a:lnTo>
                    <a:pt x="1735" y="38"/>
                  </a:lnTo>
                  <a:lnTo>
                    <a:pt x="1733" y="39"/>
                  </a:lnTo>
                  <a:lnTo>
                    <a:pt x="1727" y="39"/>
                  </a:lnTo>
                  <a:lnTo>
                    <a:pt x="1725" y="39"/>
                  </a:lnTo>
                  <a:lnTo>
                    <a:pt x="1723" y="39"/>
                  </a:lnTo>
                  <a:lnTo>
                    <a:pt x="1722" y="40"/>
                  </a:lnTo>
                  <a:lnTo>
                    <a:pt x="1723" y="42"/>
                  </a:lnTo>
                  <a:lnTo>
                    <a:pt x="1732" y="47"/>
                  </a:lnTo>
                  <a:lnTo>
                    <a:pt x="1742" y="50"/>
                  </a:lnTo>
                  <a:lnTo>
                    <a:pt x="1743" y="51"/>
                  </a:lnTo>
                  <a:lnTo>
                    <a:pt x="1743" y="52"/>
                  </a:lnTo>
                  <a:lnTo>
                    <a:pt x="1742" y="53"/>
                  </a:lnTo>
                  <a:lnTo>
                    <a:pt x="1741" y="53"/>
                  </a:lnTo>
                  <a:lnTo>
                    <a:pt x="1738" y="55"/>
                  </a:lnTo>
                  <a:lnTo>
                    <a:pt x="1736" y="56"/>
                  </a:lnTo>
                  <a:lnTo>
                    <a:pt x="1738" y="58"/>
                  </a:lnTo>
                  <a:lnTo>
                    <a:pt x="1744" y="61"/>
                  </a:lnTo>
                  <a:lnTo>
                    <a:pt x="1747" y="64"/>
                  </a:lnTo>
                  <a:lnTo>
                    <a:pt x="1748" y="66"/>
                  </a:lnTo>
                  <a:lnTo>
                    <a:pt x="1747" y="67"/>
                  </a:lnTo>
                  <a:lnTo>
                    <a:pt x="1744" y="67"/>
                  </a:lnTo>
                  <a:lnTo>
                    <a:pt x="1724" y="64"/>
                  </a:lnTo>
                  <a:lnTo>
                    <a:pt x="1713" y="62"/>
                  </a:lnTo>
                  <a:lnTo>
                    <a:pt x="1706" y="66"/>
                  </a:lnTo>
                  <a:lnTo>
                    <a:pt x="1689" y="72"/>
                  </a:lnTo>
                  <a:lnTo>
                    <a:pt x="1679" y="78"/>
                  </a:lnTo>
                  <a:lnTo>
                    <a:pt x="1668" y="84"/>
                  </a:lnTo>
                  <a:lnTo>
                    <a:pt x="1659" y="90"/>
                  </a:lnTo>
                  <a:lnTo>
                    <a:pt x="1654" y="92"/>
                  </a:lnTo>
                  <a:lnTo>
                    <a:pt x="1651" y="92"/>
                  </a:lnTo>
                  <a:lnTo>
                    <a:pt x="1650" y="90"/>
                  </a:lnTo>
                  <a:lnTo>
                    <a:pt x="1649" y="89"/>
                  </a:lnTo>
                  <a:lnTo>
                    <a:pt x="1647" y="89"/>
                  </a:lnTo>
                  <a:lnTo>
                    <a:pt x="1645" y="90"/>
                  </a:lnTo>
                  <a:lnTo>
                    <a:pt x="1641" y="92"/>
                  </a:lnTo>
                  <a:lnTo>
                    <a:pt x="1635" y="97"/>
                  </a:lnTo>
                  <a:lnTo>
                    <a:pt x="1632" y="101"/>
                  </a:lnTo>
                  <a:lnTo>
                    <a:pt x="1632" y="104"/>
                  </a:lnTo>
                  <a:lnTo>
                    <a:pt x="1633" y="106"/>
                  </a:lnTo>
                  <a:lnTo>
                    <a:pt x="1633" y="109"/>
                  </a:lnTo>
                  <a:lnTo>
                    <a:pt x="1633" y="111"/>
                  </a:lnTo>
                  <a:lnTo>
                    <a:pt x="1636" y="113"/>
                  </a:lnTo>
                  <a:lnTo>
                    <a:pt x="1642" y="116"/>
                  </a:lnTo>
                  <a:lnTo>
                    <a:pt x="1647" y="117"/>
                  </a:lnTo>
                  <a:lnTo>
                    <a:pt x="1654" y="118"/>
                  </a:lnTo>
                  <a:lnTo>
                    <a:pt x="1659" y="117"/>
                  </a:lnTo>
                  <a:lnTo>
                    <a:pt x="1665" y="116"/>
                  </a:lnTo>
                  <a:lnTo>
                    <a:pt x="1678" y="115"/>
                  </a:lnTo>
                  <a:lnTo>
                    <a:pt x="1690" y="115"/>
                  </a:lnTo>
                  <a:lnTo>
                    <a:pt x="1701" y="116"/>
                  </a:lnTo>
                  <a:lnTo>
                    <a:pt x="1706" y="116"/>
                  </a:lnTo>
                  <a:lnTo>
                    <a:pt x="1706" y="117"/>
                  </a:lnTo>
                  <a:lnTo>
                    <a:pt x="1703" y="119"/>
                  </a:lnTo>
                  <a:lnTo>
                    <a:pt x="1695" y="122"/>
                  </a:lnTo>
                  <a:lnTo>
                    <a:pt x="1688" y="122"/>
                  </a:lnTo>
                  <a:lnTo>
                    <a:pt x="1685" y="123"/>
                  </a:lnTo>
                  <a:lnTo>
                    <a:pt x="1683" y="124"/>
                  </a:lnTo>
                  <a:lnTo>
                    <a:pt x="1682" y="125"/>
                  </a:lnTo>
                  <a:lnTo>
                    <a:pt x="1683" y="127"/>
                  </a:lnTo>
                  <a:lnTo>
                    <a:pt x="1690" y="132"/>
                  </a:lnTo>
                  <a:lnTo>
                    <a:pt x="1696" y="136"/>
                  </a:lnTo>
                  <a:lnTo>
                    <a:pt x="1699" y="137"/>
                  </a:lnTo>
                  <a:lnTo>
                    <a:pt x="1700" y="139"/>
                  </a:lnTo>
                  <a:lnTo>
                    <a:pt x="1700" y="140"/>
                  </a:lnTo>
                  <a:lnTo>
                    <a:pt x="1698" y="142"/>
                  </a:lnTo>
                  <a:lnTo>
                    <a:pt x="1685" y="148"/>
                  </a:lnTo>
                  <a:lnTo>
                    <a:pt x="1673" y="156"/>
                  </a:lnTo>
                  <a:lnTo>
                    <a:pt x="1665" y="159"/>
                  </a:lnTo>
                  <a:lnTo>
                    <a:pt x="1654" y="161"/>
                  </a:lnTo>
                  <a:lnTo>
                    <a:pt x="1640" y="163"/>
                  </a:lnTo>
                  <a:lnTo>
                    <a:pt x="1627" y="163"/>
                  </a:lnTo>
                  <a:lnTo>
                    <a:pt x="1622" y="163"/>
                  </a:lnTo>
                  <a:lnTo>
                    <a:pt x="1618" y="164"/>
                  </a:lnTo>
                  <a:lnTo>
                    <a:pt x="1616" y="165"/>
                  </a:lnTo>
                  <a:lnTo>
                    <a:pt x="1615" y="167"/>
                  </a:lnTo>
                  <a:lnTo>
                    <a:pt x="1614" y="169"/>
                  </a:lnTo>
                  <a:lnTo>
                    <a:pt x="1613" y="170"/>
                  </a:lnTo>
                  <a:lnTo>
                    <a:pt x="1611" y="172"/>
                  </a:lnTo>
                  <a:lnTo>
                    <a:pt x="1607" y="174"/>
                  </a:lnTo>
                  <a:lnTo>
                    <a:pt x="1593" y="178"/>
                  </a:lnTo>
                  <a:lnTo>
                    <a:pt x="1573" y="185"/>
                  </a:lnTo>
                  <a:lnTo>
                    <a:pt x="1563" y="188"/>
                  </a:lnTo>
                  <a:lnTo>
                    <a:pt x="1556" y="193"/>
                  </a:lnTo>
                  <a:lnTo>
                    <a:pt x="1554" y="196"/>
                  </a:lnTo>
                  <a:lnTo>
                    <a:pt x="1552" y="198"/>
                  </a:lnTo>
                  <a:lnTo>
                    <a:pt x="1551" y="200"/>
                  </a:lnTo>
                  <a:lnTo>
                    <a:pt x="1552" y="202"/>
                  </a:lnTo>
                  <a:lnTo>
                    <a:pt x="1555" y="206"/>
                  </a:lnTo>
                  <a:lnTo>
                    <a:pt x="1559" y="210"/>
                  </a:lnTo>
                  <a:lnTo>
                    <a:pt x="1563" y="213"/>
                  </a:lnTo>
                  <a:lnTo>
                    <a:pt x="1570" y="215"/>
                  </a:lnTo>
                  <a:lnTo>
                    <a:pt x="1575" y="219"/>
                  </a:lnTo>
                  <a:lnTo>
                    <a:pt x="1581" y="222"/>
                  </a:lnTo>
                  <a:lnTo>
                    <a:pt x="1585" y="225"/>
                  </a:lnTo>
                  <a:lnTo>
                    <a:pt x="1590" y="230"/>
                  </a:lnTo>
                  <a:lnTo>
                    <a:pt x="1593" y="239"/>
                  </a:lnTo>
                  <a:lnTo>
                    <a:pt x="1594" y="243"/>
                  </a:lnTo>
                  <a:lnTo>
                    <a:pt x="1594" y="245"/>
                  </a:lnTo>
                  <a:lnTo>
                    <a:pt x="1593" y="246"/>
                  </a:lnTo>
                  <a:lnTo>
                    <a:pt x="1591" y="247"/>
                  </a:lnTo>
                  <a:lnTo>
                    <a:pt x="1586" y="248"/>
                  </a:lnTo>
                  <a:lnTo>
                    <a:pt x="1584" y="249"/>
                  </a:lnTo>
                  <a:lnTo>
                    <a:pt x="1583" y="250"/>
                  </a:lnTo>
                  <a:lnTo>
                    <a:pt x="1584" y="251"/>
                  </a:lnTo>
                  <a:lnTo>
                    <a:pt x="1586" y="253"/>
                  </a:lnTo>
                  <a:lnTo>
                    <a:pt x="1590" y="253"/>
                  </a:lnTo>
                  <a:lnTo>
                    <a:pt x="1593" y="254"/>
                  </a:lnTo>
                  <a:lnTo>
                    <a:pt x="1597" y="253"/>
                  </a:lnTo>
                  <a:lnTo>
                    <a:pt x="1602" y="253"/>
                  </a:lnTo>
                  <a:lnTo>
                    <a:pt x="1612" y="249"/>
                  </a:lnTo>
                  <a:lnTo>
                    <a:pt x="1623" y="244"/>
                  </a:lnTo>
                  <a:lnTo>
                    <a:pt x="1634" y="240"/>
                  </a:lnTo>
                  <a:lnTo>
                    <a:pt x="1640" y="240"/>
                  </a:lnTo>
                  <a:lnTo>
                    <a:pt x="1645" y="241"/>
                  </a:lnTo>
                  <a:lnTo>
                    <a:pt x="1654" y="242"/>
                  </a:lnTo>
                  <a:lnTo>
                    <a:pt x="1657" y="243"/>
                  </a:lnTo>
                  <a:lnTo>
                    <a:pt x="1659" y="244"/>
                  </a:lnTo>
                  <a:lnTo>
                    <a:pt x="1659" y="245"/>
                  </a:lnTo>
                  <a:lnTo>
                    <a:pt x="1656" y="247"/>
                  </a:lnTo>
                  <a:lnTo>
                    <a:pt x="1651" y="249"/>
                  </a:lnTo>
                  <a:lnTo>
                    <a:pt x="1646" y="249"/>
                  </a:lnTo>
                  <a:lnTo>
                    <a:pt x="1641" y="248"/>
                  </a:lnTo>
                  <a:lnTo>
                    <a:pt x="1636" y="248"/>
                  </a:lnTo>
                  <a:lnTo>
                    <a:pt x="1630" y="247"/>
                  </a:lnTo>
                  <a:lnTo>
                    <a:pt x="1625" y="247"/>
                  </a:lnTo>
                  <a:lnTo>
                    <a:pt x="1621" y="249"/>
                  </a:lnTo>
                  <a:lnTo>
                    <a:pt x="1618" y="252"/>
                  </a:lnTo>
                  <a:lnTo>
                    <a:pt x="1614" y="256"/>
                  </a:lnTo>
                  <a:lnTo>
                    <a:pt x="1611" y="258"/>
                  </a:lnTo>
                  <a:lnTo>
                    <a:pt x="1608" y="259"/>
                  </a:lnTo>
                  <a:lnTo>
                    <a:pt x="1605" y="259"/>
                  </a:lnTo>
                  <a:lnTo>
                    <a:pt x="1603" y="259"/>
                  </a:lnTo>
                  <a:lnTo>
                    <a:pt x="1601" y="259"/>
                  </a:lnTo>
                  <a:lnTo>
                    <a:pt x="1599" y="261"/>
                  </a:lnTo>
                  <a:lnTo>
                    <a:pt x="1598" y="262"/>
                  </a:lnTo>
                  <a:lnTo>
                    <a:pt x="1596" y="264"/>
                  </a:lnTo>
                  <a:lnTo>
                    <a:pt x="1593" y="265"/>
                  </a:lnTo>
                  <a:lnTo>
                    <a:pt x="1589" y="265"/>
                  </a:lnTo>
                  <a:lnTo>
                    <a:pt x="1583" y="265"/>
                  </a:lnTo>
                  <a:lnTo>
                    <a:pt x="1579" y="265"/>
                  </a:lnTo>
                  <a:lnTo>
                    <a:pt x="1575" y="265"/>
                  </a:lnTo>
                  <a:lnTo>
                    <a:pt x="1574" y="266"/>
                  </a:lnTo>
                  <a:lnTo>
                    <a:pt x="1573" y="267"/>
                  </a:lnTo>
                  <a:lnTo>
                    <a:pt x="1572" y="268"/>
                  </a:lnTo>
                  <a:lnTo>
                    <a:pt x="1572" y="269"/>
                  </a:lnTo>
                  <a:lnTo>
                    <a:pt x="1572" y="272"/>
                  </a:lnTo>
                  <a:lnTo>
                    <a:pt x="1574" y="275"/>
                  </a:lnTo>
                  <a:lnTo>
                    <a:pt x="1576" y="277"/>
                  </a:lnTo>
                  <a:lnTo>
                    <a:pt x="1579" y="278"/>
                  </a:lnTo>
                  <a:lnTo>
                    <a:pt x="1585" y="284"/>
                  </a:lnTo>
                  <a:lnTo>
                    <a:pt x="1593" y="291"/>
                  </a:lnTo>
                  <a:lnTo>
                    <a:pt x="1596" y="295"/>
                  </a:lnTo>
                  <a:lnTo>
                    <a:pt x="1597" y="298"/>
                  </a:lnTo>
                  <a:lnTo>
                    <a:pt x="1598" y="301"/>
                  </a:lnTo>
                  <a:lnTo>
                    <a:pt x="1598" y="302"/>
                  </a:lnTo>
                  <a:lnTo>
                    <a:pt x="1598" y="305"/>
                  </a:lnTo>
                  <a:lnTo>
                    <a:pt x="1599" y="307"/>
                  </a:lnTo>
                  <a:lnTo>
                    <a:pt x="1601" y="309"/>
                  </a:lnTo>
                  <a:lnTo>
                    <a:pt x="1604" y="312"/>
                  </a:lnTo>
                  <a:lnTo>
                    <a:pt x="1610" y="316"/>
                  </a:lnTo>
                  <a:lnTo>
                    <a:pt x="1615" y="319"/>
                  </a:lnTo>
                  <a:lnTo>
                    <a:pt x="1621" y="322"/>
                  </a:lnTo>
                  <a:lnTo>
                    <a:pt x="1628" y="324"/>
                  </a:lnTo>
                  <a:lnTo>
                    <a:pt x="1637" y="327"/>
                  </a:lnTo>
                  <a:lnTo>
                    <a:pt x="1646" y="329"/>
                  </a:lnTo>
                  <a:lnTo>
                    <a:pt x="1657" y="330"/>
                  </a:lnTo>
                  <a:lnTo>
                    <a:pt x="1668" y="330"/>
                  </a:lnTo>
                  <a:lnTo>
                    <a:pt x="1681" y="329"/>
                  </a:lnTo>
                  <a:lnTo>
                    <a:pt x="1691" y="327"/>
                  </a:lnTo>
                  <a:lnTo>
                    <a:pt x="1702" y="323"/>
                  </a:lnTo>
                  <a:lnTo>
                    <a:pt x="1710" y="320"/>
                  </a:lnTo>
                  <a:lnTo>
                    <a:pt x="1719" y="317"/>
                  </a:lnTo>
                  <a:lnTo>
                    <a:pt x="1725" y="315"/>
                  </a:lnTo>
                  <a:lnTo>
                    <a:pt x="1731" y="314"/>
                  </a:lnTo>
                  <a:lnTo>
                    <a:pt x="1736" y="315"/>
                  </a:lnTo>
                  <a:lnTo>
                    <a:pt x="1748" y="319"/>
                  </a:lnTo>
                  <a:lnTo>
                    <a:pt x="1764" y="324"/>
                  </a:lnTo>
                  <a:lnTo>
                    <a:pt x="1772" y="329"/>
                  </a:lnTo>
                  <a:lnTo>
                    <a:pt x="1781" y="332"/>
                  </a:lnTo>
                  <a:lnTo>
                    <a:pt x="1789" y="337"/>
                  </a:lnTo>
                  <a:lnTo>
                    <a:pt x="1796" y="341"/>
                  </a:lnTo>
                  <a:lnTo>
                    <a:pt x="1809" y="351"/>
                  </a:lnTo>
                  <a:lnTo>
                    <a:pt x="1820" y="356"/>
                  </a:lnTo>
                  <a:lnTo>
                    <a:pt x="1825" y="359"/>
                  </a:lnTo>
                  <a:lnTo>
                    <a:pt x="1829" y="362"/>
                  </a:lnTo>
                  <a:lnTo>
                    <a:pt x="1832" y="366"/>
                  </a:lnTo>
                  <a:lnTo>
                    <a:pt x="1833" y="372"/>
                  </a:lnTo>
                  <a:lnTo>
                    <a:pt x="1833" y="383"/>
                  </a:lnTo>
                  <a:lnTo>
                    <a:pt x="1834" y="394"/>
                  </a:lnTo>
                  <a:lnTo>
                    <a:pt x="1837" y="402"/>
                  </a:lnTo>
                  <a:lnTo>
                    <a:pt x="1840" y="408"/>
                  </a:lnTo>
                  <a:lnTo>
                    <a:pt x="1848" y="421"/>
                  </a:lnTo>
                  <a:lnTo>
                    <a:pt x="1855" y="432"/>
                  </a:lnTo>
                  <a:lnTo>
                    <a:pt x="1859" y="438"/>
                  </a:lnTo>
                  <a:lnTo>
                    <a:pt x="1865" y="446"/>
                  </a:lnTo>
                  <a:lnTo>
                    <a:pt x="1868" y="450"/>
                  </a:lnTo>
                  <a:lnTo>
                    <a:pt x="1869" y="454"/>
                  </a:lnTo>
                  <a:lnTo>
                    <a:pt x="1869" y="456"/>
                  </a:lnTo>
                  <a:lnTo>
                    <a:pt x="1869" y="459"/>
                  </a:lnTo>
                  <a:lnTo>
                    <a:pt x="1868" y="461"/>
                  </a:lnTo>
                  <a:lnTo>
                    <a:pt x="1866" y="463"/>
                  </a:lnTo>
                  <a:lnTo>
                    <a:pt x="1864" y="466"/>
                  </a:lnTo>
                  <a:lnTo>
                    <a:pt x="1864" y="468"/>
                  </a:lnTo>
                  <a:lnTo>
                    <a:pt x="1865" y="469"/>
                  </a:lnTo>
                  <a:lnTo>
                    <a:pt x="1868" y="470"/>
                  </a:lnTo>
                  <a:lnTo>
                    <a:pt x="1873" y="471"/>
                  </a:lnTo>
                  <a:lnTo>
                    <a:pt x="1877" y="473"/>
                  </a:lnTo>
                  <a:lnTo>
                    <a:pt x="1882" y="476"/>
                  </a:lnTo>
                  <a:lnTo>
                    <a:pt x="1887" y="482"/>
                  </a:lnTo>
                  <a:lnTo>
                    <a:pt x="1892" y="488"/>
                  </a:lnTo>
                  <a:lnTo>
                    <a:pt x="1897" y="492"/>
                  </a:lnTo>
                  <a:lnTo>
                    <a:pt x="1900" y="494"/>
                  </a:lnTo>
                  <a:lnTo>
                    <a:pt x="1903" y="496"/>
                  </a:lnTo>
                  <a:lnTo>
                    <a:pt x="1904" y="497"/>
                  </a:lnTo>
                  <a:lnTo>
                    <a:pt x="1905" y="498"/>
                  </a:lnTo>
                  <a:lnTo>
                    <a:pt x="1905" y="499"/>
                  </a:lnTo>
                  <a:lnTo>
                    <a:pt x="1903" y="503"/>
                  </a:lnTo>
                  <a:lnTo>
                    <a:pt x="1898" y="508"/>
                  </a:lnTo>
                  <a:lnTo>
                    <a:pt x="1892" y="510"/>
                  </a:lnTo>
                  <a:lnTo>
                    <a:pt x="1891" y="511"/>
                  </a:lnTo>
                  <a:lnTo>
                    <a:pt x="1890" y="513"/>
                  </a:lnTo>
                  <a:lnTo>
                    <a:pt x="1891" y="516"/>
                  </a:lnTo>
                  <a:lnTo>
                    <a:pt x="1895" y="519"/>
                  </a:lnTo>
                  <a:lnTo>
                    <a:pt x="1898" y="523"/>
                  </a:lnTo>
                  <a:lnTo>
                    <a:pt x="1898" y="527"/>
                  </a:lnTo>
                  <a:lnTo>
                    <a:pt x="1898" y="529"/>
                  </a:lnTo>
                  <a:lnTo>
                    <a:pt x="1896" y="530"/>
                  </a:lnTo>
                  <a:lnTo>
                    <a:pt x="1890" y="533"/>
                  </a:lnTo>
                  <a:lnTo>
                    <a:pt x="1885" y="536"/>
                  </a:lnTo>
                  <a:lnTo>
                    <a:pt x="1882" y="541"/>
                  </a:lnTo>
                  <a:lnTo>
                    <a:pt x="1880" y="545"/>
                  </a:lnTo>
                  <a:lnTo>
                    <a:pt x="1880" y="549"/>
                  </a:lnTo>
                  <a:lnTo>
                    <a:pt x="1880" y="551"/>
                  </a:lnTo>
                  <a:lnTo>
                    <a:pt x="1881" y="555"/>
                  </a:lnTo>
                  <a:lnTo>
                    <a:pt x="1883" y="559"/>
                  </a:lnTo>
                  <a:lnTo>
                    <a:pt x="1884" y="560"/>
                  </a:lnTo>
                  <a:lnTo>
                    <a:pt x="1885" y="562"/>
                  </a:lnTo>
                  <a:lnTo>
                    <a:pt x="1887" y="562"/>
                  </a:lnTo>
                  <a:lnTo>
                    <a:pt x="1889" y="563"/>
                  </a:lnTo>
                  <a:lnTo>
                    <a:pt x="1893" y="562"/>
                  </a:lnTo>
                  <a:lnTo>
                    <a:pt x="1898" y="560"/>
                  </a:lnTo>
                  <a:lnTo>
                    <a:pt x="1909" y="555"/>
                  </a:lnTo>
                  <a:lnTo>
                    <a:pt x="1920" y="551"/>
                  </a:lnTo>
                  <a:lnTo>
                    <a:pt x="1931" y="549"/>
                  </a:lnTo>
                  <a:lnTo>
                    <a:pt x="1942" y="545"/>
                  </a:lnTo>
                  <a:lnTo>
                    <a:pt x="1946" y="547"/>
                  </a:lnTo>
                  <a:lnTo>
                    <a:pt x="1950" y="548"/>
                  </a:lnTo>
                  <a:lnTo>
                    <a:pt x="1953" y="552"/>
                  </a:lnTo>
                  <a:lnTo>
                    <a:pt x="1954" y="559"/>
                  </a:lnTo>
                  <a:lnTo>
                    <a:pt x="1956" y="566"/>
                  </a:lnTo>
                  <a:lnTo>
                    <a:pt x="1958" y="574"/>
                  </a:lnTo>
                  <a:lnTo>
                    <a:pt x="1962" y="580"/>
                  </a:lnTo>
                  <a:lnTo>
                    <a:pt x="1965" y="585"/>
                  </a:lnTo>
                  <a:lnTo>
                    <a:pt x="1967" y="591"/>
                  </a:lnTo>
                  <a:lnTo>
                    <a:pt x="1970" y="596"/>
                  </a:lnTo>
                  <a:lnTo>
                    <a:pt x="1971" y="600"/>
                  </a:lnTo>
                  <a:lnTo>
                    <a:pt x="1972" y="605"/>
                  </a:lnTo>
                  <a:lnTo>
                    <a:pt x="1972" y="609"/>
                  </a:lnTo>
                  <a:lnTo>
                    <a:pt x="1971" y="613"/>
                  </a:lnTo>
                  <a:lnTo>
                    <a:pt x="1969" y="615"/>
                  </a:lnTo>
                  <a:lnTo>
                    <a:pt x="1965" y="616"/>
                  </a:lnTo>
                  <a:lnTo>
                    <a:pt x="1961" y="615"/>
                  </a:lnTo>
                  <a:lnTo>
                    <a:pt x="1955" y="613"/>
                  </a:lnTo>
                  <a:lnTo>
                    <a:pt x="1948" y="608"/>
                  </a:lnTo>
                  <a:lnTo>
                    <a:pt x="1941" y="602"/>
                  </a:lnTo>
                  <a:lnTo>
                    <a:pt x="1932" y="596"/>
                  </a:lnTo>
                  <a:lnTo>
                    <a:pt x="1925" y="593"/>
                  </a:lnTo>
                  <a:lnTo>
                    <a:pt x="1919" y="592"/>
                  </a:lnTo>
                  <a:lnTo>
                    <a:pt x="1913" y="593"/>
                  </a:lnTo>
                  <a:lnTo>
                    <a:pt x="1908" y="595"/>
                  </a:lnTo>
                  <a:lnTo>
                    <a:pt x="1905" y="597"/>
                  </a:lnTo>
                  <a:lnTo>
                    <a:pt x="1902" y="600"/>
                  </a:lnTo>
                  <a:lnTo>
                    <a:pt x="1899" y="603"/>
                  </a:lnTo>
                  <a:lnTo>
                    <a:pt x="1899" y="604"/>
                  </a:lnTo>
                  <a:lnTo>
                    <a:pt x="1899" y="605"/>
                  </a:lnTo>
                  <a:lnTo>
                    <a:pt x="1900" y="607"/>
                  </a:lnTo>
                  <a:lnTo>
                    <a:pt x="1902" y="608"/>
                  </a:lnTo>
                  <a:lnTo>
                    <a:pt x="1907" y="610"/>
                  </a:lnTo>
                  <a:lnTo>
                    <a:pt x="1913" y="613"/>
                  </a:lnTo>
                  <a:lnTo>
                    <a:pt x="1920" y="615"/>
                  </a:lnTo>
                  <a:lnTo>
                    <a:pt x="1926" y="617"/>
                  </a:lnTo>
                  <a:lnTo>
                    <a:pt x="1930" y="620"/>
                  </a:lnTo>
                  <a:lnTo>
                    <a:pt x="1932" y="623"/>
                  </a:lnTo>
                  <a:lnTo>
                    <a:pt x="1932" y="624"/>
                  </a:lnTo>
                  <a:lnTo>
                    <a:pt x="1932" y="625"/>
                  </a:lnTo>
                  <a:lnTo>
                    <a:pt x="1930" y="626"/>
                  </a:lnTo>
                  <a:lnTo>
                    <a:pt x="1928" y="627"/>
                  </a:lnTo>
                  <a:lnTo>
                    <a:pt x="1922" y="627"/>
                  </a:lnTo>
                  <a:lnTo>
                    <a:pt x="1915" y="627"/>
                  </a:lnTo>
                  <a:lnTo>
                    <a:pt x="1908" y="627"/>
                  </a:lnTo>
                  <a:lnTo>
                    <a:pt x="1902" y="627"/>
                  </a:lnTo>
                  <a:lnTo>
                    <a:pt x="1900" y="628"/>
                  </a:lnTo>
                  <a:lnTo>
                    <a:pt x="1898" y="629"/>
                  </a:lnTo>
                  <a:lnTo>
                    <a:pt x="1897" y="630"/>
                  </a:lnTo>
                  <a:lnTo>
                    <a:pt x="1897" y="632"/>
                  </a:lnTo>
                  <a:lnTo>
                    <a:pt x="1899" y="638"/>
                  </a:lnTo>
                  <a:lnTo>
                    <a:pt x="1904" y="645"/>
                  </a:lnTo>
                  <a:lnTo>
                    <a:pt x="1909" y="653"/>
                  </a:lnTo>
                  <a:lnTo>
                    <a:pt x="1917" y="662"/>
                  </a:lnTo>
                  <a:lnTo>
                    <a:pt x="1928" y="676"/>
                  </a:lnTo>
                  <a:lnTo>
                    <a:pt x="1934" y="683"/>
                  </a:lnTo>
                  <a:lnTo>
                    <a:pt x="1942" y="673"/>
                  </a:lnTo>
                  <a:lnTo>
                    <a:pt x="1947" y="667"/>
                  </a:lnTo>
                  <a:lnTo>
                    <a:pt x="1951" y="661"/>
                  </a:lnTo>
                  <a:lnTo>
                    <a:pt x="1958" y="650"/>
                  </a:lnTo>
                  <a:lnTo>
                    <a:pt x="1955" y="646"/>
                  </a:lnTo>
                  <a:lnTo>
                    <a:pt x="1950" y="637"/>
                  </a:lnTo>
                  <a:lnTo>
                    <a:pt x="1948" y="631"/>
                  </a:lnTo>
                  <a:lnTo>
                    <a:pt x="1949" y="628"/>
                  </a:lnTo>
                  <a:lnTo>
                    <a:pt x="1950" y="627"/>
                  </a:lnTo>
                  <a:lnTo>
                    <a:pt x="1951" y="626"/>
                  </a:lnTo>
                  <a:lnTo>
                    <a:pt x="1953" y="626"/>
                  </a:lnTo>
                  <a:lnTo>
                    <a:pt x="1957" y="627"/>
                  </a:lnTo>
                  <a:lnTo>
                    <a:pt x="1969" y="631"/>
                  </a:lnTo>
                  <a:lnTo>
                    <a:pt x="1976" y="635"/>
                  </a:lnTo>
                  <a:lnTo>
                    <a:pt x="1979" y="637"/>
                  </a:lnTo>
                  <a:lnTo>
                    <a:pt x="1980" y="639"/>
                  </a:lnTo>
                  <a:lnTo>
                    <a:pt x="1981" y="642"/>
                  </a:lnTo>
                  <a:lnTo>
                    <a:pt x="1981" y="646"/>
                  </a:lnTo>
                  <a:lnTo>
                    <a:pt x="1981" y="650"/>
                  </a:lnTo>
                  <a:lnTo>
                    <a:pt x="1980" y="653"/>
                  </a:lnTo>
                  <a:lnTo>
                    <a:pt x="1978" y="658"/>
                  </a:lnTo>
                  <a:lnTo>
                    <a:pt x="1976" y="661"/>
                  </a:lnTo>
                  <a:lnTo>
                    <a:pt x="1974" y="665"/>
                  </a:lnTo>
                  <a:lnTo>
                    <a:pt x="1972" y="669"/>
                  </a:lnTo>
                  <a:lnTo>
                    <a:pt x="1971" y="673"/>
                  </a:lnTo>
                  <a:lnTo>
                    <a:pt x="1971" y="680"/>
                  </a:lnTo>
                  <a:lnTo>
                    <a:pt x="1971" y="686"/>
                  </a:lnTo>
                  <a:lnTo>
                    <a:pt x="1969" y="692"/>
                  </a:lnTo>
                  <a:lnTo>
                    <a:pt x="1967" y="697"/>
                  </a:lnTo>
                  <a:lnTo>
                    <a:pt x="1964" y="702"/>
                  </a:lnTo>
                  <a:lnTo>
                    <a:pt x="1959" y="706"/>
                  </a:lnTo>
                  <a:lnTo>
                    <a:pt x="1955" y="710"/>
                  </a:lnTo>
                  <a:lnTo>
                    <a:pt x="1950" y="714"/>
                  </a:lnTo>
                  <a:lnTo>
                    <a:pt x="1945" y="717"/>
                  </a:lnTo>
                  <a:lnTo>
                    <a:pt x="1940" y="722"/>
                  </a:lnTo>
                  <a:lnTo>
                    <a:pt x="1935" y="727"/>
                  </a:lnTo>
                  <a:lnTo>
                    <a:pt x="1932" y="732"/>
                  </a:lnTo>
                  <a:lnTo>
                    <a:pt x="1929" y="738"/>
                  </a:lnTo>
                  <a:lnTo>
                    <a:pt x="1925" y="750"/>
                  </a:lnTo>
                  <a:lnTo>
                    <a:pt x="1923" y="759"/>
                  </a:lnTo>
                  <a:lnTo>
                    <a:pt x="1923" y="764"/>
                  </a:lnTo>
                  <a:lnTo>
                    <a:pt x="1924" y="772"/>
                  </a:lnTo>
                  <a:lnTo>
                    <a:pt x="1927" y="780"/>
                  </a:lnTo>
                  <a:lnTo>
                    <a:pt x="1931" y="791"/>
                  </a:lnTo>
                  <a:lnTo>
                    <a:pt x="1940" y="808"/>
                  </a:lnTo>
                  <a:lnTo>
                    <a:pt x="1944" y="821"/>
                  </a:lnTo>
                  <a:lnTo>
                    <a:pt x="1945" y="826"/>
                  </a:lnTo>
                  <a:lnTo>
                    <a:pt x="1948" y="832"/>
                  </a:lnTo>
                  <a:lnTo>
                    <a:pt x="1953" y="838"/>
                  </a:lnTo>
                  <a:lnTo>
                    <a:pt x="1958" y="845"/>
                  </a:lnTo>
                  <a:lnTo>
                    <a:pt x="1971" y="858"/>
                  </a:lnTo>
                  <a:lnTo>
                    <a:pt x="1979" y="867"/>
                  </a:lnTo>
                  <a:lnTo>
                    <a:pt x="1991" y="874"/>
                  </a:lnTo>
                  <a:lnTo>
                    <a:pt x="2008" y="882"/>
                  </a:lnTo>
                  <a:lnTo>
                    <a:pt x="2014" y="885"/>
                  </a:lnTo>
                  <a:lnTo>
                    <a:pt x="2016" y="888"/>
                  </a:lnTo>
                  <a:lnTo>
                    <a:pt x="2016" y="890"/>
                  </a:lnTo>
                  <a:lnTo>
                    <a:pt x="2014" y="891"/>
                  </a:lnTo>
                  <a:lnTo>
                    <a:pt x="2011" y="893"/>
                  </a:lnTo>
                  <a:lnTo>
                    <a:pt x="2005" y="894"/>
                  </a:lnTo>
                  <a:lnTo>
                    <a:pt x="1994" y="898"/>
                  </a:lnTo>
                  <a:lnTo>
                    <a:pt x="1985" y="900"/>
                  </a:lnTo>
                  <a:lnTo>
                    <a:pt x="1978" y="903"/>
                  </a:lnTo>
                  <a:lnTo>
                    <a:pt x="1975" y="906"/>
                  </a:lnTo>
                  <a:lnTo>
                    <a:pt x="1973" y="909"/>
                  </a:lnTo>
                  <a:lnTo>
                    <a:pt x="1973" y="913"/>
                  </a:lnTo>
                  <a:lnTo>
                    <a:pt x="1974" y="918"/>
                  </a:lnTo>
                  <a:lnTo>
                    <a:pt x="1977" y="924"/>
                  </a:lnTo>
                  <a:lnTo>
                    <a:pt x="1995" y="945"/>
                  </a:lnTo>
                  <a:lnTo>
                    <a:pt x="2024" y="977"/>
                  </a:lnTo>
                  <a:lnTo>
                    <a:pt x="2038" y="994"/>
                  </a:lnTo>
                  <a:lnTo>
                    <a:pt x="2051" y="1010"/>
                  </a:lnTo>
                  <a:lnTo>
                    <a:pt x="2055" y="1017"/>
                  </a:lnTo>
                  <a:lnTo>
                    <a:pt x="2058" y="1022"/>
                  </a:lnTo>
                  <a:lnTo>
                    <a:pt x="2060" y="1027"/>
                  </a:lnTo>
                  <a:lnTo>
                    <a:pt x="2060" y="1032"/>
                  </a:lnTo>
                  <a:lnTo>
                    <a:pt x="2058" y="1037"/>
                  </a:lnTo>
                  <a:lnTo>
                    <a:pt x="2056" y="1041"/>
                  </a:lnTo>
                  <a:lnTo>
                    <a:pt x="2053" y="1042"/>
                  </a:lnTo>
                  <a:lnTo>
                    <a:pt x="2050" y="1043"/>
                  </a:lnTo>
                  <a:lnTo>
                    <a:pt x="2047" y="1044"/>
                  </a:lnTo>
                  <a:lnTo>
                    <a:pt x="2045" y="1045"/>
                  </a:lnTo>
                  <a:lnTo>
                    <a:pt x="2045" y="1047"/>
                  </a:lnTo>
                  <a:lnTo>
                    <a:pt x="2046" y="1052"/>
                  </a:lnTo>
                  <a:lnTo>
                    <a:pt x="2047" y="1054"/>
                  </a:lnTo>
                  <a:lnTo>
                    <a:pt x="2050" y="1055"/>
                  </a:lnTo>
                  <a:lnTo>
                    <a:pt x="2052" y="1056"/>
                  </a:lnTo>
                  <a:lnTo>
                    <a:pt x="2054" y="1056"/>
                  </a:lnTo>
                  <a:lnTo>
                    <a:pt x="2059" y="1056"/>
                  </a:lnTo>
                  <a:lnTo>
                    <a:pt x="2065" y="1054"/>
                  </a:lnTo>
                  <a:lnTo>
                    <a:pt x="2072" y="1053"/>
                  </a:lnTo>
                  <a:lnTo>
                    <a:pt x="2078" y="1053"/>
                  </a:lnTo>
                  <a:lnTo>
                    <a:pt x="2080" y="1053"/>
                  </a:lnTo>
                  <a:lnTo>
                    <a:pt x="2082" y="1053"/>
                  </a:lnTo>
                  <a:lnTo>
                    <a:pt x="2084" y="1055"/>
                  </a:lnTo>
                  <a:lnTo>
                    <a:pt x="2086" y="1056"/>
                  </a:lnTo>
                  <a:lnTo>
                    <a:pt x="2088" y="1059"/>
                  </a:lnTo>
                  <a:lnTo>
                    <a:pt x="2090" y="1061"/>
                  </a:lnTo>
                  <a:lnTo>
                    <a:pt x="2094" y="1061"/>
                  </a:lnTo>
                  <a:lnTo>
                    <a:pt x="2096" y="1061"/>
                  </a:lnTo>
                  <a:lnTo>
                    <a:pt x="2099" y="1061"/>
                  </a:lnTo>
                  <a:lnTo>
                    <a:pt x="2101" y="1062"/>
                  </a:lnTo>
                  <a:lnTo>
                    <a:pt x="2104" y="1064"/>
                  </a:lnTo>
                  <a:lnTo>
                    <a:pt x="2106" y="1068"/>
                  </a:lnTo>
                  <a:lnTo>
                    <a:pt x="2111" y="1080"/>
                  </a:lnTo>
                  <a:lnTo>
                    <a:pt x="2117" y="1089"/>
                  </a:lnTo>
                  <a:lnTo>
                    <a:pt x="2122" y="1097"/>
                  </a:lnTo>
                  <a:lnTo>
                    <a:pt x="2124" y="1099"/>
                  </a:lnTo>
                  <a:lnTo>
                    <a:pt x="2129" y="1098"/>
                  </a:lnTo>
                  <a:lnTo>
                    <a:pt x="2133" y="1095"/>
                  </a:lnTo>
                  <a:close/>
                  <a:moveTo>
                    <a:pt x="2505" y="920"/>
                  </a:moveTo>
                  <a:lnTo>
                    <a:pt x="2511" y="922"/>
                  </a:lnTo>
                  <a:lnTo>
                    <a:pt x="2516" y="924"/>
                  </a:lnTo>
                  <a:lnTo>
                    <a:pt x="2521" y="925"/>
                  </a:lnTo>
                  <a:lnTo>
                    <a:pt x="2526" y="926"/>
                  </a:lnTo>
                  <a:lnTo>
                    <a:pt x="2531" y="927"/>
                  </a:lnTo>
                  <a:lnTo>
                    <a:pt x="2534" y="928"/>
                  </a:lnTo>
                  <a:lnTo>
                    <a:pt x="2535" y="930"/>
                  </a:lnTo>
                  <a:lnTo>
                    <a:pt x="2535" y="931"/>
                  </a:lnTo>
                  <a:lnTo>
                    <a:pt x="2535" y="933"/>
                  </a:lnTo>
                  <a:lnTo>
                    <a:pt x="2535" y="935"/>
                  </a:lnTo>
                  <a:lnTo>
                    <a:pt x="2531" y="942"/>
                  </a:lnTo>
                  <a:lnTo>
                    <a:pt x="2527" y="946"/>
                  </a:lnTo>
                  <a:lnTo>
                    <a:pt x="2526" y="948"/>
                  </a:lnTo>
                  <a:lnTo>
                    <a:pt x="2526" y="950"/>
                  </a:lnTo>
                  <a:lnTo>
                    <a:pt x="2527" y="952"/>
                  </a:lnTo>
                  <a:lnTo>
                    <a:pt x="2528" y="955"/>
                  </a:lnTo>
                  <a:lnTo>
                    <a:pt x="2543" y="959"/>
                  </a:lnTo>
                  <a:lnTo>
                    <a:pt x="2557" y="965"/>
                  </a:lnTo>
                  <a:lnTo>
                    <a:pt x="2558" y="967"/>
                  </a:lnTo>
                  <a:lnTo>
                    <a:pt x="2561" y="968"/>
                  </a:lnTo>
                  <a:lnTo>
                    <a:pt x="2564" y="970"/>
                  </a:lnTo>
                  <a:lnTo>
                    <a:pt x="2568" y="971"/>
                  </a:lnTo>
                  <a:lnTo>
                    <a:pt x="2578" y="973"/>
                  </a:lnTo>
                  <a:lnTo>
                    <a:pt x="2588" y="974"/>
                  </a:lnTo>
                  <a:lnTo>
                    <a:pt x="2608" y="976"/>
                  </a:lnTo>
                  <a:lnTo>
                    <a:pt x="2616" y="976"/>
                  </a:lnTo>
                  <a:lnTo>
                    <a:pt x="2624" y="972"/>
                  </a:lnTo>
                  <a:lnTo>
                    <a:pt x="2638" y="961"/>
                  </a:lnTo>
                  <a:lnTo>
                    <a:pt x="2655" y="949"/>
                  </a:lnTo>
                  <a:lnTo>
                    <a:pt x="2666" y="939"/>
                  </a:lnTo>
                  <a:lnTo>
                    <a:pt x="2670" y="932"/>
                  </a:lnTo>
                  <a:lnTo>
                    <a:pt x="2675" y="924"/>
                  </a:lnTo>
                  <a:lnTo>
                    <a:pt x="2676" y="918"/>
                  </a:lnTo>
                  <a:lnTo>
                    <a:pt x="2676" y="913"/>
                  </a:lnTo>
                  <a:lnTo>
                    <a:pt x="2673" y="907"/>
                  </a:lnTo>
                  <a:lnTo>
                    <a:pt x="2668" y="900"/>
                  </a:lnTo>
                  <a:lnTo>
                    <a:pt x="2654" y="884"/>
                  </a:lnTo>
                  <a:lnTo>
                    <a:pt x="2642" y="870"/>
                  </a:lnTo>
                  <a:lnTo>
                    <a:pt x="2635" y="864"/>
                  </a:lnTo>
                  <a:lnTo>
                    <a:pt x="2629" y="861"/>
                  </a:lnTo>
                  <a:lnTo>
                    <a:pt x="2626" y="860"/>
                  </a:lnTo>
                  <a:lnTo>
                    <a:pt x="2624" y="859"/>
                  </a:lnTo>
                  <a:lnTo>
                    <a:pt x="2621" y="859"/>
                  </a:lnTo>
                  <a:lnTo>
                    <a:pt x="2619" y="860"/>
                  </a:lnTo>
                  <a:lnTo>
                    <a:pt x="2608" y="865"/>
                  </a:lnTo>
                  <a:lnTo>
                    <a:pt x="2595" y="869"/>
                  </a:lnTo>
                  <a:lnTo>
                    <a:pt x="2589" y="872"/>
                  </a:lnTo>
                  <a:lnTo>
                    <a:pt x="2583" y="873"/>
                  </a:lnTo>
                  <a:lnTo>
                    <a:pt x="2577" y="874"/>
                  </a:lnTo>
                  <a:lnTo>
                    <a:pt x="2570" y="874"/>
                  </a:lnTo>
                  <a:lnTo>
                    <a:pt x="2565" y="874"/>
                  </a:lnTo>
                  <a:lnTo>
                    <a:pt x="2558" y="872"/>
                  </a:lnTo>
                  <a:lnTo>
                    <a:pt x="2551" y="869"/>
                  </a:lnTo>
                  <a:lnTo>
                    <a:pt x="2545" y="866"/>
                  </a:lnTo>
                  <a:lnTo>
                    <a:pt x="2536" y="861"/>
                  </a:lnTo>
                  <a:lnTo>
                    <a:pt x="2532" y="859"/>
                  </a:lnTo>
                  <a:lnTo>
                    <a:pt x="2532" y="855"/>
                  </a:lnTo>
                  <a:lnTo>
                    <a:pt x="2531" y="845"/>
                  </a:lnTo>
                  <a:lnTo>
                    <a:pt x="2528" y="842"/>
                  </a:lnTo>
                  <a:lnTo>
                    <a:pt x="2525" y="840"/>
                  </a:lnTo>
                  <a:lnTo>
                    <a:pt x="2523" y="840"/>
                  </a:lnTo>
                  <a:lnTo>
                    <a:pt x="2521" y="840"/>
                  </a:lnTo>
                  <a:lnTo>
                    <a:pt x="2519" y="841"/>
                  </a:lnTo>
                  <a:lnTo>
                    <a:pt x="2516" y="843"/>
                  </a:lnTo>
                  <a:lnTo>
                    <a:pt x="2510" y="849"/>
                  </a:lnTo>
                  <a:lnTo>
                    <a:pt x="2504" y="856"/>
                  </a:lnTo>
                  <a:lnTo>
                    <a:pt x="2499" y="862"/>
                  </a:lnTo>
                  <a:lnTo>
                    <a:pt x="2496" y="869"/>
                  </a:lnTo>
                  <a:lnTo>
                    <a:pt x="2494" y="876"/>
                  </a:lnTo>
                  <a:lnTo>
                    <a:pt x="2492" y="881"/>
                  </a:lnTo>
                  <a:lnTo>
                    <a:pt x="2492" y="886"/>
                  </a:lnTo>
                  <a:lnTo>
                    <a:pt x="2493" y="888"/>
                  </a:lnTo>
                  <a:lnTo>
                    <a:pt x="2499" y="893"/>
                  </a:lnTo>
                  <a:lnTo>
                    <a:pt x="2511" y="898"/>
                  </a:lnTo>
                  <a:lnTo>
                    <a:pt x="2520" y="901"/>
                  </a:lnTo>
                  <a:lnTo>
                    <a:pt x="2525" y="902"/>
                  </a:lnTo>
                  <a:lnTo>
                    <a:pt x="2519" y="903"/>
                  </a:lnTo>
                  <a:lnTo>
                    <a:pt x="2506" y="906"/>
                  </a:lnTo>
                  <a:lnTo>
                    <a:pt x="2500" y="908"/>
                  </a:lnTo>
                  <a:lnTo>
                    <a:pt x="2495" y="910"/>
                  </a:lnTo>
                  <a:lnTo>
                    <a:pt x="2493" y="911"/>
                  </a:lnTo>
                  <a:lnTo>
                    <a:pt x="2492" y="912"/>
                  </a:lnTo>
                  <a:lnTo>
                    <a:pt x="2491" y="914"/>
                  </a:lnTo>
                  <a:lnTo>
                    <a:pt x="2491" y="915"/>
                  </a:lnTo>
                  <a:lnTo>
                    <a:pt x="2493" y="918"/>
                  </a:lnTo>
                  <a:lnTo>
                    <a:pt x="2495" y="920"/>
                  </a:lnTo>
                  <a:lnTo>
                    <a:pt x="2498" y="921"/>
                  </a:lnTo>
                  <a:lnTo>
                    <a:pt x="2500" y="921"/>
                  </a:lnTo>
                  <a:lnTo>
                    <a:pt x="2504" y="920"/>
                  </a:lnTo>
                  <a:lnTo>
                    <a:pt x="2505" y="920"/>
                  </a:lnTo>
                  <a:close/>
                  <a:moveTo>
                    <a:pt x="2830" y="1398"/>
                  </a:moveTo>
                  <a:lnTo>
                    <a:pt x="2823" y="1407"/>
                  </a:lnTo>
                  <a:lnTo>
                    <a:pt x="2810" y="1417"/>
                  </a:lnTo>
                  <a:lnTo>
                    <a:pt x="2803" y="1422"/>
                  </a:lnTo>
                  <a:lnTo>
                    <a:pt x="2796" y="1426"/>
                  </a:lnTo>
                  <a:lnTo>
                    <a:pt x="2793" y="1427"/>
                  </a:lnTo>
                  <a:lnTo>
                    <a:pt x="2790" y="1428"/>
                  </a:lnTo>
                  <a:lnTo>
                    <a:pt x="2788" y="1427"/>
                  </a:lnTo>
                  <a:lnTo>
                    <a:pt x="2786" y="1426"/>
                  </a:lnTo>
                  <a:lnTo>
                    <a:pt x="2779" y="1418"/>
                  </a:lnTo>
                  <a:lnTo>
                    <a:pt x="2770" y="1409"/>
                  </a:lnTo>
                  <a:lnTo>
                    <a:pt x="2766" y="1405"/>
                  </a:lnTo>
                  <a:lnTo>
                    <a:pt x="2764" y="1402"/>
                  </a:lnTo>
                  <a:lnTo>
                    <a:pt x="2764" y="1400"/>
                  </a:lnTo>
                  <a:lnTo>
                    <a:pt x="2764" y="1398"/>
                  </a:lnTo>
                  <a:lnTo>
                    <a:pt x="2765" y="1397"/>
                  </a:lnTo>
                  <a:lnTo>
                    <a:pt x="2766" y="1397"/>
                  </a:lnTo>
                  <a:lnTo>
                    <a:pt x="2775" y="1394"/>
                  </a:lnTo>
                  <a:lnTo>
                    <a:pt x="2783" y="1390"/>
                  </a:lnTo>
                  <a:lnTo>
                    <a:pt x="2785" y="1387"/>
                  </a:lnTo>
                  <a:lnTo>
                    <a:pt x="2787" y="1384"/>
                  </a:lnTo>
                  <a:lnTo>
                    <a:pt x="2788" y="1380"/>
                  </a:lnTo>
                  <a:lnTo>
                    <a:pt x="2787" y="1375"/>
                  </a:lnTo>
                  <a:lnTo>
                    <a:pt x="2782" y="1365"/>
                  </a:lnTo>
                  <a:lnTo>
                    <a:pt x="2775" y="1355"/>
                  </a:lnTo>
                  <a:lnTo>
                    <a:pt x="2773" y="1350"/>
                  </a:lnTo>
                  <a:lnTo>
                    <a:pt x="2770" y="1346"/>
                  </a:lnTo>
                  <a:lnTo>
                    <a:pt x="2769" y="1343"/>
                  </a:lnTo>
                  <a:lnTo>
                    <a:pt x="2769" y="1340"/>
                  </a:lnTo>
                  <a:lnTo>
                    <a:pt x="2771" y="1337"/>
                  </a:lnTo>
                  <a:lnTo>
                    <a:pt x="2776" y="1332"/>
                  </a:lnTo>
                  <a:lnTo>
                    <a:pt x="2781" y="1329"/>
                  </a:lnTo>
                  <a:lnTo>
                    <a:pt x="2787" y="1326"/>
                  </a:lnTo>
                  <a:lnTo>
                    <a:pt x="2798" y="1321"/>
                  </a:lnTo>
                  <a:lnTo>
                    <a:pt x="2803" y="1319"/>
                  </a:lnTo>
                  <a:lnTo>
                    <a:pt x="2806" y="1316"/>
                  </a:lnTo>
                  <a:lnTo>
                    <a:pt x="2813" y="1310"/>
                  </a:lnTo>
                  <a:lnTo>
                    <a:pt x="2818" y="1308"/>
                  </a:lnTo>
                  <a:lnTo>
                    <a:pt x="2821" y="1307"/>
                  </a:lnTo>
                  <a:lnTo>
                    <a:pt x="2823" y="1306"/>
                  </a:lnTo>
                  <a:lnTo>
                    <a:pt x="2824" y="1306"/>
                  </a:lnTo>
                  <a:lnTo>
                    <a:pt x="2825" y="1307"/>
                  </a:lnTo>
                  <a:lnTo>
                    <a:pt x="2825" y="1308"/>
                  </a:lnTo>
                  <a:lnTo>
                    <a:pt x="2831" y="1317"/>
                  </a:lnTo>
                  <a:lnTo>
                    <a:pt x="2836" y="1326"/>
                  </a:lnTo>
                  <a:lnTo>
                    <a:pt x="2834" y="1345"/>
                  </a:lnTo>
                  <a:lnTo>
                    <a:pt x="2832" y="1356"/>
                  </a:lnTo>
                  <a:lnTo>
                    <a:pt x="2832" y="1366"/>
                  </a:lnTo>
                  <a:lnTo>
                    <a:pt x="2832" y="1383"/>
                  </a:lnTo>
                  <a:lnTo>
                    <a:pt x="2832" y="1389"/>
                  </a:lnTo>
                  <a:lnTo>
                    <a:pt x="2831" y="1394"/>
                  </a:lnTo>
                  <a:lnTo>
                    <a:pt x="2830" y="1397"/>
                  </a:lnTo>
                  <a:lnTo>
                    <a:pt x="2830" y="1398"/>
                  </a:lnTo>
                  <a:close/>
                  <a:moveTo>
                    <a:pt x="2863" y="1380"/>
                  </a:moveTo>
                  <a:lnTo>
                    <a:pt x="2863" y="1392"/>
                  </a:lnTo>
                  <a:lnTo>
                    <a:pt x="2862" y="1399"/>
                  </a:lnTo>
                  <a:lnTo>
                    <a:pt x="2861" y="1404"/>
                  </a:lnTo>
                  <a:lnTo>
                    <a:pt x="2858" y="1407"/>
                  </a:lnTo>
                  <a:lnTo>
                    <a:pt x="2856" y="1408"/>
                  </a:lnTo>
                  <a:lnTo>
                    <a:pt x="2856" y="1409"/>
                  </a:lnTo>
                  <a:lnTo>
                    <a:pt x="2856" y="1410"/>
                  </a:lnTo>
                  <a:lnTo>
                    <a:pt x="2856" y="1412"/>
                  </a:lnTo>
                  <a:lnTo>
                    <a:pt x="2858" y="1414"/>
                  </a:lnTo>
                  <a:lnTo>
                    <a:pt x="2861" y="1419"/>
                  </a:lnTo>
                  <a:lnTo>
                    <a:pt x="2864" y="1422"/>
                  </a:lnTo>
                  <a:lnTo>
                    <a:pt x="2869" y="1425"/>
                  </a:lnTo>
                  <a:lnTo>
                    <a:pt x="2870" y="1426"/>
                  </a:lnTo>
                  <a:lnTo>
                    <a:pt x="2871" y="1427"/>
                  </a:lnTo>
                  <a:lnTo>
                    <a:pt x="2871" y="1429"/>
                  </a:lnTo>
                  <a:lnTo>
                    <a:pt x="2869" y="1432"/>
                  </a:lnTo>
                  <a:lnTo>
                    <a:pt x="2860" y="1440"/>
                  </a:lnTo>
                  <a:lnTo>
                    <a:pt x="2848" y="1451"/>
                  </a:lnTo>
                  <a:lnTo>
                    <a:pt x="2843" y="1455"/>
                  </a:lnTo>
                  <a:lnTo>
                    <a:pt x="2840" y="1459"/>
                  </a:lnTo>
                  <a:lnTo>
                    <a:pt x="2839" y="1461"/>
                  </a:lnTo>
                  <a:lnTo>
                    <a:pt x="2839" y="1463"/>
                  </a:lnTo>
                  <a:lnTo>
                    <a:pt x="2840" y="1464"/>
                  </a:lnTo>
                  <a:lnTo>
                    <a:pt x="2842" y="1466"/>
                  </a:lnTo>
                  <a:lnTo>
                    <a:pt x="2848" y="1468"/>
                  </a:lnTo>
                  <a:lnTo>
                    <a:pt x="2856" y="1469"/>
                  </a:lnTo>
                  <a:lnTo>
                    <a:pt x="2866" y="1468"/>
                  </a:lnTo>
                  <a:lnTo>
                    <a:pt x="2876" y="1466"/>
                  </a:lnTo>
                  <a:lnTo>
                    <a:pt x="2894" y="1462"/>
                  </a:lnTo>
                  <a:lnTo>
                    <a:pt x="2901" y="1460"/>
                  </a:lnTo>
                  <a:lnTo>
                    <a:pt x="2908" y="1460"/>
                  </a:lnTo>
                  <a:lnTo>
                    <a:pt x="2921" y="1460"/>
                  </a:lnTo>
                  <a:lnTo>
                    <a:pt x="2929" y="1459"/>
                  </a:lnTo>
                  <a:lnTo>
                    <a:pt x="2936" y="1458"/>
                  </a:lnTo>
                  <a:lnTo>
                    <a:pt x="2941" y="1456"/>
                  </a:lnTo>
                  <a:lnTo>
                    <a:pt x="2944" y="1454"/>
                  </a:lnTo>
                  <a:lnTo>
                    <a:pt x="2943" y="1438"/>
                  </a:lnTo>
                  <a:lnTo>
                    <a:pt x="2943" y="1424"/>
                  </a:lnTo>
                  <a:lnTo>
                    <a:pt x="2946" y="1418"/>
                  </a:lnTo>
                  <a:lnTo>
                    <a:pt x="2950" y="1413"/>
                  </a:lnTo>
                  <a:lnTo>
                    <a:pt x="2951" y="1409"/>
                  </a:lnTo>
                  <a:lnTo>
                    <a:pt x="2951" y="1404"/>
                  </a:lnTo>
                  <a:lnTo>
                    <a:pt x="2949" y="1393"/>
                  </a:lnTo>
                  <a:lnTo>
                    <a:pt x="2944" y="1377"/>
                  </a:lnTo>
                  <a:lnTo>
                    <a:pt x="2941" y="1370"/>
                  </a:lnTo>
                  <a:lnTo>
                    <a:pt x="2938" y="1362"/>
                  </a:lnTo>
                  <a:lnTo>
                    <a:pt x="2934" y="1355"/>
                  </a:lnTo>
                  <a:lnTo>
                    <a:pt x="2930" y="1350"/>
                  </a:lnTo>
                  <a:lnTo>
                    <a:pt x="2923" y="1345"/>
                  </a:lnTo>
                  <a:lnTo>
                    <a:pt x="2915" y="1334"/>
                  </a:lnTo>
                  <a:lnTo>
                    <a:pt x="2906" y="1322"/>
                  </a:lnTo>
                  <a:lnTo>
                    <a:pt x="2895" y="1307"/>
                  </a:lnTo>
                  <a:lnTo>
                    <a:pt x="2886" y="1294"/>
                  </a:lnTo>
                  <a:lnTo>
                    <a:pt x="2878" y="1282"/>
                  </a:lnTo>
                  <a:lnTo>
                    <a:pt x="2874" y="1274"/>
                  </a:lnTo>
                  <a:lnTo>
                    <a:pt x="2873" y="1271"/>
                  </a:lnTo>
                  <a:lnTo>
                    <a:pt x="2879" y="1266"/>
                  </a:lnTo>
                  <a:lnTo>
                    <a:pt x="2889" y="1259"/>
                  </a:lnTo>
                  <a:lnTo>
                    <a:pt x="2892" y="1255"/>
                  </a:lnTo>
                  <a:lnTo>
                    <a:pt x="2895" y="1250"/>
                  </a:lnTo>
                  <a:lnTo>
                    <a:pt x="2895" y="1247"/>
                  </a:lnTo>
                  <a:lnTo>
                    <a:pt x="2895" y="1244"/>
                  </a:lnTo>
                  <a:lnTo>
                    <a:pt x="2894" y="1242"/>
                  </a:lnTo>
                  <a:lnTo>
                    <a:pt x="2892" y="1239"/>
                  </a:lnTo>
                  <a:lnTo>
                    <a:pt x="2887" y="1235"/>
                  </a:lnTo>
                  <a:lnTo>
                    <a:pt x="2880" y="1232"/>
                  </a:lnTo>
                  <a:lnTo>
                    <a:pt x="2875" y="1229"/>
                  </a:lnTo>
                  <a:lnTo>
                    <a:pt x="2870" y="1225"/>
                  </a:lnTo>
                  <a:lnTo>
                    <a:pt x="2865" y="1223"/>
                  </a:lnTo>
                  <a:lnTo>
                    <a:pt x="2862" y="1221"/>
                  </a:lnTo>
                  <a:lnTo>
                    <a:pt x="2860" y="1219"/>
                  </a:lnTo>
                  <a:lnTo>
                    <a:pt x="2858" y="1217"/>
                  </a:lnTo>
                  <a:lnTo>
                    <a:pt x="2864" y="1205"/>
                  </a:lnTo>
                  <a:lnTo>
                    <a:pt x="2868" y="1197"/>
                  </a:lnTo>
                  <a:lnTo>
                    <a:pt x="2861" y="1193"/>
                  </a:lnTo>
                  <a:lnTo>
                    <a:pt x="2852" y="1188"/>
                  </a:lnTo>
                  <a:lnTo>
                    <a:pt x="2845" y="1191"/>
                  </a:lnTo>
                  <a:lnTo>
                    <a:pt x="2834" y="1196"/>
                  </a:lnTo>
                  <a:lnTo>
                    <a:pt x="2831" y="1199"/>
                  </a:lnTo>
                  <a:lnTo>
                    <a:pt x="2827" y="1201"/>
                  </a:lnTo>
                  <a:lnTo>
                    <a:pt x="2824" y="1202"/>
                  </a:lnTo>
                  <a:lnTo>
                    <a:pt x="2820" y="1201"/>
                  </a:lnTo>
                  <a:lnTo>
                    <a:pt x="2813" y="1200"/>
                  </a:lnTo>
                  <a:lnTo>
                    <a:pt x="2808" y="1201"/>
                  </a:lnTo>
                  <a:lnTo>
                    <a:pt x="2803" y="1203"/>
                  </a:lnTo>
                  <a:lnTo>
                    <a:pt x="2801" y="1205"/>
                  </a:lnTo>
                  <a:lnTo>
                    <a:pt x="2804" y="1208"/>
                  </a:lnTo>
                  <a:lnTo>
                    <a:pt x="2810" y="1214"/>
                  </a:lnTo>
                  <a:lnTo>
                    <a:pt x="2813" y="1218"/>
                  </a:lnTo>
                  <a:lnTo>
                    <a:pt x="2817" y="1222"/>
                  </a:lnTo>
                  <a:lnTo>
                    <a:pt x="2819" y="1225"/>
                  </a:lnTo>
                  <a:lnTo>
                    <a:pt x="2819" y="1228"/>
                  </a:lnTo>
                  <a:lnTo>
                    <a:pt x="2810" y="1238"/>
                  </a:lnTo>
                  <a:lnTo>
                    <a:pt x="2803" y="1246"/>
                  </a:lnTo>
                  <a:lnTo>
                    <a:pt x="2810" y="1251"/>
                  </a:lnTo>
                  <a:lnTo>
                    <a:pt x="2818" y="1255"/>
                  </a:lnTo>
                  <a:lnTo>
                    <a:pt x="2817" y="1260"/>
                  </a:lnTo>
                  <a:lnTo>
                    <a:pt x="2815" y="1265"/>
                  </a:lnTo>
                  <a:lnTo>
                    <a:pt x="2819" y="1264"/>
                  </a:lnTo>
                  <a:lnTo>
                    <a:pt x="2825" y="1262"/>
                  </a:lnTo>
                  <a:lnTo>
                    <a:pt x="2828" y="1262"/>
                  </a:lnTo>
                  <a:lnTo>
                    <a:pt x="2830" y="1263"/>
                  </a:lnTo>
                  <a:lnTo>
                    <a:pt x="2831" y="1264"/>
                  </a:lnTo>
                  <a:lnTo>
                    <a:pt x="2831" y="1267"/>
                  </a:lnTo>
                  <a:lnTo>
                    <a:pt x="2829" y="1271"/>
                  </a:lnTo>
                  <a:lnTo>
                    <a:pt x="2827" y="1273"/>
                  </a:lnTo>
                  <a:lnTo>
                    <a:pt x="2825" y="1273"/>
                  </a:lnTo>
                  <a:lnTo>
                    <a:pt x="2824" y="1274"/>
                  </a:lnTo>
                  <a:lnTo>
                    <a:pt x="2822" y="1274"/>
                  </a:lnTo>
                  <a:lnTo>
                    <a:pt x="2821" y="1274"/>
                  </a:lnTo>
                  <a:lnTo>
                    <a:pt x="2821" y="1276"/>
                  </a:lnTo>
                  <a:lnTo>
                    <a:pt x="2821" y="1278"/>
                  </a:lnTo>
                  <a:lnTo>
                    <a:pt x="2825" y="1287"/>
                  </a:lnTo>
                  <a:lnTo>
                    <a:pt x="2827" y="1293"/>
                  </a:lnTo>
                  <a:lnTo>
                    <a:pt x="2835" y="1297"/>
                  </a:lnTo>
                  <a:lnTo>
                    <a:pt x="2846" y="1303"/>
                  </a:lnTo>
                  <a:lnTo>
                    <a:pt x="2847" y="1305"/>
                  </a:lnTo>
                  <a:lnTo>
                    <a:pt x="2848" y="1305"/>
                  </a:lnTo>
                  <a:lnTo>
                    <a:pt x="2849" y="1306"/>
                  </a:lnTo>
                  <a:lnTo>
                    <a:pt x="2851" y="1305"/>
                  </a:lnTo>
                  <a:lnTo>
                    <a:pt x="2853" y="1306"/>
                  </a:lnTo>
                  <a:lnTo>
                    <a:pt x="2854" y="1306"/>
                  </a:lnTo>
                  <a:lnTo>
                    <a:pt x="2855" y="1309"/>
                  </a:lnTo>
                  <a:lnTo>
                    <a:pt x="2855" y="1313"/>
                  </a:lnTo>
                  <a:lnTo>
                    <a:pt x="2853" y="1322"/>
                  </a:lnTo>
                  <a:lnTo>
                    <a:pt x="2852" y="1329"/>
                  </a:lnTo>
                  <a:lnTo>
                    <a:pt x="2852" y="1332"/>
                  </a:lnTo>
                  <a:lnTo>
                    <a:pt x="2852" y="1334"/>
                  </a:lnTo>
                  <a:lnTo>
                    <a:pt x="2852" y="1337"/>
                  </a:lnTo>
                  <a:lnTo>
                    <a:pt x="2854" y="1338"/>
                  </a:lnTo>
                  <a:lnTo>
                    <a:pt x="2860" y="1338"/>
                  </a:lnTo>
                  <a:lnTo>
                    <a:pt x="2868" y="1338"/>
                  </a:lnTo>
                  <a:lnTo>
                    <a:pt x="2872" y="1338"/>
                  </a:lnTo>
                  <a:lnTo>
                    <a:pt x="2875" y="1338"/>
                  </a:lnTo>
                  <a:lnTo>
                    <a:pt x="2878" y="1340"/>
                  </a:lnTo>
                  <a:lnTo>
                    <a:pt x="2879" y="1342"/>
                  </a:lnTo>
                  <a:lnTo>
                    <a:pt x="2879" y="1345"/>
                  </a:lnTo>
                  <a:lnTo>
                    <a:pt x="2878" y="1349"/>
                  </a:lnTo>
                  <a:lnTo>
                    <a:pt x="2875" y="1354"/>
                  </a:lnTo>
                  <a:lnTo>
                    <a:pt x="2873" y="1359"/>
                  </a:lnTo>
                  <a:lnTo>
                    <a:pt x="2868" y="1366"/>
                  </a:lnTo>
                  <a:lnTo>
                    <a:pt x="2865" y="1368"/>
                  </a:lnTo>
                  <a:lnTo>
                    <a:pt x="2864" y="1374"/>
                  </a:lnTo>
                  <a:lnTo>
                    <a:pt x="2863" y="1380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1">
                    <a:lumMod val="50000"/>
                  </a:schemeClr>
                </a:gs>
                <a:gs pos="36000">
                  <a:srgbClr val="26628D"/>
                </a:gs>
              </a:gsLst>
              <a:path path="circle">
                <a:fillToRect l="50000" t="50000" r="50000" b="50000"/>
              </a:path>
              <a:tileRect/>
            </a:gradFill>
            <a:ln w="9525">
              <a:noFill/>
              <a:miter lim="800000"/>
              <a:headEnd/>
              <a:tailEnd/>
            </a:ln>
            <a:effectLst>
              <a:outerShdw blurRad="38100" dist="25400" dir="5400000" algn="t" rotWithShape="0">
                <a:prstClr val="black">
                  <a:alpha val="26000"/>
                </a:prstClr>
              </a:outerShdw>
            </a:effectLst>
          </p:spPr>
          <p:txBody>
            <a:bodyPr anchor="ctr"/>
            <a:lstStyle/>
            <a:p>
              <a:pPr algn="ctr"/>
              <a:endParaRPr lang="en-US" u="sng">
                <a:solidFill>
                  <a:srgbClr val="FFFFFF"/>
                </a:solidFill>
                <a:latin typeface="Calibri" charset="0"/>
                <a:ea typeface="ＭＳ Ｐゴシック" charset="-128"/>
              </a:endParaRPr>
            </a:p>
          </p:txBody>
        </p:sp>
        <p:sp>
          <p:nvSpPr>
            <p:cNvPr id="50" name="Ellipse 4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 rot="21374326" flipH="1">
              <a:off x="3152603" y="1967445"/>
              <a:ext cx="2633360" cy="2048147"/>
            </a:xfrm>
            <a:prstGeom prst="ellipse">
              <a:avLst/>
            </a:prstGeom>
            <a:gradFill rotWithShape="1">
              <a:gsLst>
                <a:gs pos="0">
                  <a:srgbClr val="FFFCF9">
                    <a:alpha val="58000"/>
                  </a:srgbClr>
                </a:gs>
                <a:gs pos="73000">
                  <a:srgbClr val="FFFFFF">
                    <a:alpha val="0"/>
                  </a:srgbClr>
                </a:gs>
              </a:gsLst>
              <a:lin ang="5400000"/>
            </a:gradFill>
            <a:ln w="9525">
              <a:noFill/>
              <a:round/>
              <a:headEnd/>
              <a:tailEnd/>
            </a:ln>
            <a:effectLst>
              <a:softEdge rad="50800"/>
            </a:effec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1pPr>
              <a:lvl2pPr marL="37931725" indent="-37474525">
                <a:defRPr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2pPr>
              <a:lvl3pPr>
                <a:defRPr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3pPr>
              <a:lvl4pPr>
                <a:defRPr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4pPr>
              <a:lvl5pPr>
                <a:defRPr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9pPr>
            </a:lstStyle>
            <a:p>
              <a:pPr algn="ctr">
                <a:defRPr/>
              </a:pPr>
              <a:endParaRPr lang="en-US" u="sng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27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28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12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12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32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6" name="그림 35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37" name="오른쪽 화살표 36"/>
          <p:cNvSpPr/>
          <p:nvPr/>
        </p:nvSpPr>
        <p:spPr>
          <a:xfrm>
            <a:off x="306663" y="6065871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868628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3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5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12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12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7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그림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1028481" y="707588"/>
            <a:ext cx="7585412" cy="3976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생물다양성협약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나고야의정서 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–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대응부실」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58768" y="1468613"/>
            <a:ext cx="847032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「나고야의정서</a:t>
            </a:r>
            <a:r>
              <a:rPr lang="en-US" altLang="ko-KR" sz="11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2010.10.30)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」 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12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일 자동 발효     유전자원보유국의 사전 승인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이익공유규정</a:t>
            </a:r>
            <a:endParaRPr lang="en-US" altLang="ko-KR" sz="16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우리나라 상황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생물유전자원의 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70%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를 해외에서 수입     의약품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화장품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건강기능식품 생산</a:t>
            </a:r>
            <a:endParaRPr lang="en-US" altLang="ko-KR" sz="16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한국환경정책평가연구원     내년 국내업계 부담 로열티 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136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억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~639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억 원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향후 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4~5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천억 원 전망</a:t>
            </a:r>
            <a:endParaRPr lang="en-US" altLang="ko-KR" sz="16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복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지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부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한국 토종자원 한약재 기반구축 사업 추진 발표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2013.1)    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＇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16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년 까지 연구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뒷북 행정</a:t>
            </a:r>
            <a:endParaRPr lang="ko-KR" altLang="en-US" sz="1600" spc="-15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35819" y="5955055"/>
            <a:ext cx="850818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지자체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공동사업 지양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토종유전자원의 국가주도 연구사업」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추진 등</a:t>
            </a:r>
            <a:endParaRPr lang="ko-KR" altLang="en-US" sz="2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7" name="오른쪽 화살표 16"/>
          <p:cNvSpPr/>
          <p:nvPr/>
        </p:nvSpPr>
        <p:spPr>
          <a:xfrm>
            <a:off x="4222778" y="164419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오른쪽 화살표 17"/>
          <p:cNvSpPr/>
          <p:nvPr/>
        </p:nvSpPr>
        <p:spPr>
          <a:xfrm>
            <a:off x="5386997" y="201122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오른쪽 화살표 18"/>
          <p:cNvSpPr/>
          <p:nvPr/>
        </p:nvSpPr>
        <p:spPr>
          <a:xfrm>
            <a:off x="2934037" y="239203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" name="오른쪽 화살표 19"/>
          <p:cNvSpPr/>
          <p:nvPr/>
        </p:nvSpPr>
        <p:spPr>
          <a:xfrm>
            <a:off x="6187770" y="274108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직사각형 9"/>
          <p:cNvSpPr/>
          <p:nvPr/>
        </p:nvSpPr>
        <p:spPr>
          <a:xfrm>
            <a:off x="483051" y="3284984"/>
            <a:ext cx="8404831" cy="2304256"/>
          </a:xfrm>
          <a:prstGeom prst="rect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endParaRPr lang="en-US" altLang="ko-KR" sz="1200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lang="en-US" altLang="ko-KR" sz="1200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lang="en-US" altLang="ko-KR" sz="1200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lang="en-US" altLang="ko-KR" sz="1200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ko-KR" altLang="en-US" sz="1200" dirty="0" smtClean="0">
                <a:solidFill>
                  <a:schemeClr val="tx1"/>
                </a:solidFill>
              </a:rPr>
              <a:t>▲ </a:t>
            </a:r>
            <a:r>
              <a:rPr lang="ko-KR" altLang="en-US" sz="1200" b="1" dirty="0" smtClean="0">
                <a:solidFill>
                  <a:schemeClr val="tx1"/>
                </a:solidFill>
              </a:rPr>
              <a:t>중국 </a:t>
            </a:r>
            <a:r>
              <a:rPr lang="en-US" altLang="ko-KR" sz="1200" b="1" dirty="0" smtClean="0">
                <a:solidFill>
                  <a:schemeClr val="tx1"/>
                </a:solidFill>
              </a:rPr>
              <a:t>– </a:t>
            </a:r>
            <a:r>
              <a:rPr lang="ko-KR" altLang="en-US" sz="1200" b="1" dirty="0" smtClean="0">
                <a:solidFill>
                  <a:schemeClr val="tx1"/>
                </a:solidFill>
              </a:rPr>
              <a:t>해외 생물유전자원 주권확보 모범사례</a:t>
            </a:r>
            <a:endParaRPr lang="en-US" altLang="ko-KR" sz="1200" b="1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 smtClean="0">
                <a:solidFill>
                  <a:schemeClr val="tx1"/>
                </a:solidFill>
              </a:rPr>
              <a:t>-  </a:t>
            </a:r>
            <a:r>
              <a:rPr lang="ko-KR" altLang="en-US" sz="1200" dirty="0" smtClean="0">
                <a:solidFill>
                  <a:schemeClr val="tx1"/>
                </a:solidFill>
              </a:rPr>
              <a:t>총 </a:t>
            </a:r>
            <a:r>
              <a:rPr lang="en-US" altLang="ko-KR" sz="1200" dirty="0" smtClean="0">
                <a:solidFill>
                  <a:schemeClr val="tx1"/>
                </a:solidFill>
              </a:rPr>
              <a:t>4</a:t>
            </a:r>
            <a:r>
              <a:rPr lang="ko-KR" altLang="en-US" sz="1200" dirty="0" smtClean="0">
                <a:solidFill>
                  <a:schemeClr val="tx1"/>
                </a:solidFill>
              </a:rPr>
              <a:t>차에 걸친 </a:t>
            </a:r>
            <a:r>
              <a:rPr lang="ko-KR" altLang="en-US" sz="1200" dirty="0" err="1" smtClean="0">
                <a:solidFill>
                  <a:schemeClr val="tx1"/>
                </a:solidFill>
              </a:rPr>
              <a:t>전국중약자원조사</a:t>
            </a:r>
            <a:r>
              <a:rPr lang="ko-KR" altLang="en-US" sz="1200" dirty="0" smtClean="0">
                <a:solidFill>
                  <a:schemeClr val="tx1"/>
                </a:solidFill>
              </a:rPr>
              <a:t> 진행 완료 </a:t>
            </a:r>
            <a:r>
              <a:rPr lang="en-US" altLang="ko-KR" sz="1200" dirty="0" smtClean="0">
                <a:solidFill>
                  <a:schemeClr val="tx1"/>
                </a:solidFill>
              </a:rPr>
              <a:t>(1960~2012</a:t>
            </a:r>
            <a:r>
              <a:rPr lang="ko-KR" altLang="en-US" sz="1200" dirty="0" smtClean="0">
                <a:solidFill>
                  <a:schemeClr val="tx1"/>
                </a:solidFill>
              </a:rPr>
              <a:t>년</a:t>
            </a:r>
            <a:r>
              <a:rPr lang="en-US" altLang="ko-KR" sz="1200" dirty="0" smtClean="0">
                <a:solidFill>
                  <a:schemeClr val="tx1"/>
                </a:solidFill>
              </a:rPr>
              <a:t>)</a:t>
            </a:r>
          </a:p>
          <a:p>
            <a:pPr marL="171450" indent="-171450">
              <a:lnSpc>
                <a:spcPct val="150000"/>
              </a:lnSpc>
              <a:buFontTx/>
              <a:buChar char="-"/>
            </a:pPr>
            <a:r>
              <a:rPr lang="ko-KR" altLang="en-US" sz="1200" dirty="0" smtClean="0">
                <a:solidFill>
                  <a:schemeClr val="tx1"/>
                </a:solidFill>
              </a:rPr>
              <a:t>국가 주도</a:t>
            </a:r>
            <a:r>
              <a:rPr lang="en-US" altLang="ko-KR" sz="1200" dirty="0" smtClean="0">
                <a:solidFill>
                  <a:schemeClr val="tx1"/>
                </a:solidFill>
              </a:rPr>
              <a:t>(</a:t>
            </a:r>
            <a:r>
              <a:rPr lang="ko-KR" altLang="en-US" sz="1200" dirty="0" err="1" smtClean="0">
                <a:solidFill>
                  <a:schemeClr val="tx1"/>
                </a:solidFill>
              </a:rPr>
              <a:t>국가중의약관리국</a:t>
            </a:r>
            <a:r>
              <a:rPr lang="en-US" altLang="ko-KR" sz="1200" dirty="0" smtClean="0">
                <a:solidFill>
                  <a:schemeClr val="tx1"/>
                </a:solidFill>
              </a:rPr>
              <a:t>, </a:t>
            </a:r>
            <a:r>
              <a:rPr lang="ko-KR" altLang="en-US" sz="1200" dirty="0" err="1" smtClean="0">
                <a:solidFill>
                  <a:schemeClr val="tx1"/>
                </a:solidFill>
              </a:rPr>
              <a:t>國家中醫藥管理局</a:t>
            </a:r>
            <a:r>
              <a:rPr lang="en-US" altLang="ko-KR" sz="1200" dirty="0" smtClean="0">
                <a:solidFill>
                  <a:schemeClr val="tx1"/>
                </a:solidFill>
              </a:rPr>
              <a:t>)</a:t>
            </a:r>
            <a:r>
              <a:rPr lang="ko-KR" altLang="en-US" sz="1200" dirty="0" smtClean="0">
                <a:solidFill>
                  <a:schemeClr val="tx1"/>
                </a:solidFill>
              </a:rPr>
              <a:t>로 약용식물종류 </a:t>
            </a:r>
            <a:r>
              <a:rPr lang="en-US" altLang="ko-KR" sz="1200" dirty="0" smtClean="0">
                <a:solidFill>
                  <a:schemeClr val="tx1"/>
                </a:solidFill>
              </a:rPr>
              <a:t>8,055</a:t>
            </a:r>
            <a:r>
              <a:rPr lang="ko-KR" altLang="en-US" sz="1200" dirty="0" smtClean="0">
                <a:solidFill>
                  <a:schemeClr val="tx1"/>
                </a:solidFill>
              </a:rPr>
              <a:t>종</a:t>
            </a:r>
            <a:r>
              <a:rPr lang="en-US" altLang="ko-KR" sz="1200" dirty="0" smtClean="0">
                <a:solidFill>
                  <a:schemeClr val="tx1"/>
                </a:solidFill>
              </a:rPr>
              <a:t>, </a:t>
            </a:r>
            <a:r>
              <a:rPr lang="ko-KR" altLang="en-US" sz="1200" dirty="0" smtClean="0">
                <a:solidFill>
                  <a:schemeClr val="tx1"/>
                </a:solidFill>
              </a:rPr>
              <a:t>국가중점식물에 대한 조사 </a:t>
            </a:r>
            <a:r>
              <a:rPr lang="en-US" altLang="ko-KR" sz="1200" dirty="0" smtClean="0">
                <a:solidFill>
                  <a:schemeClr val="tx1"/>
                </a:solidFill>
              </a:rPr>
              <a:t>25</a:t>
            </a:r>
            <a:r>
              <a:rPr lang="ko-KR" altLang="en-US" sz="1200" dirty="0" smtClean="0">
                <a:solidFill>
                  <a:schemeClr val="tx1"/>
                </a:solidFill>
              </a:rPr>
              <a:t>종</a:t>
            </a:r>
            <a:r>
              <a:rPr lang="en-US" altLang="ko-KR" sz="1200" dirty="0" smtClean="0">
                <a:solidFill>
                  <a:schemeClr val="tx1"/>
                </a:solidFill>
              </a:rPr>
              <a:t>(</a:t>
            </a:r>
            <a:r>
              <a:rPr lang="ko-KR" altLang="en-US" sz="1200" dirty="0" smtClean="0">
                <a:solidFill>
                  <a:schemeClr val="tx1"/>
                </a:solidFill>
              </a:rPr>
              <a:t>총 </a:t>
            </a:r>
            <a:r>
              <a:rPr lang="en-US" altLang="ko-KR" sz="1200" dirty="0" smtClean="0">
                <a:solidFill>
                  <a:schemeClr val="tx1"/>
                </a:solidFill>
              </a:rPr>
              <a:t>418</a:t>
            </a:r>
            <a:r>
              <a:rPr lang="ko-KR" altLang="en-US" sz="1200" dirty="0" smtClean="0">
                <a:solidFill>
                  <a:schemeClr val="tx1"/>
                </a:solidFill>
              </a:rPr>
              <a:t>종</a:t>
            </a:r>
            <a:r>
              <a:rPr lang="en-US" altLang="ko-KR" sz="1200" dirty="0" smtClean="0">
                <a:solidFill>
                  <a:schemeClr val="tx1"/>
                </a:solidFill>
              </a:rPr>
              <a:t>), </a:t>
            </a:r>
          </a:p>
          <a:p>
            <a:pPr>
              <a:lnSpc>
                <a:spcPct val="150000"/>
              </a:lnSpc>
            </a:pPr>
            <a:r>
              <a:rPr lang="en-US" altLang="ko-KR" sz="1200" dirty="0" smtClean="0">
                <a:solidFill>
                  <a:schemeClr val="tx1"/>
                </a:solidFill>
              </a:rPr>
              <a:t>   </a:t>
            </a:r>
            <a:r>
              <a:rPr lang="ko-KR" altLang="en-US" sz="1200" dirty="0" smtClean="0">
                <a:solidFill>
                  <a:schemeClr val="tx1"/>
                </a:solidFill>
              </a:rPr>
              <a:t>총 </a:t>
            </a:r>
            <a:r>
              <a:rPr lang="ko-KR" altLang="en-US" sz="1200" dirty="0" err="1" smtClean="0">
                <a:solidFill>
                  <a:schemeClr val="tx1"/>
                </a:solidFill>
              </a:rPr>
              <a:t>표본수</a:t>
            </a:r>
            <a:r>
              <a:rPr lang="ko-KR" altLang="en-US" sz="1200" dirty="0" smtClean="0">
                <a:solidFill>
                  <a:schemeClr val="tx1"/>
                </a:solidFill>
              </a:rPr>
              <a:t> </a:t>
            </a:r>
            <a:r>
              <a:rPr lang="en-US" altLang="ko-KR" sz="1200" dirty="0" smtClean="0">
                <a:solidFill>
                  <a:schemeClr val="tx1"/>
                </a:solidFill>
              </a:rPr>
              <a:t>312,652</a:t>
            </a:r>
            <a:r>
              <a:rPr lang="ko-KR" altLang="en-US" sz="1200" dirty="0" smtClean="0">
                <a:solidFill>
                  <a:schemeClr val="tx1"/>
                </a:solidFill>
              </a:rPr>
              <a:t>개의 조사를 완료하였음</a:t>
            </a:r>
            <a:r>
              <a:rPr lang="en-US" altLang="ko-KR" sz="1200" dirty="0" smtClean="0">
                <a:solidFill>
                  <a:schemeClr val="tx1"/>
                </a:solidFill>
              </a:rPr>
              <a:t>.</a:t>
            </a:r>
            <a:endParaRPr lang="ko-KR" altLang="en-US" sz="1200" dirty="0">
              <a:solidFill>
                <a:schemeClr val="tx1"/>
              </a:solidFill>
            </a:endParaRP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313" y="3356992"/>
            <a:ext cx="8228798" cy="8622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오른쪽 화살표 20"/>
          <p:cNvSpPr/>
          <p:nvPr/>
        </p:nvSpPr>
        <p:spPr>
          <a:xfrm>
            <a:off x="219495" y="6076061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85798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707706" y="673724"/>
            <a:ext cx="8217388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BCG</a:t>
            </a:r>
            <a:r>
              <a:rPr lang="en-US" altLang="ko-KR" sz="1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1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결핵예방접종</a:t>
            </a:r>
            <a:r>
              <a:rPr lang="en-US" altLang="ko-KR" sz="1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백신시설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종균 개발 국산화 중단」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56033" y="1422946"/>
            <a:ext cx="8644595" cy="18928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대한결핵협회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舊국립보건원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),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＇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52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년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~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＇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05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년까지 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BCG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백신 생산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 시설 노후로 ＇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06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 중단</a:t>
            </a:r>
            <a:endParaRPr lang="en-US" altLang="ko-KR" sz="1600" b="1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·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백신 생산 중단까지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52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년간 프랑스 </a:t>
            </a:r>
            <a:r>
              <a:rPr lang="ko-KR" altLang="en-US" sz="140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파스퇴르연구소가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기술지원 및 종균 무상 지원</a:t>
            </a:r>
            <a:endParaRPr lang="en-US" altLang="ko-KR" sz="14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＇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06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년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~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＇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08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8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월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BCG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백신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생산시설 신축사업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오송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추진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  결핵협회에 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97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억 원 지원</a:t>
            </a:r>
            <a:endParaRPr lang="en-US" altLang="ko-KR" sz="1600" b="1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＇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08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12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월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신축사업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오송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중단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민간위탁사업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녹십자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으로 지침변경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 현재까지 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02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억 원 지원</a:t>
            </a:r>
            <a:endParaRPr lang="en-US" altLang="ko-KR" sz="1600" b="1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11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4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월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~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현재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민간 백신생산시설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전남 화순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준공 후 개점휴업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 국산 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BCG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백신 개발도 중단</a:t>
            </a:r>
            <a:endParaRPr lang="ko-KR" altLang="en-US" sz="1600" b="1" spc="-150" dirty="0">
              <a:solidFill>
                <a:srgbClr val="C00000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76231" y="6087229"/>
            <a:ext cx="8488258" cy="530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백신 수입 지속」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또는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한국형 백신 개발 재추진」 </a:t>
            </a:r>
            <a:r>
              <a:rPr lang="en-US" altLang="ko-KR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-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정책 조속 선택 필요</a:t>
            </a:r>
            <a:endParaRPr lang="ko-KR" altLang="en-US" sz="19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8852" y="3415688"/>
            <a:ext cx="2839477" cy="2506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0987" y="3800938"/>
            <a:ext cx="2303867" cy="17356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15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12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12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17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9" name="그림 1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20" name="오른쪽 화살표 19"/>
          <p:cNvSpPr/>
          <p:nvPr/>
        </p:nvSpPr>
        <p:spPr>
          <a:xfrm>
            <a:off x="5998868" y="162257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오른쪽 화살표 20"/>
          <p:cNvSpPr/>
          <p:nvPr/>
        </p:nvSpPr>
        <p:spPr>
          <a:xfrm>
            <a:off x="6106880" y="230424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오른쪽 화살표 21"/>
          <p:cNvSpPr/>
          <p:nvPr/>
        </p:nvSpPr>
        <p:spPr>
          <a:xfrm>
            <a:off x="6588224" y="263691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오른쪽 화살표 22"/>
          <p:cNvSpPr/>
          <p:nvPr/>
        </p:nvSpPr>
        <p:spPr>
          <a:xfrm>
            <a:off x="6272380" y="303641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3" name="직선 연결선 2"/>
          <p:cNvCxnSpPr/>
          <p:nvPr/>
        </p:nvCxnSpPr>
        <p:spPr>
          <a:xfrm>
            <a:off x="3203847" y="4725144"/>
            <a:ext cx="809353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직선 연결선 23"/>
          <p:cNvCxnSpPr/>
          <p:nvPr/>
        </p:nvCxnSpPr>
        <p:spPr>
          <a:xfrm>
            <a:off x="3059832" y="4856517"/>
            <a:ext cx="108012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직사각형 6"/>
          <p:cNvSpPr/>
          <p:nvPr/>
        </p:nvSpPr>
        <p:spPr>
          <a:xfrm rot="19970744">
            <a:off x="5145067" y="3879178"/>
            <a:ext cx="1599440" cy="648072"/>
          </a:xfrm>
          <a:prstGeom prst="rect">
            <a:avLst/>
          </a:prstGeom>
          <a:noFill/>
          <a:ln w="34925">
            <a:solidFill>
              <a:srgbClr val="C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공급부족</a:t>
            </a:r>
            <a:endParaRPr lang="ko-KR" altLang="en-US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5" name="오른쪽 화살표 24"/>
          <p:cNvSpPr/>
          <p:nvPr/>
        </p:nvSpPr>
        <p:spPr>
          <a:xfrm>
            <a:off x="204529" y="6196693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535127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775005" y="497498"/>
            <a:ext cx="8039100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23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매개체 </a:t>
            </a:r>
            <a:r>
              <a:rPr lang="ko-KR" altLang="en-US" sz="23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감염병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– 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국내유입 및 풍토병化」 </a:t>
            </a:r>
            <a:r>
              <a:rPr lang="ko-KR" altLang="en-US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[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정책백서</a:t>
            </a:r>
            <a:r>
              <a:rPr lang="en-US" altLang="ko-KR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]</a:t>
            </a:r>
            <a:endParaRPr lang="en-US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aphicFrame>
        <p:nvGraphicFramePr>
          <p:cNvPr id="3" name="표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1951423"/>
              </p:ext>
            </p:extLst>
          </p:nvPr>
        </p:nvGraphicFramePr>
        <p:xfrm>
          <a:off x="788573" y="3544636"/>
          <a:ext cx="7488833" cy="1872210"/>
        </p:xfrm>
        <a:graphic>
          <a:graphicData uri="http://schemas.openxmlformats.org/drawingml/2006/table">
            <a:tbl>
              <a:tblPr/>
              <a:tblGrid>
                <a:gridCol w="1056117"/>
                <a:gridCol w="1632181"/>
                <a:gridCol w="960107"/>
                <a:gridCol w="960107"/>
                <a:gridCol w="960107"/>
                <a:gridCol w="960107"/>
                <a:gridCol w="960107"/>
              </a:tblGrid>
              <a:tr h="320270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b="0" kern="0" spc="0" dirty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HY견고딕" panose="02030600000101010101" pitchFamily="18" charset="-127"/>
                          <a:ea typeface="HY견고딕" panose="02030600000101010101" pitchFamily="18" charset="-127"/>
                        </a:rPr>
                        <a:t>매개체</a:t>
                      </a:r>
                      <a:endParaRPr lang="ko-KR" altLang="en-US" sz="1000" b="0" kern="0" spc="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HY견고딕" panose="02030600000101010101" pitchFamily="18" charset="-127"/>
                        <a:ea typeface="HY견고딕" panose="02030600000101010101" pitchFamily="18" charset="-127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b="0" kern="0" spc="0" dirty="0" err="1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HY견고딕" panose="02030600000101010101" pitchFamily="18" charset="-127"/>
                          <a:ea typeface="HY견고딕" panose="02030600000101010101" pitchFamily="18" charset="-127"/>
                        </a:rPr>
                        <a:t>감염병</a:t>
                      </a:r>
                      <a:endParaRPr lang="ko-KR" altLang="en-US" sz="1000" b="0" kern="0" spc="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HY견고딕" panose="02030600000101010101" pitchFamily="18" charset="-127"/>
                        <a:ea typeface="HY견고딕" panose="02030600000101010101" pitchFamily="18" charset="-127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kern="0" spc="0" dirty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HY견고딕" panose="02030600000101010101" pitchFamily="18" charset="-127"/>
                          <a:ea typeface="HY견고딕" panose="02030600000101010101" pitchFamily="18" charset="-127"/>
                        </a:rPr>
                        <a:t>2009</a:t>
                      </a:r>
                      <a:endParaRPr lang="en-US" sz="1000" b="0" kern="0" spc="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HY견고딕" panose="02030600000101010101" pitchFamily="18" charset="-127"/>
                        <a:ea typeface="HY견고딕" panose="02030600000101010101" pitchFamily="18" charset="-127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kern="0" spc="0" dirty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HY견고딕" panose="02030600000101010101" pitchFamily="18" charset="-127"/>
                          <a:ea typeface="HY견고딕" panose="02030600000101010101" pitchFamily="18" charset="-127"/>
                        </a:rPr>
                        <a:t>2010</a:t>
                      </a:r>
                      <a:endParaRPr lang="en-US" sz="1000" b="0" kern="0" spc="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HY견고딕" panose="02030600000101010101" pitchFamily="18" charset="-127"/>
                        <a:ea typeface="HY견고딕" panose="02030600000101010101" pitchFamily="18" charset="-127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kern="0" spc="0" dirty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HY견고딕" panose="02030600000101010101" pitchFamily="18" charset="-127"/>
                          <a:ea typeface="HY견고딕" panose="02030600000101010101" pitchFamily="18" charset="-127"/>
                        </a:rPr>
                        <a:t>2011</a:t>
                      </a:r>
                      <a:endParaRPr lang="en-US" sz="1000" b="0" kern="0" spc="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HY견고딕" panose="02030600000101010101" pitchFamily="18" charset="-127"/>
                        <a:ea typeface="HY견고딕" panose="02030600000101010101" pitchFamily="18" charset="-127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kern="0" spc="0" dirty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HY견고딕" panose="02030600000101010101" pitchFamily="18" charset="-127"/>
                          <a:ea typeface="HY견고딕" panose="02030600000101010101" pitchFamily="18" charset="-127"/>
                        </a:rPr>
                        <a:t>2012</a:t>
                      </a:r>
                      <a:endParaRPr lang="en-US" sz="1000" b="0" kern="0" spc="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HY견고딕" panose="02030600000101010101" pitchFamily="18" charset="-127"/>
                        <a:ea typeface="HY견고딕" panose="02030600000101010101" pitchFamily="18" charset="-127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0" spc="0" dirty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HY견고딕" panose="02030600000101010101" pitchFamily="18" charset="-127"/>
                          <a:ea typeface="HY견고딕" panose="02030600000101010101" pitchFamily="18" charset="-127"/>
                        </a:rPr>
                        <a:t>2013</a:t>
                      </a:r>
                      <a:endParaRPr lang="en-US" sz="1000" kern="0" spc="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HY견고딕" panose="02030600000101010101" pitchFamily="18" charset="-127"/>
                        <a:ea typeface="HY견고딕" panose="02030600000101010101" pitchFamily="18" charset="-127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310388">
                <a:tc rowSpan="3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ea typeface="휴먼명조"/>
                        </a:rPr>
                        <a:t>모기</a:t>
                      </a:r>
                      <a:endParaRPr lang="ko-KR" altLang="en-US" sz="10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ea typeface="휴먼명조"/>
                        </a:rPr>
                        <a:t>말라리아</a:t>
                      </a:r>
                      <a:endParaRPr lang="ko-KR" altLang="en-US" sz="10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 dirty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1,345</a:t>
                      </a:r>
                      <a:endParaRPr lang="en-US" sz="10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1,772</a:t>
                      </a:r>
                      <a:endParaRPr 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826</a:t>
                      </a:r>
                      <a:endParaRPr 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 dirty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542</a:t>
                      </a:r>
                      <a:endParaRPr lang="en-US" sz="10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 dirty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445</a:t>
                      </a:r>
                      <a:endParaRPr lang="en-US" sz="10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038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ea typeface="휴먼명조"/>
                        </a:rPr>
                        <a:t>일본뇌염</a:t>
                      </a:r>
                      <a:endParaRPr lang="ko-KR" altLang="en-US" sz="10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 dirty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6</a:t>
                      </a:r>
                      <a:endParaRPr lang="en-US" sz="10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 dirty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26</a:t>
                      </a:r>
                      <a:endParaRPr lang="en-US" sz="10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3</a:t>
                      </a:r>
                      <a:endParaRPr 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20</a:t>
                      </a:r>
                      <a:endParaRPr 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14</a:t>
                      </a:r>
                      <a:endParaRPr 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038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kern="0" spc="0">
                          <a:solidFill>
                            <a:srgbClr val="000000"/>
                          </a:solidFill>
                          <a:effectLst/>
                          <a:ea typeface="휴먼명조"/>
                        </a:rPr>
                        <a:t>뎅기열</a:t>
                      </a:r>
                      <a:endParaRPr lang="ko-KR" alt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59</a:t>
                      </a:r>
                      <a:endParaRPr 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 dirty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125</a:t>
                      </a:r>
                      <a:endParaRPr lang="en-US" sz="10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 dirty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72</a:t>
                      </a:r>
                      <a:endParaRPr lang="en-US" sz="10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149</a:t>
                      </a:r>
                      <a:endParaRPr 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252</a:t>
                      </a:r>
                      <a:endParaRPr 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0388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kern="0" spc="0">
                          <a:solidFill>
                            <a:srgbClr val="000000"/>
                          </a:solidFill>
                          <a:effectLst/>
                          <a:ea typeface="휴먼명조"/>
                        </a:rPr>
                        <a:t>진드기</a:t>
                      </a:r>
                      <a:endParaRPr lang="ko-KR" alt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kern="0" spc="0" dirty="0" err="1">
                          <a:solidFill>
                            <a:srgbClr val="000000"/>
                          </a:solidFill>
                          <a:effectLst/>
                          <a:ea typeface="휴먼명조"/>
                        </a:rPr>
                        <a:t>쯔쯔가무시증</a:t>
                      </a:r>
                      <a:endParaRPr lang="ko-KR" altLang="en-US" sz="10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4,995</a:t>
                      </a:r>
                      <a:endParaRPr 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5,671</a:t>
                      </a:r>
                      <a:endParaRPr 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5,151</a:t>
                      </a:r>
                      <a:endParaRPr 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 dirty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8,604</a:t>
                      </a:r>
                      <a:endParaRPr lang="en-US" sz="10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 dirty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10,365</a:t>
                      </a:r>
                      <a:endParaRPr lang="en-US" sz="10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0388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kern="0" spc="-50" dirty="0">
                          <a:solidFill>
                            <a:srgbClr val="000000"/>
                          </a:solidFill>
                          <a:effectLst/>
                          <a:ea typeface="휴먼명조"/>
                        </a:rPr>
                        <a:t>수인성</a:t>
                      </a:r>
                      <a:r>
                        <a:rPr lang="en-US" altLang="ko-KR" sz="1400" kern="0" spc="-50" dirty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(</a:t>
                      </a:r>
                      <a:r>
                        <a:rPr lang="ko-KR" altLang="en-US" sz="1400" kern="0" spc="-50" dirty="0">
                          <a:solidFill>
                            <a:srgbClr val="000000"/>
                          </a:solidFill>
                          <a:effectLst/>
                          <a:ea typeface="휴먼명조"/>
                        </a:rPr>
                        <a:t>물</a:t>
                      </a:r>
                      <a:r>
                        <a:rPr lang="en-US" altLang="ko-KR" sz="1400" kern="0" spc="-50" dirty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)</a:t>
                      </a:r>
                      <a:endParaRPr lang="ko-KR" altLang="en-US" sz="10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kern="0" spc="-100" dirty="0">
                          <a:solidFill>
                            <a:srgbClr val="000000"/>
                          </a:solidFill>
                          <a:effectLst/>
                          <a:ea typeface="휴먼명조"/>
                        </a:rPr>
                        <a:t>비브리오 패혈증</a:t>
                      </a:r>
                      <a:endParaRPr lang="ko-KR" altLang="en-US" sz="10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 dirty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24</a:t>
                      </a:r>
                      <a:endParaRPr lang="en-US" sz="10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73</a:t>
                      </a:r>
                      <a:endParaRPr 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51</a:t>
                      </a:r>
                      <a:endParaRPr lang="en-US" sz="10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 dirty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64</a:t>
                      </a:r>
                      <a:endParaRPr lang="en-US" sz="10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 dirty="0">
                          <a:solidFill>
                            <a:srgbClr val="000000"/>
                          </a:solidFill>
                          <a:effectLst/>
                          <a:latin typeface="휴먼명조"/>
                        </a:rPr>
                        <a:t>54</a:t>
                      </a:r>
                      <a:endParaRPr lang="en-US" sz="10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9" name="TextBox 58"/>
          <p:cNvSpPr txBox="1"/>
          <p:nvPr/>
        </p:nvSpPr>
        <p:spPr>
          <a:xfrm>
            <a:off x="766745" y="1268760"/>
            <a:ext cx="782426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기후변화에 따른 매개체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모기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진드기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물 등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감염병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발생 증가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잦은 해외교류에 따른 해외유입 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감염병의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확산 속도가 급증하는 양상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新해외감염병의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병원체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국내유입時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「토착화」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新매개체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출현」 우려</a:t>
            </a:r>
            <a:endParaRPr lang="en-US" altLang="ko-KR" sz="16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정부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en-US" altLang="ko-KR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기후변화</a:t>
            </a:r>
            <a:r>
              <a:rPr lang="en-US" altLang="ko-KR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일부 폭염 재해만 감시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en-US" altLang="ko-KR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b="1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해외감염병</a:t>
            </a:r>
            <a:r>
              <a:rPr lang="en-US" altLang="ko-KR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검역 외 대책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미흡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762401" y="3136471"/>
            <a:ext cx="37444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&lt;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매개체 </a:t>
            </a:r>
            <a:r>
              <a:rPr lang="ko-KR" altLang="en-US" sz="14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감염병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국내 발생추이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&gt;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 </a:t>
            </a:r>
            <a:r>
              <a:rPr lang="en-US" altLang="ko-KR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단위</a:t>
            </a:r>
            <a:r>
              <a:rPr lang="en-US" altLang="ko-KR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: </a:t>
            </a:r>
            <a:r>
              <a:rPr lang="ko-KR" altLang="en-US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명</a:t>
            </a:r>
            <a:r>
              <a:rPr lang="en-US" altLang="ko-KR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endParaRPr lang="ko-KR" altLang="en-US" sz="1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691073" y="5947756"/>
            <a:ext cx="807702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매개체 </a:t>
            </a:r>
            <a:r>
              <a:rPr lang="ko-KR" altLang="en-US" sz="20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감염병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별 차별화된 연구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관리정책 수립과 실천 시급</a:t>
            </a:r>
            <a:endParaRPr lang="ko-KR" altLang="en-US" sz="2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pSp>
        <p:nvGrpSpPr>
          <p:cNvPr id="14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15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12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12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17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9" name="그림 1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20" name="오른쪽 화살표 19"/>
          <p:cNvSpPr/>
          <p:nvPr/>
        </p:nvSpPr>
        <p:spPr>
          <a:xfrm>
            <a:off x="435872" y="6076061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9274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48"/>
          <p:cNvSpPr/>
          <p:nvPr/>
        </p:nvSpPr>
        <p:spPr>
          <a:xfrm>
            <a:off x="4026088" y="1222809"/>
            <a:ext cx="4794384" cy="22781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innerShdw blurRad="38100">
              <a:prstClr val="black">
                <a:alpha val="78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5" name="Freeform 33"/>
          <p:cNvSpPr>
            <a:spLocks noEditPoints="1"/>
          </p:cNvSpPr>
          <p:nvPr/>
        </p:nvSpPr>
        <p:spPr bwMode="auto">
          <a:xfrm>
            <a:off x="476230" y="1120250"/>
            <a:ext cx="3303682" cy="2026924"/>
          </a:xfrm>
          <a:custGeom>
            <a:avLst/>
            <a:gdLst>
              <a:gd name="T0" fmla="*/ 2948 w 7941"/>
              <a:gd name="T1" fmla="*/ 3873 h 5142"/>
              <a:gd name="T2" fmla="*/ 2020 w 7941"/>
              <a:gd name="T3" fmla="*/ 3426 h 5142"/>
              <a:gd name="T4" fmla="*/ 2196 w 7941"/>
              <a:gd name="T5" fmla="*/ 2645 h 5142"/>
              <a:gd name="T6" fmla="*/ 2542 w 7941"/>
              <a:gd name="T7" fmla="*/ 2318 h 5142"/>
              <a:gd name="T8" fmla="*/ 1863 w 7941"/>
              <a:gd name="T9" fmla="*/ 2083 h 5142"/>
              <a:gd name="T10" fmla="*/ 2142 w 7941"/>
              <a:gd name="T11" fmla="*/ 1651 h 5142"/>
              <a:gd name="T12" fmla="*/ 2171 w 7941"/>
              <a:gd name="T13" fmla="*/ 1385 h 5142"/>
              <a:gd name="T14" fmla="*/ 1885 w 7941"/>
              <a:gd name="T15" fmla="*/ 1531 h 5142"/>
              <a:gd name="T16" fmla="*/ 1620 w 7941"/>
              <a:gd name="T17" fmla="*/ 1556 h 5142"/>
              <a:gd name="T18" fmla="*/ 803 w 7941"/>
              <a:gd name="T19" fmla="*/ 1505 h 5142"/>
              <a:gd name="T20" fmla="*/ 158 w 7941"/>
              <a:gd name="T21" fmla="*/ 1840 h 5142"/>
              <a:gd name="T22" fmla="*/ 444 w 7941"/>
              <a:gd name="T23" fmla="*/ 1924 h 5142"/>
              <a:gd name="T24" fmla="*/ 1239 w 7941"/>
              <a:gd name="T25" fmla="*/ 2974 h 5142"/>
              <a:gd name="T26" fmla="*/ 2046 w 7941"/>
              <a:gd name="T27" fmla="*/ 3886 h 5142"/>
              <a:gd name="T28" fmla="*/ 7753 w 7941"/>
              <a:gd name="T29" fmla="*/ 1345 h 5142"/>
              <a:gd name="T30" fmla="*/ 5969 w 7941"/>
              <a:gd name="T31" fmla="*/ 723 h 5142"/>
              <a:gd name="T32" fmla="*/ 4937 w 7941"/>
              <a:gd name="T33" fmla="*/ 535 h 5142"/>
              <a:gd name="T34" fmla="*/ 4783 w 7941"/>
              <a:gd name="T35" fmla="*/ 514 h 5142"/>
              <a:gd name="T36" fmla="*/ 4275 w 7941"/>
              <a:gd name="T37" fmla="*/ 863 h 5142"/>
              <a:gd name="T38" fmla="*/ 2008 w 7941"/>
              <a:gd name="T39" fmla="*/ 1868 h 5142"/>
              <a:gd name="T40" fmla="*/ 1666 w 7941"/>
              <a:gd name="T41" fmla="*/ 491 h 5142"/>
              <a:gd name="T42" fmla="*/ 1665 w 7941"/>
              <a:gd name="T43" fmla="*/ 1125 h 5142"/>
              <a:gd name="T44" fmla="*/ 1891 w 7941"/>
              <a:gd name="T45" fmla="*/ 957 h 5142"/>
              <a:gd name="T46" fmla="*/ 2325 w 7941"/>
              <a:gd name="T47" fmla="*/ 367 h 5142"/>
              <a:gd name="T48" fmla="*/ 1926 w 7941"/>
              <a:gd name="T49" fmla="*/ 273 h 5142"/>
              <a:gd name="T50" fmla="*/ 2008 w 7941"/>
              <a:gd name="T51" fmla="*/ 402 h 5142"/>
              <a:gd name="T52" fmla="*/ 1844 w 7941"/>
              <a:gd name="T53" fmla="*/ 819 h 5142"/>
              <a:gd name="T54" fmla="*/ 1449 w 7941"/>
              <a:gd name="T55" fmla="*/ 758 h 5142"/>
              <a:gd name="T56" fmla="*/ 1158 w 7941"/>
              <a:gd name="T57" fmla="*/ 997 h 5142"/>
              <a:gd name="T58" fmla="*/ 1521 w 7941"/>
              <a:gd name="T59" fmla="*/ 1287 h 5142"/>
              <a:gd name="T60" fmla="*/ 1482 w 7941"/>
              <a:gd name="T61" fmla="*/ 1476 h 5142"/>
              <a:gd name="T62" fmla="*/ 1492 w 7941"/>
              <a:gd name="T63" fmla="*/ 1524 h 5142"/>
              <a:gd name="T64" fmla="*/ 5555 w 7941"/>
              <a:gd name="T65" fmla="*/ 3445 h 5142"/>
              <a:gd name="T66" fmla="*/ 6836 w 7941"/>
              <a:gd name="T67" fmla="*/ 2664 h 5142"/>
              <a:gd name="T68" fmla="*/ 6358 w 7941"/>
              <a:gd name="T69" fmla="*/ 3535 h 5142"/>
              <a:gd name="T70" fmla="*/ 6836 w 7941"/>
              <a:gd name="T71" fmla="*/ 3685 h 5142"/>
              <a:gd name="T72" fmla="*/ 3265 w 7941"/>
              <a:gd name="T73" fmla="*/ 1210 h 5142"/>
              <a:gd name="T74" fmla="*/ 3482 w 7941"/>
              <a:gd name="T75" fmla="*/ 365 h 5142"/>
              <a:gd name="T76" fmla="*/ 3073 w 7941"/>
              <a:gd name="T77" fmla="*/ 104 h 5142"/>
              <a:gd name="T78" fmla="*/ 2759 w 7941"/>
              <a:gd name="T79" fmla="*/ 242 h 5142"/>
              <a:gd name="T80" fmla="*/ 2287 w 7941"/>
              <a:gd name="T81" fmla="*/ 571 h 5142"/>
              <a:gd name="T82" fmla="*/ 2578 w 7941"/>
              <a:gd name="T83" fmla="*/ 1335 h 5142"/>
              <a:gd name="T84" fmla="*/ 5119 w 7941"/>
              <a:gd name="T85" fmla="*/ 978 h 5142"/>
              <a:gd name="T86" fmla="*/ 3549 w 7941"/>
              <a:gd name="T87" fmla="*/ 2206 h 5142"/>
              <a:gd name="T88" fmla="*/ 7611 w 7941"/>
              <a:gd name="T89" fmla="*/ 4481 h 5142"/>
              <a:gd name="T90" fmla="*/ 6294 w 7941"/>
              <a:gd name="T91" fmla="*/ 4346 h 5142"/>
              <a:gd name="T92" fmla="*/ 7004 w 7941"/>
              <a:gd name="T93" fmla="*/ 4536 h 5142"/>
              <a:gd name="T94" fmla="*/ 4058 w 7941"/>
              <a:gd name="T95" fmla="*/ 3907 h 5142"/>
              <a:gd name="T96" fmla="*/ 4245 w 7941"/>
              <a:gd name="T97" fmla="*/ 2862 h 5142"/>
              <a:gd name="T98" fmla="*/ 4000 w 7941"/>
              <a:gd name="T99" fmla="*/ 2600 h 5142"/>
              <a:gd name="T100" fmla="*/ 3986 w 7941"/>
              <a:gd name="T101" fmla="*/ 2018 h 5142"/>
              <a:gd name="T102" fmla="*/ 4490 w 7941"/>
              <a:gd name="T103" fmla="*/ 1664 h 5142"/>
              <a:gd name="T104" fmla="*/ 5068 w 7941"/>
              <a:gd name="T105" fmla="*/ 1523 h 5142"/>
              <a:gd name="T106" fmla="*/ 5396 w 7941"/>
              <a:gd name="T107" fmla="*/ 1525 h 5142"/>
              <a:gd name="T108" fmla="*/ 5859 w 7941"/>
              <a:gd name="T109" fmla="*/ 947 h 5142"/>
              <a:gd name="T110" fmla="*/ 6467 w 7941"/>
              <a:gd name="T111" fmla="*/ 1241 h 5142"/>
              <a:gd name="T112" fmla="*/ 7449 w 7941"/>
              <a:gd name="T113" fmla="*/ 1461 h 5142"/>
              <a:gd name="T114" fmla="*/ 7348 w 7941"/>
              <a:gd name="T115" fmla="*/ 2069 h 5142"/>
              <a:gd name="T116" fmla="*/ 6864 w 7941"/>
              <a:gd name="T117" fmla="*/ 2253 h 5142"/>
              <a:gd name="T118" fmla="*/ 6197 w 7941"/>
              <a:gd name="T119" fmla="*/ 3206 h 5142"/>
              <a:gd name="T120" fmla="*/ 6665 w 7941"/>
              <a:gd name="T121" fmla="*/ 3788 h 5142"/>
              <a:gd name="T122" fmla="*/ 5469 w 7941"/>
              <a:gd name="T123" fmla="*/ 3460 h 5142"/>
              <a:gd name="T124" fmla="*/ 4526 w 7941"/>
              <a:gd name="T125" fmla="*/ 2954 h 5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941" h="5142">
                <a:moveTo>
                  <a:pt x="2367" y="5089"/>
                </a:moveTo>
                <a:lnTo>
                  <a:pt x="2366" y="5085"/>
                </a:lnTo>
                <a:lnTo>
                  <a:pt x="2364" y="5083"/>
                </a:lnTo>
                <a:lnTo>
                  <a:pt x="2362" y="5082"/>
                </a:lnTo>
                <a:lnTo>
                  <a:pt x="2359" y="5081"/>
                </a:lnTo>
                <a:lnTo>
                  <a:pt x="2351" y="5079"/>
                </a:lnTo>
                <a:lnTo>
                  <a:pt x="2338" y="5078"/>
                </a:lnTo>
                <a:lnTo>
                  <a:pt x="2324" y="5076"/>
                </a:lnTo>
                <a:lnTo>
                  <a:pt x="2313" y="5074"/>
                </a:lnTo>
                <a:lnTo>
                  <a:pt x="2309" y="5072"/>
                </a:lnTo>
                <a:lnTo>
                  <a:pt x="2303" y="5070"/>
                </a:lnTo>
                <a:lnTo>
                  <a:pt x="2300" y="5068"/>
                </a:lnTo>
                <a:lnTo>
                  <a:pt x="2297" y="5065"/>
                </a:lnTo>
                <a:lnTo>
                  <a:pt x="2289" y="5057"/>
                </a:lnTo>
                <a:lnTo>
                  <a:pt x="2278" y="5047"/>
                </a:lnTo>
                <a:lnTo>
                  <a:pt x="2273" y="5041"/>
                </a:lnTo>
                <a:lnTo>
                  <a:pt x="2269" y="5035"/>
                </a:lnTo>
                <a:lnTo>
                  <a:pt x="2266" y="5031"/>
                </a:lnTo>
                <a:lnTo>
                  <a:pt x="2265" y="5027"/>
                </a:lnTo>
                <a:lnTo>
                  <a:pt x="2267" y="5019"/>
                </a:lnTo>
                <a:lnTo>
                  <a:pt x="2269" y="5014"/>
                </a:lnTo>
                <a:lnTo>
                  <a:pt x="2270" y="5012"/>
                </a:lnTo>
                <a:lnTo>
                  <a:pt x="2271" y="5009"/>
                </a:lnTo>
                <a:lnTo>
                  <a:pt x="2271" y="5007"/>
                </a:lnTo>
                <a:lnTo>
                  <a:pt x="2270" y="5005"/>
                </a:lnTo>
                <a:lnTo>
                  <a:pt x="2267" y="5000"/>
                </a:lnTo>
                <a:lnTo>
                  <a:pt x="2266" y="4993"/>
                </a:lnTo>
                <a:lnTo>
                  <a:pt x="2266" y="4987"/>
                </a:lnTo>
                <a:lnTo>
                  <a:pt x="2266" y="4980"/>
                </a:lnTo>
                <a:lnTo>
                  <a:pt x="2265" y="4975"/>
                </a:lnTo>
                <a:lnTo>
                  <a:pt x="2261" y="4970"/>
                </a:lnTo>
                <a:lnTo>
                  <a:pt x="2257" y="4965"/>
                </a:lnTo>
                <a:lnTo>
                  <a:pt x="2252" y="4960"/>
                </a:lnTo>
                <a:lnTo>
                  <a:pt x="2248" y="4954"/>
                </a:lnTo>
                <a:lnTo>
                  <a:pt x="2245" y="4949"/>
                </a:lnTo>
                <a:lnTo>
                  <a:pt x="2244" y="4947"/>
                </a:lnTo>
                <a:lnTo>
                  <a:pt x="2243" y="4945"/>
                </a:lnTo>
                <a:lnTo>
                  <a:pt x="2243" y="4943"/>
                </a:lnTo>
                <a:lnTo>
                  <a:pt x="2244" y="4942"/>
                </a:lnTo>
                <a:lnTo>
                  <a:pt x="2252" y="4935"/>
                </a:lnTo>
                <a:lnTo>
                  <a:pt x="2265" y="4925"/>
                </a:lnTo>
                <a:lnTo>
                  <a:pt x="2272" y="4920"/>
                </a:lnTo>
                <a:lnTo>
                  <a:pt x="2277" y="4915"/>
                </a:lnTo>
                <a:lnTo>
                  <a:pt x="2279" y="4912"/>
                </a:lnTo>
                <a:lnTo>
                  <a:pt x="2281" y="4909"/>
                </a:lnTo>
                <a:lnTo>
                  <a:pt x="2282" y="4906"/>
                </a:lnTo>
                <a:lnTo>
                  <a:pt x="2282" y="4903"/>
                </a:lnTo>
                <a:lnTo>
                  <a:pt x="2281" y="4894"/>
                </a:lnTo>
                <a:lnTo>
                  <a:pt x="2280" y="4885"/>
                </a:lnTo>
                <a:lnTo>
                  <a:pt x="2280" y="4881"/>
                </a:lnTo>
                <a:lnTo>
                  <a:pt x="2281" y="4878"/>
                </a:lnTo>
                <a:lnTo>
                  <a:pt x="2283" y="4875"/>
                </a:lnTo>
                <a:lnTo>
                  <a:pt x="2288" y="4872"/>
                </a:lnTo>
                <a:lnTo>
                  <a:pt x="2298" y="4865"/>
                </a:lnTo>
                <a:lnTo>
                  <a:pt x="2308" y="4858"/>
                </a:lnTo>
                <a:lnTo>
                  <a:pt x="2314" y="4851"/>
                </a:lnTo>
                <a:lnTo>
                  <a:pt x="2317" y="4846"/>
                </a:lnTo>
                <a:lnTo>
                  <a:pt x="2317" y="4839"/>
                </a:lnTo>
                <a:lnTo>
                  <a:pt x="2316" y="4829"/>
                </a:lnTo>
                <a:lnTo>
                  <a:pt x="2313" y="4819"/>
                </a:lnTo>
                <a:lnTo>
                  <a:pt x="2310" y="4811"/>
                </a:lnTo>
                <a:lnTo>
                  <a:pt x="2302" y="4805"/>
                </a:lnTo>
                <a:lnTo>
                  <a:pt x="2293" y="4797"/>
                </a:lnTo>
                <a:lnTo>
                  <a:pt x="2288" y="4793"/>
                </a:lnTo>
                <a:lnTo>
                  <a:pt x="2284" y="4789"/>
                </a:lnTo>
                <a:lnTo>
                  <a:pt x="2282" y="4784"/>
                </a:lnTo>
                <a:lnTo>
                  <a:pt x="2281" y="4780"/>
                </a:lnTo>
                <a:lnTo>
                  <a:pt x="2282" y="4771"/>
                </a:lnTo>
                <a:lnTo>
                  <a:pt x="2284" y="4764"/>
                </a:lnTo>
                <a:lnTo>
                  <a:pt x="2286" y="4762"/>
                </a:lnTo>
                <a:lnTo>
                  <a:pt x="2288" y="4760"/>
                </a:lnTo>
                <a:lnTo>
                  <a:pt x="2291" y="4759"/>
                </a:lnTo>
                <a:lnTo>
                  <a:pt x="2295" y="4759"/>
                </a:lnTo>
                <a:lnTo>
                  <a:pt x="2300" y="4758"/>
                </a:lnTo>
                <a:lnTo>
                  <a:pt x="2305" y="4756"/>
                </a:lnTo>
                <a:lnTo>
                  <a:pt x="2311" y="4755"/>
                </a:lnTo>
                <a:lnTo>
                  <a:pt x="2315" y="4753"/>
                </a:lnTo>
                <a:lnTo>
                  <a:pt x="2323" y="4748"/>
                </a:lnTo>
                <a:lnTo>
                  <a:pt x="2329" y="4745"/>
                </a:lnTo>
                <a:lnTo>
                  <a:pt x="2329" y="4740"/>
                </a:lnTo>
                <a:lnTo>
                  <a:pt x="2326" y="4727"/>
                </a:lnTo>
                <a:lnTo>
                  <a:pt x="2326" y="4720"/>
                </a:lnTo>
                <a:lnTo>
                  <a:pt x="2327" y="4712"/>
                </a:lnTo>
                <a:lnTo>
                  <a:pt x="2329" y="4709"/>
                </a:lnTo>
                <a:lnTo>
                  <a:pt x="2330" y="4706"/>
                </a:lnTo>
                <a:lnTo>
                  <a:pt x="2332" y="4703"/>
                </a:lnTo>
                <a:lnTo>
                  <a:pt x="2335" y="4701"/>
                </a:lnTo>
                <a:lnTo>
                  <a:pt x="2346" y="4695"/>
                </a:lnTo>
                <a:lnTo>
                  <a:pt x="2359" y="4690"/>
                </a:lnTo>
                <a:lnTo>
                  <a:pt x="2363" y="4688"/>
                </a:lnTo>
                <a:lnTo>
                  <a:pt x="2367" y="4685"/>
                </a:lnTo>
                <a:lnTo>
                  <a:pt x="2368" y="4684"/>
                </a:lnTo>
                <a:lnTo>
                  <a:pt x="2369" y="4681"/>
                </a:lnTo>
                <a:lnTo>
                  <a:pt x="2369" y="4679"/>
                </a:lnTo>
                <a:lnTo>
                  <a:pt x="2369" y="4676"/>
                </a:lnTo>
                <a:lnTo>
                  <a:pt x="2369" y="4672"/>
                </a:lnTo>
                <a:lnTo>
                  <a:pt x="2367" y="4668"/>
                </a:lnTo>
                <a:lnTo>
                  <a:pt x="2365" y="4665"/>
                </a:lnTo>
                <a:lnTo>
                  <a:pt x="2362" y="4663"/>
                </a:lnTo>
                <a:lnTo>
                  <a:pt x="2355" y="4658"/>
                </a:lnTo>
                <a:lnTo>
                  <a:pt x="2347" y="4653"/>
                </a:lnTo>
                <a:lnTo>
                  <a:pt x="2340" y="4650"/>
                </a:lnTo>
                <a:lnTo>
                  <a:pt x="2335" y="4645"/>
                </a:lnTo>
                <a:lnTo>
                  <a:pt x="2334" y="4644"/>
                </a:lnTo>
                <a:lnTo>
                  <a:pt x="2333" y="4643"/>
                </a:lnTo>
                <a:lnTo>
                  <a:pt x="2333" y="4641"/>
                </a:lnTo>
                <a:lnTo>
                  <a:pt x="2335" y="4640"/>
                </a:lnTo>
                <a:lnTo>
                  <a:pt x="2347" y="4637"/>
                </a:lnTo>
                <a:lnTo>
                  <a:pt x="2366" y="4634"/>
                </a:lnTo>
                <a:lnTo>
                  <a:pt x="2375" y="4632"/>
                </a:lnTo>
                <a:lnTo>
                  <a:pt x="2383" y="4630"/>
                </a:lnTo>
                <a:lnTo>
                  <a:pt x="2389" y="4627"/>
                </a:lnTo>
                <a:lnTo>
                  <a:pt x="2393" y="4623"/>
                </a:lnTo>
                <a:lnTo>
                  <a:pt x="2396" y="4618"/>
                </a:lnTo>
                <a:lnTo>
                  <a:pt x="2397" y="4611"/>
                </a:lnTo>
                <a:lnTo>
                  <a:pt x="2397" y="4602"/>
                </a:lnTo>
                <a:lnTo>
                  <a:pt x="2398" y="4594"/>
                </a:lnTo>
                <a:lnTo>
                  <a:pt x="2399" y="4587"/>
                </a:lnTo>
                <a:lnTo>
                  <a:pt x="2400" y="4579"/>
                </a:lnTo>
                <a:lnTo>
                  <a:pt x="2401" y="4576"/>
                </a:lnTo>
                <a:lnTo>
                  <a:pt x="2403" y="4574"/>
                </a:lnTo>
                <a:lnTo>
                  <a:pt x="2404" y="4572"/>
                </a:lnTo>
                <a:lnTo>
                  <a:pt x="2406" y="4571"/>
                </a:lnTo>
                <a:lnTo>
                  <a:pt x="2425" y="4568"/>
                </a:lnTo>
                <a:lnTo>
                  <a:pt x="2455" y="4565"/>
                </a:lnTo>
                <a:lnTo>
                  <a:pt x="2471" y="4563"/>
                </a:lnTo>
                <a:lnTo>
                  <a:pt x="2485" y="4559"/>
                </a:lnTo>
                <a:lnTo>
                  <a:pt x="2490" y="4558"/>
                </a:lnTo>
                <a:lnTo>
                  <a:pt x="2494" y="4556"/>
                </a:lnTo>
                <a:lnTo>
                  <a:pt x="2497" y="4554"/>
                </a:lnTo>
                <a:lnTo>
                  <a:pt x="2498" y="4552"/>
                </a:lnTo>
                <a:lnTo>
                  <a:pt x="2505" y="4540"/>
                </a:lnTo>
                <a:lnTo>
                  <a:pt x="2513" y="4523"/>
                </a:lnTo>
                <a:lnTo>
                  <a:pt x="2520" y="4508"/>
                </a:lnTo>
                <a:lnTo>
                  <a:pt x="2524" y="4503"/>
                </a:lnTo>
                <a:lnTo>
                  <a:pt x="2520" y="4498"/>
                </a:lnTo>
                <a:lnTo>
                  <a:pt x="2512" y="4488"/>
                </a:lnTo>
                <a:lnTo>
                  <a:pt x="2508" y="4482"/>
                </a:lnTo>
                <a:lnTo>
                  <a:pt x="2505" y="4477"/>
                </a:lnTo>
                <a:lnTo>
                  <a:pt x="2505" y="4474"/>
                </a:lnTo>
                <a:lnTo>
                  <a:pt x="2505" y="4471"/>
                </a:lnTo>
                <a:lnTo>
                  <a:pt x="2505" y="4470"/>
                </a:lnTo>
                <a:lnTo>
                  <a:pt x="2506" y="4468"/>
                </a:lnTo>
                <a:lnTo>
                  <a:pt x="2510" y="4466"/>
                </a:lnTo>
                <a:lnTo>
                  <a:pt x="2516" y="4464"/>
                </a:lnTo>
                <a:lnTo>
                  <a:pt x="2524" y="4463"/>
                </a:lnTo>
                <a:lnTo>
                  <a:pt x="2532" y="4461"/>
                </a:lnTo>
                <a:lnTo>
                  <a:pt x="2546" y="4459"/>
                </a:lnTo>
                <a:lnTo>
                  <a:pt x="2554" y="4458"/>
                </a:lnTo>
                <a:lnTo>
                  <a:pt x="2560" y="4456"/>
                </a:lnTo>
                <a:lnTo>
                  <a:pt x="2571" y="4451"/>
                </a:lnTo>
                <a:lnTo>
                  <a:pt x="2577" y="4447"/>
                </a:lnTo>
                <a:lnTo>
                  <a:pt x="2583" y="4443"/>
                </a:lnTo>
                <a:lnTo>
                  <a:pt x="2588" y="4439"/>
                </a:lnTo>
                <a:lnTo>
                  <a:pt x="2594" y="4434"/>
                </a:lnTo>
                <a:lnTo>
                  <a:pt x="2601" y="4423"/>
                </a:lnTo>
                <a:lnTo>
                  <a:pt x="2608" y="4412"/>
                </a:lnTo>
                <a:lnTo>
                  <a:pt x="2615" y="4400"/>
                </a:lnTo>
                <a:lnTo>
                  <a:pt x="2621" y="4390"/>
                </a:lnTo>
                <a:lnTo>
                  <a:pt x="2628" y="4379"/>
                </a:lnTo>
                <a:lnTo>
                  <a:pt x="2635" y="4371"/>
                </a:lnTo>
                <a:lnTo>
                  <a:pt x="2643" y="4363"/>
                </a:lnTo>
                <a:lnTo>
                  <a:pt x="2649" y="4355"/>
                </a:lnTo>
                <a:lnTo>
                  <a:pt x="2652" y="4351"/>
                </a:lnTo>
                <a:lnTo>
                  <a:pt x="2655" y="4347"/>
                </a:lnTo>
                <a:lnTo>
                  <a:pt x="2657" y="4342"/>
                </a:lnTo>
                <a:lnTo>
                  <a:pt x="2660" y="4335"/>
                </a:lnTo>
                <a:lnTo>
                  <a:pt x="2664" y="4324"/>
                </a:lnTo>
                <a:lnTo>
                  <a:pt x="2667" y="4315"/>
                </a:lnTo>
                <a:lnTo>
                  <a:pt x="2681" y="4305"/>
                </a:lnTo>
                <a:lnTo>
                  <a:pt x="2691" y="4295"/>
                </a:lnTo>
                <a:lnTo>
                  <a:pt x="2693" y="4284"/>
                </a:lnTo>
                <a:lnTo>
                  <a:pt x="2693" y="4269"/>
                </a:lnTo>
                <a:lnTo>
                  <a:pt x="2693" y="4257"/>
                </a:lnTo>
                <a:lnTo>
                  <a:pt x="2693" y="4239"/>
                </a:lnTo>
                <a:lnTo>
                  <a:pt x="2694" y="4229"/>
                </a:lnTo>
                <a:lnTo>
                  <a:pt x="2695" y="4222"/>
                </a:lnTo>
                <a:lnTo>
                  <a:pt x="2697" y="4219"/>
                </a:lnTo>
                <a:lnTo>
                  <a:pt x="2698" y="4216"/>
                </a:lnTo>
                <a:lnTo>
                  <a:pt x="2700" y="4214"/>
                </a:lnTo>
                <a:lnTo>
                  <a:pt x="2703" y="4213"/>
                </a:lnTo>
                <a:lnTo>
                  <a:pt x="2708" y="4210"/>
                </a:lnTo>
                <a:lnTo>
                  <a:pt x="2713" y="4206"/>
                </a:lnTo>
                <a:lnTo>
                  <a:pt x="2717" y="4202"/>
                </a:lnTo>
                <a:lnTo>
                  <a:pt x="2722" y="4197"/>
                </a:lnTo>
                <a:lnTo>
                  <a:pt x="2732" y="4188"/>
                </a:lnTo>
                <a:lnTo>
                  <a:pt x="2741" y="4179"/>
                </a:lnTo>
                <a:lnTo>
                  <a:pt x="2746" y="4177"/>
                </a:lnTo>
                <a:lnTo>
                  <a:pt x="2750" y="4176"/>
                </a:lnTo>
                <a:lnTo>
                  <a:pt x="2754" y="4175"/>
                </a:lnTo>
                <a:lnTo>
                  <a:pt x="2758" y="4175"/>
                </a:lnTo>
                <a:lnTo>
                  <a:pt x="2763" y="4175"/>
                </a:lnTo>
                <a:lnTo>
                  <a:pt x="2768" y="4175"/>
                </a:lnTo>
                <a:lnTo>
                  <a:pt x="2773" y="4174"/>
                </a:lnTo>
                <a:lnTo>
                  <a:pt x="2777" y="4172"/>
                </a:lnTo>
                <a:lnTo>
                  <a:pt x="2788" y="4167"/>
                </a:lnTo>
                <a:lnTo>
                  <a:pt x="2801" y="4162"/>
                </a:lnTo>
                <a:lnTo>
                  <a:pt x="2814" y="4158"/>
                </a:lnTo>
                <a:lnTo>
                  <a:pt x="2823" y="4157"/>
                </a:lnTo>
                <a:lnTo>
                  <a:pt x="2830" y="4158"/>
                </a:lnTo>
                <a:lnTo>
                  <a:pt x="2835" y="4159"/>
                </a:lnTo>
                <a:lnTo>
                  <a:pt x="2838" y="4160"/>
                </a:lnTo>
                <a:lnTo>
                  <a:pt x="2840" y="4159"/>
                </a:lnTo>
                <a:lnTo>
                  <a:pt x="2842" y="4158"/>
                </a:lnTo>
                <a:lnTo>
                  <a:pt x="2845" y="4155"/>
                </a:lnTo>
                <a:lnTo>
                  <a:pt x="2852" y="4148"/>
                </a:lnTo>
                <a:lnTo>
                  <a:pt x="2860" y="4138"/>
                </a:lnTo>
                <a:lnTo>
                  <a:pt x="2862" y="4133"/>
                </a:lnTo>
                <a:lnTo>
                  <a:pt x="2863" y="4128"/>
                </a:lnTo>
                <a:lnTo>
                  <a:pt x="2863" y="4123"/>
                </a:lnTo>
                <a:lnTo>
                  <a:pt x="2864" y="4116"/>
                </a:lnTo>
                <a:lnTo>
                  <a:pt x="2864" y="4110"/>
                </a:lnTo>
                <a:lnTo>
                  <a:pt x="2865" y="4105"/>
                </a:lnTo>
                <a:lnTo>
                  <a:pt x="2867" y="4101"/>
                </a:lnTo>
                <a:lnTo>
                  <a:pt x="2871" y="4096"/>
                </a:lnTo>
                <a:lnTo>
                  <a:pt x="2881" y="4090"/>
                </a:lnTo>
                <a:lnTo>
                  <a:pt x="2887" y="4085"/>
                </a:lnTo>
                <a:lnTo>
                  <a:pt x="2890" y="4082"/>
                </a:lnTo>
                <a:lnTo>
                  <a:pt x="2892" y="4080"/>
                </a:lnTo>
                <a:lnTo>
                  <a:pt x="2893" y="4076"/>
                </a:lnTo>
                <a:lnTo>
                  <a:pt x="2894" y="4073"/>
                </a:lnTo>
                <a:lnTo>
                  <a:pt x="2894" y="4064"/>
                </a:lnTo>
                <a:lnTo>
                  <a:pt x="2895" y="4051"/>
                </a:lnTo>
                <a:lnTo>
                  <a:pt x="2896" y="4040"/>
                </a:lnTo>
                <a:lnTo>
                  <a:pt x="2900" y="4031"/>
                </a:lnTo>
                <a:lnTo>
                  <a:pt x="2902" y="4009"/>
                </a:lnTo>
                <a:lnTo>
                  <a:pt x="2903" y="3970"/>
                </a:lnTo>
                <a:lnTo>
                  <a:pt x="2903" y="3949"/>
                </a:lnTo>
                <a:lnTo>
                  <a:pt x="2904" y="3931"/>
                </a:lnTo>
                <a:lnTo>
                  <a:pt x="2905" y="3918"/>
                </a:lnTo>
                <a:lnTo>
                  <a:pt x="2907" y="3913"/>
                </a:lnTo>
                <a:lnTo>
                  <a:pt x="2912" y="3911"/>
                </a:lnTo>
                <a:lnTo>
                  <a:pt x="2917" y="3910"/>
                </a:lnTo>
                <a:lnTo>
                  <a:pt x="2924" y="3907"/>
                </a:lnTo>
                <a:lnTo>
                  <a:pt x="2928" y="3903"/>
                </a:lnTo>
                <a:lnTo>
                  <a:pt x="2932" y="3894"/>
                </a:lnTo>
                <a:lnTo>
                  <a:pt x="2937" y="3885"/>
                </a:lnTo>
                <a:lnTo>
                  <a:pt x="2940" y="3881"/>
                </a:lnTo>
                <a:lnTo>
                  <a:pt x="2942" y="3876"/>
                </a:lnTo>
                <a:lnTo>
                  <a:pt x="2946" y="3874"/>
                </a:lnTo>
                <a:lnTo>
                  <a:pt x="2948" y="3873"/>
                </a:lnTo>
                <a:lnTo>
                  <a:pt x="2951" y="3872"/>
                </a:lnTo>
                <a:lnTo>
                  <a:pt x="2954" y="3870"/>
                </a:lnTo>
                <a:lnTo>
                  <a:pt x="2956" y="3868"/>
                </a:lnTo>
                <a:lnTo>
                  <a:pt x="2959" y="3866"/>
                </a:lnTo>
                <a:lnTo>
                  <a:pt x="2964" y="3860"/>
                </a:lnTo>
                <a:lnTo>
                  <a:pt x="2968" y="3855"/>
                </a:lnTo>
                <a:lnTo>
                  <a:pt x="2978" y="3848"/>
                </a:lnTo>
                <a:lnTo>
                  <a:pt x="2988" y="3840"/>
                </a:lnTo>
                <a:lnTo>
                  <a:pt x="2991" y="3837"/>
                </a:lnTo>
                <a:lnTo>
                  <a:pt x="2994" y="3834"/>
                </a:lnTo>
                <a:lnTo>
                  <a:pt x="2995" y="3828"/>
                </a:lnTo>
                <a:lnTo>
                  <a:pt x="2995" y="3816"/>
                </a:lnTo>
                <a:lnTo>
                  <a:pt x="2995" y="3800"/>
                </a:lnTo>
                <a:lnTo>
                  <a:pt x="2995" y="3787"/>
                </a:lnTo>
                <a:lnTo>
                  <a:pt x="2994" y="3777"/>
                </a:lnTo>
                <a:lnTo>
                  <a:pt x="2992" y="3769"/>
                </a:lnTo>
                <a:lnTo>
                  <a:pt x="2990" y="3766"/>
                </a:lnTo>
                <a:lnTo>
                  <a:pt x="2985" y="3763"/>
                </a:lnTo>
                <a:lnTo>
                  <a:pt x="2981" y="3760"/>
                </a:lnTo>
                <a:lnTo>
                  <a:pt x="2975" y="3757"/>
                </a:lnTo>
                <a:lnTo>
                  <a:pt x="2963" y="3752"/>
                </a:lnTo>
                <a:lnTo>
                  <a:pt x="2953" y="3746"/>
                </a:lnTo>
                <a:lnTo>
                  <a:pt x="2945" y="3742"/>
                </a:lnTo>
                <a:lnTo>
                  <a:pt x="2938" y="3740"/>
                </a:lnTo>
                <a:lnTo>
                  <a:pt x="2932" y="3736"/>
                </a:lnTo>
                <a:lnTo>
                  <a:pt x="2924" y="3729"/>
                </a:lnTo>
                <a:lnTo>
                  <a:pt x="2915" y="3719"/>
                </a:lnTo>
                <a:lnTo>
                  <a:pt x="2906" y="3710"/>
                </a:lnTo>
                <a:lnTo>
                  <a:pt x="2902" y="3707"/>
                </a:lnTo>
                <a:lnTo>
                  <a:pt x="2896" y="3703"/>
                </a:lnTo>
                <a:lnTo>
                  <a:pt x="2891" y="3701"/>
                </a:lnTo>
                <a:lnTo>
                  <a:pt x="2886" y="3699"/>
                </a:lnTo>
                <a:lnTo>
                  <a:pt x="2868" y="3699"/>
                </a:lnTo>
                <a:lnTo>
                  <a:pt x="2845" y="3700"/>
                </a:lnTo>
                <a:lnTo>
                  <a:pt x="2834" y="3700"/>
                </a:lnTo>
                <a:lnTo>
                  <a:pt x="2824" y="3700"/>
                </a:lnTo>
                <a:lnTo>
                  <a:pt x="2816" y="3699"/>
                </a:lnTo>
                <a:lnTo>
                  <a:pt x="2810" y="3697"/>
                </a:lnTo>
                <a:lnTo>
                  <a:pt x="2803" y="3691"/>
                </a:lnTo>
                <a:lnTo>
                  <a:pt x="2796" y="3686"/>
                </a:lnTo>
                <a:lnTo>
                  <a:pt x="2792" y="3685"/>
                </a:lnTo>
                <a:lnTo>
                  <a:pt x="2788" y="3684"/>
                </a:lnTo>
                <a:lnTo>
                  <a:pt x="2786" y="3684"/>
                </a:lnTo>
                <a:lnTo>
                  <a:pt x="2784" y="3686"/>
                </a:lnTo>
                <a:lnTo>
                  <a:pt x="2780" y="3690"/>
                </a:lnTo>
                <a:lnTo>
                  <a:pt x="2777" y="3693"/>
                </a:lnTo>
                <a:lnTo>
                  <a:pt x="2776" y="3694"/>
                </a:lnTo>
                <a:lnTo>
                  <a:pt x="2775" y="3693"/>
                </a:lnTo>
                <a:lnTo>
                  <a:pt x="2774" y="3692"/>
                </a:lnTo>
                <a:lnTo>
                  <a:pt x="2773" y="3690"/>
                </a:lnTo>
                <a:lnTo>
                  <a:pt x="2772" y="3683"/>
                </a:lnTo>
                <a:lnTo>
                  <a:pt x="2771" y="3675"/>
                </a:lnTo>
                <a:lnTo>
                  <a:pt x="2769" y="3668"/>
                </a:lnTo>
                <a:lnTo>
                  <a:pt x="2766" y="3665"/>
                </a:lnTo>
                <a:lnTo>
                  <a:pt x="2760" y="3659"/>
                </a:lnTo>
                <a:lnTo>
                  <a:pt x="2748" y="3652"/>
                </a:lnTo>
                <a:lnTo>
                  <a:pt x="2741" y="3648"/>
                </a:lnTo>
                <a:lnTo>
                  <a:pt x="2735" y="3645"/>
                </a:lnTo>
                <a:lnTo>
                  <a:pt x="2732" y="3644"/>
                </a:lnTo>
                <a:lnTo>
                  <a:pt x="2730" y="3644"/>
                </a:lnTo>
                <a:lnTo>
                  <a:pt x="2728" y="3644"/>
                </a:lnTo>
                <a:lnTo>
                  <a:pt x="2726" y="3645"/>
                </a:lnTo>
                <a:lnTo>
                  <a:pt x="2715" y="3656"/>
                </a:lnTo>
                <a:lnTo>
                  <a:pt x="2699" y="3674"/>
                </a:lnTo>
                <a:lnTo>
                  <a:pt x="2691" y="3683"/>
                </a:lnTo>
                <a:lnTo>
                  <a:pt x="2684" y="3690"/>
                </a:lnTo>
                <a:lnTo>
                  <a:pt x="2681" y="3692"/>
                </a:lnTo>
                <a:lnTo>
                  <a:pt x="2678" y="3693"/>
                </a:lnTo>
                <a:lnTo>
                  <a:pt x="2676" y="3693"/>
                </a:lnTo>
                <a:lnTo>
                  <a:pt x="2675" y="3692"/>
                </a:lnTo>
                <a:lnTo>
                  <a:pt x="2674" y="3690"/>
                </a:lnTo>
                <a:lnTo>
                  <a:pt x="2674" y="3688"/>
                </a:lnTo>
                <a:lnTo>
                  <a:pt x="2674" y="3685"/>
                </a:lnTo>
                <a:lnTo>
                  <a:pt x="2675" y="3683"/>
                </a:lnTo>
                <a:lnTo>
                  <a:pt x="2678" y="3676"/>
                </a:lnTo>
                <a:lnTo>
                  <a:pt x="2682" y="3670"/>
                </a:lnTo>
                <a:lnTo>
                  <a:pt x="2686" y="3664"/>
                </a:lnTo>
                <a:lnTo>
                  <a:pt x="2688" y="3658"/>
                </a:lnTo>
                <a:lnTo>
                  <a:pt x="2689" y="3655"/>
                </a:lnTo>
                <a:lnTo>
                  <a:pt x="2689" y="3653"/>
                </a:lnTo>
                <a:lnTo>
                  <a:pt x="2689" y="3651"/>
                </a:lnTo>
                <a:lnTo>
                  <a:pt x="2687" y="3649"/>
                </a:lnTo>
                <a:lnTo>
                  <a:pt x="2684" y="3647"/>
                </a:lnTo>
                <a:lnTo>
                  <a:pt x="2679" y="3647"/>
                </a:lnTo>
                <a:lnTo>
                  <a:pt x="2674" y="3647"/>
                </a:lnTo>
                <a:lnTo>
                  <a:pt x="2670" y="3649"/>
                </a:lnTo>
                <a:lnTo>
                  <a:pt x="2661" y="3653"/>
                </a:lnTo>
                <a:lnTo>
                  <a:pt x="2653" y="3658"/>
                </a:lnTo>
                <a:lnTo>
                  <a:pt x="2645" y="3663"/>
                </a:lnTo>
                <a:lnTo>
                  <a:pt x="2635" y="3666"/>
                </a:lnTo>
                <a:lnTo>
                  <a:pt x="2630" y="3667"/>
                </a:lnTo>
                <a:lnTo>
                  <a:pt x="2626" y="3667"/>
                </a:lnTo>
                <a:lnTo>
                  <a:pt x="2623" y="3667"/>
                </a:lnTo>
                <a:lnTo>
                  <a:pt x="2621" y="3666"/>
                </a:lnTo>
                <a:lnTo>
                  <a:pt x="2620" y="3664"/>
                </a:lnTo>
                <a:lnTo>
                  <a:pt x="2621" y="3661"/>
                </a:lnTo>
                <a:lnTo>
                  <a:pt x="2622" y="3657"/>
                </a:lnTo>
                <a:lnTo>
                  <a:pt x="2624" y="3654"/>
                </a:lnTo>
                <a:lnTo>
                  <a:pt x="2628" y="3647"/>
                </a:lnTo>
                <a:lnTo>
                  <a:pt x="2634" y="3643"/>
                </a:lnTo>
                <a:lnTo>
                  <a:pt x="2641" y="3637"/>
                </a:lnTo>
                <a:lnTo>
                  <a:pt x="2649" y="3630"/>
                </a:lnTo>
                <a:lnTo>
                  <a:pt x="2653" y="3626"/>
                </a:lnTo>
                <a:lnTo>
                  <a:pt x="2656" y="3621"/>
                </a:lnTo>
                <a:lnTo>
                  <a:pt x="2659" y="3617"/>
                </a:lnTo>
                <a:lnTo>
                  <a:pt x="2660" y="3613"/>
                </a:lnTo>
                <a:lnTo>
                  <a:pt x="2659" y="3610"/>
                </a:lnTo>
                <a:lnTo>
                  <a:pt x="2656" y="3606"/>
                </a:lnTo>
                <a:lnTo>
                  <a:pt x="2653" y="3603"/>
                </a:lnTo>
                <a:lnTo>
                  <a:pt x="2650" y="3600"/>
                </a:lnTo>
                <a:lnTo>
                  <a:pt x="2643" y="3593"/>
                </a:lnTo>
                <a:lnTo>
                  <a:pt x="2639" y="3588"/>
                </a:lnTo>
                <a:lnTo>
                  <a:pt x="2634" y="3577"/>
                </a:lnTo>
                <a:lnTo>
                  <a:pt x="2628" y="3558"/>
                </a:lnTo>
                <a:lnTo>
                  <a:pt x="2624" y="3548"/>
                </a:lnTo>
                <a:lnTo>
                  <a:pt x="2620" y="3542"/>
                </a:lnTo>
                <a:lnTo>
                  <a:pt x="2618" y="3540"/>
                </a:lnTo>
                <a:lnTo>
                  <a:pt x="2616" y="3539"/>
                </a:lnTo>
                <a:lnTo>
                  <a:pt x="2613" y="3539"/>
                </a:lnTo>
                <a:lnTo>
                  <a:pt x="2611" y="3540"/>
                </a:lnTo>
                <a:lnTo>
                  <a:pt x="2606" y="3546"/>
                </a:lnTo>
                <a:lnTo>
                  <a:pt x="2602" y="3555"/>
                </a:lnTo>
                <a:lnTo>
                  <a:pt x="2598" y="3565"/>
                </a:lnTo>
                <a:lnTo>
                  <a:pt x="2593" y="3575"/>
                </a:lnTo>
                <a:lnTo>
                  <a:pt x="2588" y="3585"/>
                </a:lnTo>
                <a:lnTo>
                  <a:pt x="2584" y="3592"/>
                </a:lnTo>
                <a:lnTo>
                  <a:pt x="2582" y="3595"/>
                </a:lnTo>
                <a:lnTo>
                  <a:pt x="2580" y="3597"/>
                </a:lnTo>
                <a:lnTo>
                  <a:pt x="2578" y="3598"/>
                </a:lnTo>
                <a:lnTo>
                  <a:pt x="2576" y="3598"/>
                </a:lnTo>
                <a:lnTo>
                  <a:pt x="2567" y="3591"/>
                </a:lnTo>
                <a:lnTo>
                  <a:pt x="2556" y="3585"/>
                </a:lnTo>
                <a:lnTo>
                  <a:pt x="2551" y="3582"/>
                </a:lnTo>
                <a:lnTo>
                  <a:pt x="2545" y="3581"/>
                </a:lnTo>
                <a:lnTo>
                  <a:pt x="2541" y="3580"/>
                </a:lnTo>
                <a:lnTo>
                  <a:pt x="2537" y="3582"/>
                </a:lnTo>
                <a:lnTo>
                  <a:pt x="2532" y="3589"/>
                </a:lnTo>
                <a:lnTo>
                  <a:pt x="2529" y="3598"/>
                </a:lnTo>
                <a:lnTo>
                  <a:pt x="2527" y="3601"/>
                </a:lnTo>
                <a:lnTo>
                  <a:pt x="2524" y="3603"/>
                </a:lnTo>
                <a:lnTo>
                  <a:pt x="2521" y="3603"/>
                </a:lnTo>
                <a:lnTo>
                  <a:pt x="2517" y="3602"/>
                </a:lnTo>
                <a:lnTo>
                  <a:pt x="2513" y="3597"/>
                </a:lnTo>
                <a:lnTo>
                  <a:pt x="2509" y="3589"/>
                </a:lnTo>
                <a:lnTo>
                  <a:pt x="2505" y="3580"/>
                </a:lnTo>
                <a:lnTo>
                  <a:pt x="2500" y="3569"/>
                </a:lnTo>
                <a:lnTo>
                  <a:pt x="2497" y="3558"/>
                </a:lnTo>
                <a:lnTo>
                  <a:pt x="2495" y="3547"/>
                </a:lnTo>
                <a:lnTo>
                  <a:pt x="2493" y="3538"/>
                </a:lnTo>
                <a:lnTo>
                  <a:pt x="2493" y="3532"/>
                </a:lnTo>
                <a:lnTo>
                  <a:pt x="2494" y="3520"/>
                </a:lnTo>
                <a:lnTo>
                  <a:pt x="2496" y="3509"/>
                </a:lnTo>
                <a:lnTo>
                  <a:pt x="2496" y="3503"/>
                </a:lnTo>
                <a:lnTo>
                  <a:pt x="2495" y="3498"/>
                </a:lnTo>
                <a:lnTo>
                  <a:pt x="2492" y="3493"/>
                </a:lnTo>
                <a:lnTo>
                  <a:pt x="2489" y="3487"/>
                </a:lnTo>
                <a:lnTo>
                  <a:pt x="2470" y="3471"/>
                </a:lnTo>
                <a:lnTo>
                  <a:pt x="2444" y="3451"/>
                </a:lnTo>
                <a:lnTo>
                  <a:pt x="2431" y="3440"/>
                </a:lnTo>
                <a:lnTo>
                  <a:pt x="2422" y="3431"/>
                </a:lnTo>
                <a:lnTo>
                  <a:pt x="2420" y="3427"/>
                </a:lnTo>
                <a:lnTo>
                  <a:pt x="2418" y="3424"/>
                </a:lnTo>
                <a:lnTo>
                  <a:pt x="2418" y="3421"/>
                </a:lnTo>
                <a:lnTo>
                  <a:pt x="2420" y="3418"/>
                </a:lnTo>
                <a:lnTo>
                  <a:pt x="2424" y="3414"/>
                </a:lnTo>
                <a:lnTo>
                  <a:pt x="2428" y="3408"/>
                </a:lnTo>
                <a:lnTo>
                  <a:pt x="2432" y="3401"/>
                </a:lnTo>
                <a:lnTo>
                  <a:pt x="2434" y="3393"/>
                </a:lnTo>
                <a:lnTo>
                  <a:pt x="2434" y="3387"/>
                </a:lnTo>
                <a:lnTo>
                  <a:pt x="2434" y="3383"/>
                </a:lnTo>
                <a:lnTo>
                  <a:pt x="2433" y="3381"/>
                </a:lnTo>
                <a:lnTo>
                  <a:pt x="2432" y="3381"/>
                </a:lnTo>
                <a:lnTo>
                  <a:pt x="2430" y="3381"/>
                </a:lnTo>
                <a:lnTo>
                  <a:pt x="2428" y="3382"/>
                </a:lnTo>
                <a:lnTo>
                  <a:pt x="2417" y="3388"/>
                </a:lnTo>
                <a:lnTo>
                  <a:pt x="2403" y="3395"/>
                </a:lnTo>
                <a:lnTo>
                  <a:pt x="2396" y="3398"/>
                </a:lnTo>
                <a:lnTo>
                  <a:pt x="2388" y="3399"/>
                </a:lnTo>
                <a:lnTo>
                  <a:pt x="2384" y="3399"/>
                </a:lnTo>
                <a:lnTo>
                  <a:pt x="2381" y="3399"/>
                </a:lnTo>
                <a:lnTo>
                  <a:pt x="2378" y="3398"/>
                </a:lnTo>
                <a:lnTo>
                  <a:pt x="2376" y="3395"/>
                </a:lnTo>
                <a:lnTo>
                  <a:pt x="2364" y="3388"/>
                </a:lnTo>
                <a:lnTo>
                  <a:pt x="2354" y="3381"/>
                </a:lnTo>
                <a:lnTo>
                  <a:pt x="2349" y="3379"/>
                </a:lnTo>
                <a:lnTo>
                  <a:pt x="2344" y="3378"/>
                </a:lnTo>
                <a:lnTo>
                  <a:pt x="2340" y="3379"/>
                </a:lnTo>
                <a:lnTo>
                  <a:pt x="2336" y="3382"/>
                </a:lnTo>
                <a:lnTo>
                  <a:pt x="2332" y="3385"/>
                </a:lnTo>
                <a:lnTo>
                  <a:pt x="2325" y="3387"/>
                </a:lnTo>
                <a:lnTo>
                  <a:pt x="2319" y="3387"/>
                </a:lnTo>
                <a:lnTo>
                  <a:pt x="2314" y="3387"/>
                </a:lnTo>
                <a:lnTo>
                  <a:pt x="2308" y="3386"/>
                </a:lnTo>
                <a:lnTo>
                  <a:pt x="2304" y="3385"/>
                </a:lnTo>
                <a:lnTo>
                  <a:pt x="2302" y="3384"/>
                </a:lnTo>
                <a:lnTo>
                  <a:pt x="2302" y="3383"/>
                </a:lnTo>
                <a:lnTo>
                  <a:pt x="2304" y="3382"/>
                </a:lnTo>
                <a:lnTo>
                  <a:pt x="2304" y="3381"/>
                </a:lnTo>
                <a:lnTo>
                  <a:pt x="2303" y="3378"/>
                </a:lnTo>
                <a:lnTo>
                  <a:pt x="2301" y="3376"/>
                </a:lnTo>
                <a:lnTo>
                  <a:pt x="2297" y="3370"/>
                </a:lnTo>
                <a:lnTo>
                  <a:pt x="2294" y="3367"/>
                </a:lnTo>
                <a:lnTo>
                  <a:pt x="2279" y="3366"/>
                </a:lnTo>
                <a:lnTo>
                  <a:pt x="2252" y="3365"/>
                </a:lnTo>
                <a:lnTo>
                  <a:pt x="2225" y="3364"/>
                </a:lnTo>
                <a:lnTo>
                  <a:pt x="2212" y="3363"/>
                </a:lnTo>
                <a:lnTo>
                  <a:pt x="2212" y="3367"/>
                </a:lnTo>
                <a:lnTo>
                  <a:pt x="2210" y="3374"/>
                </a:lnTo>
                <a:lnTo>
                  <a:pt x="2209" y="3379"/>
                </a:lnTo>
                <a:lnTo>
                  <a:pt x="2207" y="3381"/>
                </a:lnTo>
                <a:lnTo>
                  <a:pt x="2206" y="3383"/>
                </a:lnTo>
                <a:lnTo>
                  <a:pt x="2204" y="3382"/>
                </a:lnTo>
                <a:lnTo>
                  <a:pt x="2195" y="3365"/>
                </a:lnTo>
                <a:lnTo>
                  <a:pt x="2190" y="3352"/>
                </a:lnTo>
                <a:lnTo>
                  <a:pt x="2184" y="3358"/>
                </a:lnTo>
                <a:lnTo>
                  <a:pt x="2171" y="3368"/>
                </a:lnTo>
                <a:lnTo>
                  <a:pt x="2164" y="3373"/>
                </a:lnTo>
                <a:lnTo>
                  <a:pt x="2156" y="3378"/>
                </a:lnTo>
                <a:lnTo>
                  <a:pt x="2149" y="3381"/>
                </a:lnTo>
                <a:lnTo>
                  <a:pt x="2143" y="3381"/>
                </a:lnTo>
                <a:lnTo>
                  <a:pt x="2139" y="3380"/>
                </a:lnTo>
                <a:lnTo>
                  <a:pt x="2133" y="3380"/>
                </a:lnTo>
                <a:lnTo>
                  <a:pt x="2126" y="3380"/>
                </a:lnTo>
                <a:lnTo>
                  <a:pt x="2119" y="3381"/>
                </a:lnTo>
                <a:lnTo>
                  <a:pt x="2113" y="3385"/>
                </a:lnTo>
                <a:lnTo>
                  <a:pt x="2106" y="3390"/>
                </a:lnTo>
                <a:lnTo>
                  <a:pt x="2103" y="3393"/>
                </a:lnTo>
                <a:lnTo>
                  <a:pt x="2100" y="3398"/>
                </a:lnTo>
                <a:lnTo>
                  <a:pt x="2098" y="3403"/>
                </a:lnTo>
                <a:lnTo>
                  <a:pt x="2095" y="3409"/>
                </a:lnTo>
                <a:lnTo>
                  <a:pt x="2091" y="3421"/>
                </a:lnTo>
                <a:lnTo>
                  <a:pt x="2084" y="3429"/>
                </a:lnTo>
                <a:lnTo>
                  <a:pt x="2078" y="3435"/>
                </a:lnTo>
                <a:lnTo>
                  <a:pt x="2071" y="3439"/>
                </a:lnTo>
                <a:lnTo>
                  <a:pt x="2064" y="3442"/>
                </a:lnTo>
                <a:lnTo>
                  <a:pt x="2059" y="3443"/>
                </a:lnTo>
                <a:lnTo>
                  <a:pt x="2055" y="3442"/>
                </a:lnTo>
                <a:lnTo>
                  <a:pt x="2052" y="3439"/>
                </a:lnTo>
                <a:lnTo>
                  <a:pt x="2046" y="3435"/>
                </a:lnTo>
                <a:lnTo>
                  <a:pt x="2034" y="3430"/>
                </a:lnTo>
                <a:lnTo>
                  <a:pt x="2020" y="3426"/>
                </a:lnTo>
                <a:lnTo>
                  <a:pt x="2009" y="3424"/>
                </a:lnTo>
                <a:lnTo>
                  <a:pt x="2007" y="3424"/>
                </a:lnTo>
                <a:lnTo>
                  <a:pt x="2005" y="3424"/>
                </a:lnTo>
                <a:lnTo>
                  <a:pt x="2004" y="3425"/>
                </a:lnTo>
                <a:lnTo>
                  <a:pt x="2003" y="3426"/>
                </a:lnTo>
                <a:lnTo>
                  <a:pt x="2002" y="3429"/>
                </a:lnTo>
                <a:lnTo>
                  <a:pt x="2000" y="3432"/>
                </a:lnTo>
                <a:lnTo>
                  <a:pt x="1997" y="3435"/>
                </a:lnTo>
                <a:lnTo>
                  <a:pt x="1993" y="3436"/>
                </a:lnTo>
                <a:lnTo>
                  <a:pt x="1987" y="3436"/>
                </a:lnTo>
                <a:lnTo>
                  <a:pt x="1979" y="3432"/>
                </a:lnTo>
                <a:lnTo>
                  <a:pt x="1958" y="3423"/>
                </a:lnTo>
                <a:lnTo>
                  <a:pt x="1939" y="3414"/>
                </a:lnTo>
                <a:lnTo>
                  <a:pt x="1931" y="3410"/>
                </a:lnTo>
                <a:lnTo>
                  <a:pt x="1926" y="3405"/>
                </a:lnTo>
                <a:lnTo>
                  <a:pt x="1924" y="3403"/>
                </a:lnTo>
                <a:lnTo>
                  <a:pt x="1922" y="3401"/>
                </a:lnTo>
                <a:lnTo>
                  <a:pt x="1921" y="3399"/>
                </a:lnTo>
                <a:lnTo>
                  <a:pt x="1921" y="3395"/>
                </a:lnTo>
                <a:lnTo>
                  <a:pt x="1923" y="3379"/>
                </a:lnTo>
                <a:lnTo>
                  <a:pt x="1927" y="3354"/>
                </a:lnTo>
                <a:lnTo>
                  <a:pt x="1930" y="3328"/>
                </a:lnTo>
                <a:lnTo>
                  <a:pt x="1931" y="3315"/>
                </a:lnTo>
                <a:lnTo>
                  <a:pt x="1927" y="3312"/>
                </a:lnTo>
                <a:lnTo>
                  <a:pt x="1919" y="3307"/>
                </a:lnTo>
                <a:lnTo>
                  <a:pt x="1906" y="3302"/>
                </a:lnTo>
                <a:lnTo>
                  <a:pt x="1893" y="3297"/>
                </a:lnTo>
                <a:lnTo>
                  <a:pt x="1877" y="3292"/>
                </a:lnTo>
                <a:lnTo>
                  <a:pt x="1863" y="3286"/>
                </a:lnTo>
                <a:lnTo>
                  <a:pt x="1851" y="3281"/>
                </a:lnTo>
                <a:lnTo>
                  <a:pt x="1842" y="3277"/>
                </a:lnTo>
                <a:lnTo>
                  <a:pt x="1836" y="3272"/>
                </a:lnTo>
                <a:lnTo>
                  <a:pt x="1830" y="3266"/>
                </a:lnTo>
                <a:lnTo>
                  <a:pt x="1825" y="3258"/>
                </a:lnTo>
                <a:lnTo>
                  <a:pt x="1820" y="3251"/>
                </a:lnTo>
                <a:lnTo>
                  <a:pt x="1817" y="3245"/>
                </a:lnTo>
                <a:lnTo>
                  <a:pt x="1815" y="3239"/>
                </a:lnTo>
                <a:lnTo>
                  <a:pt x="1814" y="3237"/>
                </a:lnTo>
                <a:lnTo>
                  <a:pt x="1815" y="3235"/>
                </a:lnTo>
                <a:lnTo>
                  <a:pt x="1815" y="3234"/>
                </a:lnTo>
                <a:lnTo>
                  <a:pt x="1816" y="3234"/>
                </a:lnTo>
                <a:lnTo>
                  <a:pt x="1820" y="3230"/>
                </a:lnTo>
                <a:lnTo>
                  <a:pt x="1826" y="3220"/>
                </a:lnTo>
                <a:lnTo>
                  <a:pt x="1833" y="3208"/>
                </a:lnTo>
                <a:lnTo>
                  <a:pt x="1839" y="3192"/>
                </a:lnTo>
                <a:lnTo>
                  <a:pt x="1844" y="3178"/>
                </a:lnTo>
                <a:lnTo>
                  <a:pt x="1849" y="3163"/>
                </a:lnTo>
                <a:lnTo>
                  <a:pt x="1850" y="3158"/>
                </a:lnTo>
                <a:lnTo>
                  <a:pt x="1850" y="3152"/>
                </a:lnTo>
                <a:lnTo>
                  <a:pt x="1849" y="3148"/>
                </a:lnTo>
                <a:lnTo>
                  <a:pt x="1848" y="3145"/>
                </a:lnTo>
                <a:lnTo>
                  <a:pt x="1844" y="3144"/>
                </a:lnTo>
                <a:lnTo>
                  <a:pt x="1840" y="3142"/>
                </a:lnTo>
                <a:lnTo>
                  <a:pt x="1835" y="3142"/>
                </a:lnTo>
                <a:lnTo>
                  <a:pt x="1829" y="3141"/>
                </a:lnTo>
                <a:lnTo>
                  <a:pt x="1815" y="3141"/>
                </a:lnTo>
                <a:lnTo>
                  <a:pt x="1799" y="3142"/>
                </a:lnTo>
                <a:lnTo>
                  <a:pt x="1785" y="3145"/>
                </a:lnTo>
                <a:lnTo>
                  <a:pt x="1773" y="3148"/>
                </a:lnTo>
                <a:lnTo>
                  <a:pt x="1768" y="3150"/>
                </a:lnTo>
                <a:lnTo>
                  <a:pt x="1764" y="3152"/>
                </a:lnTo>
                <a:lnTo>
                  <a:pt x="1761" y="3154"/>
                </a:lnTo>
                <a:lnTo>
                  <a:pt x="1760" y="3157"/>
                </a:lnTo>
                <a:lnTo>
                  <a:pt x="1756" y="3172"/>
                </a:lnTo>
                <a:lnTo>
                  <a:pt x="1749" y="3195"/>
                </a:lnTo>
                <a:lnTo>
                  <a:pt x="1744" y="3206"/>
                </a:lnTo>
                <a:lnTo>
                  <a:pt x="1739" y="3215"/>
                </a:lnTo>
                <a:lnTo>
                  <a:pt x="1737" y="3218"/>
                </a:lnTo>
                <a:lnTo>
                  <a:pt x="1733" y="3222"/>
                </a:lnTo>
                <a:lnTo>
                  <a:pt x="1730" y="3223"/>
                </a:lnTo>
                <a:lnTo>
                  <a:pt x="1727" y="3224"/>
                </a:lnTo>
                <a:lnTo>
                  <a:pt x="1718" y="3224"/>
                </a:lnTo>
                <a:lnTo>
                  <a:pt x="1703" y="3224"/>
                </a:lnTo>
                <a:lnTo>
                  <a:pt x="1695" y="3224"/>
                </a:lnTo>
                <a:lnTo>
                  <a:pt x="1686" y="3223"/>
                </a:lnTo>
                <a:lnTo>
                  <a:pt x="1677" y="3220"/>
                </a:lnTo>
                <a:lnTo>
                  <a:pt x="1666" y="3218"/>
                </a:lnTo>
                <a:lnTo>
                  <a:pt x="1657" y="3215"/>
                </a:lnTo>
                <a:lnTo>
                  <a:pt x="1649" y="3211"/>
                </a:lnTo>
                <a:lnTo>
                  <a:pt x="1640" y="3206"/>
                </a:lnTo>
                <a:lnTo>
                  <a:pt x="1632" y="3198"/>
                </a:lnTo>
                <a:lnTo>
                  <a:pt x="1625" y="3191"/>
                </a:lnTo>
                <a:lnTo>
                  <a:pt x="1620" y="3181"/>
                </a:lnTo>
                <a:lnTo>
                  <a:pt x="1618" y="3175"/>
                </a:lnTo>
                <a:lnTo>
                  <a:pt x="1616" y="3169"/>
                </a:lnTo>
                <a:lnTo>
                  <a:pt x="1615" y="3163"/>
                </a:lnTo>
                <a:lnTo>
                  <a:pt x="1614" y="3156"/>
                </a:lnTo>
                <a:lnTo>
                  <a:pt x="1612" y="3129"/>
                </a:lnTo>
                <a:lnTo>
                  <a:pt x="1611" y="3109"/>
                </a:lnTo>
                <a:lnTo>
                  <a:pt x="1611" y="3095"/>
                </a:lnTo>
                <a:lnTo>
                  <a:pt x="1611" y="3083"/>
                </a:lnTo>
                <a:lnTo>
                  <a:pt x="1612" y="3076"/>
                </a:lnTo>
                <a:lnTo>
                  <a:pt x="1613" y="3071"/>
                </a:lnTo>
                <a:lnTo>
                  <a:pt x="1615" y="3066"/>
                </a:lnTo>
                <a:lnTo>
                  <a:pt x="1617" y="3063"/>
                </a:lnTo>
                <a:lnTo>
                  <a:pt x="1622" y="3056"/>
                </a:lnTo>
                <a:lnTo>
                  <a:pt x="1627" y="3051"/>
                </a:lnTo>
                <a:lnTo>
                  <a:pt x="1629" y="3049"/>
                </a:lnTo>
                <a:lnTo>
                  <a:pt x="1629" y="3047"/>
                </a:lnTo>
                <a:lnTo>
                  <a:pt x="1629" y="3044"/>
                </a:lnTo>
                <a:lnTo>
                  <a:pt x="1628" y="3043"/>
                </a:lnTo>
                <a:lnTo>
                  <a:pt x="1625" y="3040"/>
                </a:lnTo>
                <a:lnTo>
                  <a:pt x="1623" y="3035"/>
                </a:lnTo>
                <a:lnTo>
                  <a:pt x="1621" y="3029"/>
                </a:lnTo>
                <a:lnTo>
                  <a:pt x="1619" y="3021"/>
                </a:lnTo>
                <a:lnTo>
                  <a:pt x="1618" y="3013"/>
                </a:lnTo>
                <a:lnTo>
                  <a:pt x="1618" y="3006"/>
                </a:lnTo>
                <a:lnTo>
                  <a:pt x="1619" y="2999"/>
                </a:lnTo>
                <a:lnTo>
                  <a:pt x="1621" y="2994"/>
                </a:lnTo>
                <a:lnTo>
                  <a:pt x="1625" y="2990"/>
                </a:lnTo>
                <a:lnTo>
                  <a:pt x="1631" y="2986"/>
                </a:lnTo>
                <a:lnTo>
                  <a:pt x="1637" y="2982"/>
                </a:lnTo>
                <a:lnTo>
                  <a:pt x="1644" y="2978"/>
                </a:lnTo>
                <a:lnTo>
                  <a:pt x="1657" y="2972"/>
                </a:lnTo>
                <a:lnTo>
                  <a:pt x="1663" y="2970"/>
                </a:lnTo>
                <a:lnTo>
                  <a:pt x="1666" y="2967"/>
                </a:lnTo>
                <a:lnTo>
                  <a:pt x="1672" y="2961"/>
                </a:lnTo>
                <a:lnTo>
                  <a:pt x="1675" y="2957"/>
                </a:lnTo>
                <a:lnTo>
                  <a:pt x="1679" y="2955"/>
                </a:lnTo>
                <a:lnTo>
                  <a:pt x="1683" y="2954"/>
                </a:lnTo>
                <a:lnTo>
                  <a:pt x="1687" y="2955"/>
                </a:lnTo>
                <a:lnTo>
                  <a:pt x="1691" y="2957"/>
                </a:lnTo>
                <a:lnTo>
                  <a:pt x="1697" y="2957"/>
                </a:lnTo>
                <a:lnTo>
                  <a:pt x="1701" y="2957"/>
                </a:lnTo>
                <a:lnTo>
                  <a:pt x="1706" y="2956"/>
                </a:lnTo>
                <a:lnTo>
                  <a:pt x="1711" y="2955"/>
                </a:lnTo>
                <a:lnTo>
                  <a:pt x="1717" y="2955"/>
                </a:lnTo>
                <a:lnTo>
                  <a:pt x="1722" y="2955"/>
                </a:lnTo>
                <a:lnTo>
                  <a:pt x="1727" y="2956"/>
                </a:lnTo>
                <a:lnTo>
                  <a:pt x="1739" y="2960"/>
                </a:lnTo>
                <a:lnTo>
                  <a:pt x="1751" y="2965"/>
                </a:lnTo>
                <a:lnTo>
                  <a:pt x="1757" y="2967"/>
                </a:lnTo>
                <a:lnTo>
                  <a:pt x="1764" y="2969"/>
                </a:lnTo>
                <a:lnTo>
                  <a:pt x="1769" y="2970"/>
                </a:lnTo>
                <a:lnTo>
                  <a:pt x="1775" y="2969"/>
                </a:lnTo>
                <a:lnTo>
                  <a:pt x="1785" y="2967"/>
                </a:lnTo>
                <a:lnTo>
                  <a:pt x="1792" y="2963"/>
                </a:lnTo>
                <a:lnTo>
                  <a:pt x="1796" y="2960"/>
                </a:lnTo>
                <a:lnTo>
                  <a:pt x="1799" y="2956"/>
                </a:lnTo>
                <a:lnTo>
                  <a:pt x="1801" y="2952"/>
                </a:lnTo>
                <a:lnTo>
                  <a:pt x="1806" y="2946"/>
                </a:lnTo>
                <a:lnTo>
                  <a:pt x="1809" y="2943"/>
                </a:lnTo>
                <a:lnTo>
                  <a:pt x="1813" y="2941"/>
                </a:lnTo>
                <a:lnTo>
                  <a:pt x="1817" y="2940"/>
                </a:lnTo>
                <a:lnTo>
                  <a:pt x="1822" y="2941"/>
                </a:lnTo>
                <a:lnTo>
                  <a:pt x="1828" y="2943"/>
                </a:lnTo>
                <a:lnTo>
                  <a:pt x="1832" y="2943"/>
                </a:lnTo>
                <a:lnTo>
                  <a:pt x="1836" y="2943"/>
                </a:lnTo>
                <a:lnTo>
                  <a:pt x="1839" y="2942"/>
                </a:lnTo>
                <a:lnTo>
                  <a:pt x="1842" y="2943"/>
                </a:lnTo>
                <a:lnTo>
                  <a:pt x="1845" y="2944"/>
                </a:lnTo>
                <a:lnTo>
                  <a:pt x="1849" y="2946"/>
                </a:lnTo>
                <a:lnTo>
                  <a:pt x="1852" y="2951"/>
                </a:lnTo>
                <a:lnTo>
                  <a:pt x="1854" y="2953"/>
                </a:lnTo>
                <a:lnTo>
                  <a:pt x="1856" y="2955"/>
                </a:lnTo>
                <a:lnTo>
                  <a:pt x="1859" y="2957"/>
                </a:lnTo>
                <a:lnTo>
                  <a:pt x="1862" y="2960"/>
                </a:lnTo>
                <a:lnTo>
                  <a:pt x="1869" y="2961"/>
                </a:lnTo>
                <a:lnTo>
                  <a:pt x="1876" y="2962"/>
                </a:lnTo>
                <a:lnTo>
                  <a:pt x="1891" y="2963"/>
                </a:lnTo>
                <a:lnTo>
                  <a:pt x="1901" y="2963"/>
                </a:lnTo>
                <a:lnTo>
                  <a:pt x="1908" y="2964"/>
                </a:lnTo>
                <a:lnTo>
                  <a:pt x="1914" y="2963"/>
                </a:lnTo>
                <a:lnTo>
                  <a:pt x="1916" y="2964"/>
                </a:lnTo>
                <a:lnTo>
                  <a:pt x="1918" y="2964"/>
                </a:lnTo>
                <a:lnTo>
                  <a:pt x="1920" y="2966"/>
                </a:lnTo>
                <a:lnTo>
                  <a:pt x="1923" y="2968"/>
                </a:lnTo>
                <a:lnTo>
                  <a:pt x="1929" y="2974"/>
                </a:lnTo>
                <a:lnTo>
                  <a:pt x="1936" y="2979"/>
                </a:lnTo>
                <a:lnTo>
                  <a:pt x="1939" y="2983"/>
                </a:lnTo>
                <a:lnTo>
                  <a:pt x="1941" y="2987"/>
                </a:lnTo>
                <a:lnTo>
                  <a:pt x="1943" y="2990"/>
                </a:lnTo>
                <a:lnTo>
                  <a:pt x="1944" y="2994"/>
                </a:lnTo>
                <a:lnTo>
                  <a:pt x="1944" y="3001"/>
                </a:lnTo>
                <a:lnTo>
                  <a:pt x="1944" y="3009"/>
                </a:lnTo>
                <a:lnTo>
                  <a:pt x="1944" y="3013"/>
                </a:lnTo>
                <a:lnTo>
                  <a:pt x="1945" y="3017"/>
                </a:lnTo>
                <a:lnTo>
                  <a:pt x="1947" y="3022"/>
                </a:lnTo>
                <a:lnTo>
                  <a:pt x="1950" y="3028"/>
                </a:lnTo>
                <a:lnTo>
                  <a:pt x="1957" y="3039"/>
                </a:lnTo>
                <a:lnTo>
                  <a:pt x="1964" y="3050"/>
                </a:lnTo>
                <a:lnTo>
                  <a:pt x="1970" y="3058"/>
                </a:lnTo>
                <a:lnTo>
                  <a:pt x="1974" y="3063"/>
                </a:lnTo>
                <a:lnTo>
                  <a:pt x="1978" y="3065"/>
                </a:lnTo>
                <a:lnTo>
                  <a:pt x="1984" y="3069"/>
                </a:lnTo>
                <a:lnTo>
                  <a:pt x="1989" y="3070"/>
                </a:lnTo>
                <a:lnTo>
                  <a:pt x="1994" y="3069"/>
                </a:lnTo>
                <a:lnTo>
                  <a:pt x="1996" y="3063"/>
                </a:lnTo>
                <a:lnTo>
                  <a:pt x="2000" y="3054"/>
                </a:lnTo>
                <a:lnTo>
                  <a:pt x="2002" y="3042"/>
                </a:lnTo>
                <a:lnTo>
                  <a:pt x="2002" y="3031"/>
                </a:lnTo>
                <a:lnTo>
                  <a:pt x="2002" y="3020"/>
                </a:lnTo>
                <a:lnTo>
                  <a:pt x="2000" y="3009"/>
                </a:lnTo>
                <a:lnTo>
                  <a:pt x="1996" y="2997"/>
                </a:lnTo>
                <a:lnTo>
                  <a:pt x="1995" y="2987"/>
                </a:lnTo>
                <a:lnTo>
                  <a:pt x="1993" y="2983"/>
                </a:lnTo>
                <a:lnTo>
                  <a:pt x="1991" y="2977"/>
                </a:lnTo>
                <a:lnTo>
                  <a:pt x="1987" y="2971"/>
                </a:lnTo>
                <a:lnTo>
                  <a:pt x="1984" y="2966"/>
                </a:lnTo>
                <a:lnTo>
                  <a:pt x="1980" y="2960"/>
                </a:lnTo>
                <a:lnTo>
                  <a:pt x="1976" y="2953"/>
                </a:lnTo>
                <a:lnTo>
                  <a:pt x="1974" y="2947"/>
                </a:lnTo>
                <a:lnTo>
                  <a:pt x="1974" y="2941"/>
                </a:lnTo>
                <a:lnTo>
                  <a:pt x="1974" y="2925"/>
                </a:lnTo>
                <a:lnTo>
                  <a:pt x="1978" y="2908"/>
                </a:lnTo>
                <a:lnTo>
                  <a:pt x="1979" y="2901"/>
                </a:lnTo>
                <a:lnTo>
                  <a:pt x="1981" y="2895"/>
                </a:lnTo>
                <a:lnTo>
                  <a:pt x="1984" y="2889"/>
                </a:lnTo>
                <a:lnTo>
                  <a:pt x="1987" y="2886"/>
                </a:lnTo>
                <a:lnTo>
                  <a:pt x="1998" y="2877"/>
                </a:lnTo>
                <a:lnTo>
                  <a:pt x="2018" y="2859"/>
                </a:lnTo>
                <a:lnTo>
                  <a:pt x="2029" y="2850"/>
                </a:lnTo>
                <a:lnTo>
                  <a:pt x="2039" y="2841"/>
                </a:lnTo>
                <a:lnTo>
                  <a:pt x="2048" y="2835"/>
                </a:lnTo>
                <a:lnTo>
                  <a:pt x="2055" y="2831"/>
                </a:lnTo>
                <a:lnTo>
                  <a:pt x="2070" y="2823"/>
                </a:lnTo>
                <a:lnTo>
                  <a:pt x="2084" y="2815"/>
                </a:lnTo>
                <a:lnTo>
                  <a:pt x="2091" y="2810"/>
                </a:lnTo>
                <a:lnTo>
                  <a:pt x="2097" y="2806"/>
                </a:lnTo>
                <a:lnTo>
                  <a:pt x="2101" y="2801"/>
                </a:lnTo>
                <a:lnTo>
                  <a:pt x="2103" y="2798"/>
                </a:lnTo>
                <a:lnTo>
                  <a:pt x="2098" y="2784"/>
                </a:lnTo>
                <a:lnTo>
                  <a:pt x="2093" y="2769"/>
                </a:lnTo>
                <a:lnTo>
                  <a:pt x="2099" y="2753"/>
                </a:lnTo>
                <a:lnTo>
                  <a:pt x="2106" y="2737"/>
                </a:lnTo>
                <a:lnTo>
                  <a:pt x="2110" y="2730"/>
                </a:lnTo>
                <a:lnTo>
                  <a:pt x="2113" y="2723"/>
                </a:lnTo>
                <a:lnTo>
                  <a:pt x="2117" y="2716"/>
                </a:lnTo>
                <a:lnTo>
                  <a:pt x="2122" y="2709"/>
                </a:lnTo>
                <a:lnTo>
                  <a:pt x="2126" y="2700"/>
                </a:lnTo>
                <a:lnTo>
                  <a:pt x="2132" y="2688"/>
                </a:lnTo>
                <a:lnTo>
                  <a:pt x="2135" y="2682"/>
                </a:lnTo>
                <a:lnTo>
                  <a:pt x="2138" y="2677"/>
                </a:lnTo>
                <a:lnTo>
                  <a:pt x="2141" y="2672"/>
                </a:lnTo>
                <a:lnTo>
                  <a:pt x="2143" y="2669"/>
                </a:lnTo>
                <a:lnTo>
                  <a:pt x="2155" y="2665"/>
                </a:lnTo>
                <a:lnTo>
                  <a:pt x="2171" y="2659"/>
                </a:lnTo>
                <a:lnTo>
                  <a:pt x="2180" y="2655"/>
                </a:lnTo>
                <a:lnTo>
                  <a:pt x="2187" y="2652"/>
                </a:lnTo>
                <a:lnTo>
                  <a:pt x="2193" y="2648"/>
                </a:lnTo>
                <a:lnTo>
                  <a:pt x="2196" y="2645"/>
                </a:lnTo>
                <a:lnTo>
                  <a:pt x="2200" y="2642"/>
                </a:lnTo>
                <a:lnTo>
                  <a:pt x="2205" y="2641"/>
                </a:lnTo>
                <a:lnTo>
                  <a:pt x="2210" y="2640"/>
                </a:lnTo>
                <a:lnTo>
                  <a:pt x="2215" y="2640"/>
                </a:lnTo>
                <a:lnTo>
                  <a:pt x="2221" y="2639"/>
                </a:lnTo>
                <a:lnTo>
                  <a:pt x="2226" y="2638"/>
                </a:lnTo>
                <a:lnTo>
                  <a:pt x="2227" y="2637"/>
                </a:lnTo>
                <a:lnTo>
                  <a:pt x="2229" y="2636"/>
                </a:lnTo>
                <a:lnTo>
                  <a:pt x="2229" y="2635"/>
                </a:lnTo>
                <a:lnTo>
                  <a:pt x="2230" y="2633"/>
                </a:lnTo>
                <a:lnTo>
                  <a:pt x="2229" y="2631"/>
                </a:lnTo>
                <a:lnTo>
                  <a:pt x="2228" y="2630"/>
                </a:lnTo>
                <a:lnTo>
                  <a:pt x="2227" y="2627"/>
                </a:lnTo>
                <a:lnTo>
                  <a:pt x="2225" y="2626"/>
                </a:lnTo>
                <a:lnTo>
                  <a:pt x="2220" y="2625"/>
                </a:lnTo>
                <a:lnTo>
                  <a:pt x="2214" y="2623"/>
                </a:lnTo>
                <a:lnTo>
                  <a:pt x="2209" y="2622"/>
                </a:lnTo>
                <a:lnTo>
                  <a:pt x="2205" y="2620"/>
                </a:lnTo>
                <a:lnTo>
                  <a:pt x="2204" y="2619"/>
                </a:lnTo>
                <a:lnTo>
                  <a:pt x="2203" y="2617"/>
                </a:lnTo>
                <a:lnTo>
                  <a:pt x="2203" y="2616"/>
                </a:lnTo>
                <a:lnTo>
                  <a:pt x="2204" y="2613"/>
                </a:lnTo>
                <a:lnTo>
                  <a:pt x="2211" y="2602"/>
                </a:lnTo>
                <a:lnTo>
                  <a:pt x="2221" y="2591"/>
                </a:lnTo>
                <a:lnTo>
                  <a:pt x="2231" y="2579"/>
                </a:lnTo>
                <a:lnTo>
                  <a:pt x="2239" y="2568"/>
                </a:lnTo>
                <a:lnTo>
                  <a:pt x="2247" y="2561"/>
                </a:lnTo>
                <a:lnTo>
                  <a:pt x="2258" y="2554"/>
                </a:lnTo>
                <a:lnTo>
                  <a:pt x="2273" y="2545"/>
                </a:lnTo>
                <a:lnTo>
                  <a:pt x="2289" y="2536"/>
                </a:lnTo>
                <a:lnTo>
                  <a:pt x="2303" y="2528"/>
                </a:lnTo>
                <a:lnTo>
                  <a:pt x="2316" y="2522"/>
                </a:lnTo>
                <a:lnTo>
                  <a:pt x="2320" y="2521"/>
                </a:lnTo>
                <a:lnTo>
                  <a:pt x="2323" y="2518"/>
                </a:lnTo>
                <a:lnTo>
                  <a:pt x="2325" y="2518"/>
                </a:lnTo>
                <a:lnTo>
                  <a:pt x="2325" y="2520"/>
                </a:lnTo>
                <a:lnTo>
                  <a:pt x="2319" y="2527"/>
                </a:lnTo>
                <a:lnTo>
                  <a:pt x="2311" y="2534"/>
                </a:lnTo>
                <a:lnTo>
                  <a:pt x="2308" y="2539"/>
                </a:lnTo>
                <a:lnTo>
                  <a:pt x="2304" y="2544"/>
                </a:lnTo>
                <a:lnTo>
                  <a:pt x="2302" y="2549"/>
                </a:lnTo>
                <a:lnTo>
                  <a:pt x="2302" y="2555"/>
                </a:lnTo>
                <a:lnTo>
                  <a:pt x="2303" y="2566"/>
                </a:lnTo>
                <a:lnTo>
                  <a:pt x="2305" y="2574"/>
                </a:lnTo>
                <a:lnTo>
                  <a:pt x="2306" y="2577"/>
                </a:lnTo>
                <a:lnTo>
                  <a:pt x="2309" y="2578"/>
                </a:lnTo>
                <a:lnTo>
                  <a:pt x="2312" y="2579"/>
                </a:lnTo>
                <a:lnTo>
                  <a:pt x="2317" y="2578"/>
                </a:lnTo>
                <a:lnTo>
                  <a:pt x="2321" y="2576"/>
                </a:lnTo>
                <a:lnTo>
                  <a:pt x="2325" y="2574"/>
                </a:lnTo>
                <a:lnTo>
                  <a:pt x="2330" y="2571"/>
                </a:lnTo>
                <a:lnTo>
                  <a:pt x="2333" y="2567"/>
                </a:lnTo>
                <a:lnTo>
                  <a:pt x="2338" y="2562"/>
                </a:lnTo>
                <a:lnTo>
                  <a:pt x="2343" y="2558"/>
                </a:lnTo>
                <a:lnTo>
                  <a:pt x="2352" y="2553"/>
                </a:lnTo>
                <a:lnTo>
                  <a:pt x="2361" y="2548"/>
                </a:lnTo>
                <a:lnTo>
                  <a:pt x="2381" y="2537"/>
                </a:lnTo>
                <a:lnTo>
                  <a:pt x="2397" y="2530"/>
                </a:lnTo>
                <a:lnTo>
                  <a:pt x="2409" y="2524"/>
                </a:lnTo>
                <a:lnTo>
                  <a:pt x="2419" y="2517"/>
                </a:lnTo>
                <a:lnTo>
                  <a:pt x="2429" y="2513"/>
                </a:lnTo>
                <a:lnTo>
                  <a:pt x="2442" y="2509"/>
                </a:lnTo>
                <a:lnTo>
                  <a:pt x="2446" y="2506"/>
                </a:lnTo>
                <a:lnTo>
                  <a:pt x="2450" y="2504"/>
                </a:lnTo>
                <a:lnTo>
                  <a:pt x="2451" y="2502"/>
                </a:lnTo>
                <a:lnTo>
                  <a:pt x="2451" y="2500"/>
                </a:lnTo>
                <a:lnTo>
                  <a:pt x="2451" y="2498"/>
                </a:lnTo>
                <a:lnTo>
                  <a:pt x="2450" y="2495"/>
                </a:lnTo>
                <a:lnTo>
                  <a:pt x="2445" y="2482"/>
                </a:lnTo>
                <a:lnTo>
                  <a:pt x="2439" y="2467"/>
                </a:lnTo>
                <a:lnTo>
                  <a:pt x="2435" y="2461"/>
                </a:lnTo>
                <a:lnTo>
                  <a:pt x="2432" y="2457"/>
                </a:lnTo>
                <a:lnTo>
                  <a:pt x="2430" y="2456"/>
                </a:lnTo>
                <a:lnTo>
                  <a:pt x="2429" y="2455"/>
                </a:lnTo>
                <a:lnTo>
                  <a:pt x="2427" y="2455"/>
                </a:lnTo>
                <a:lnTo>
                  <a:pt x="2426" y="2457"/>
                </a:lnTo>
                <a:lnTo>
                  <a:pt x="2417" y="2465"/>
                </a:lnTo>
                <a:lnTo>
                  <a:pt x="2407" y="2477"/>
                </a:lnTo>
                <a:lnTo>
                  <a:pt x="2399" y="2486"/>
                </a:lnTo>
                <a:lnTo>
                  <a:pt x="2395" y="2490"/>
                </a:lnTo>
                <a:lnTo>
                  <a:pt x="2345" y="2466"/>
                </a:lnTo>
                <a:lnTo>
                  <a:pt x="2343" y="2469"/>
                </a:lnTo>
                <a:lnTo>
                  <a:pt x="2338" y="2472"/>
                </a:lnTo>
                <a:lnTo>
                  <a:pt x="2336" y="2473"/>
                </a:lnTo>
                <a:lnTo>
                  <a:pt x="2334" y="2473"/>
                </a:lnTo>
                <a:lnTo>
                  <a:pt x="2332" y="2471"/>
                </a:lnTo>
                <a:lnTo>
                  <a:pt x="2332" y="2465"/>
                </a:lnTo>
                <a:lnTo>
                  <a:pt x="2332" y="2459"/>
                </a:lnTo>
                <a:lnTo>
                  <a:pt x="2333" y="2454"/>
                </a:lnTo>
                <a:lnTo>
                  <a:pt x="2335" y="2448"/>
                </a:lnTo>
                <a:lnTo>
                  <a:pt x="2336" y="2444"/>
                </a:lnTo>
                <a:lnTo>
                  <a:pt x="2340" y="2439"/>
                </a:lnTo>
                <a:lnTo>
                  <a:pt x="2341" y="2437"/>
                </a:lnTo>
                <a:lnTo>
                  <a:pt x="2343" y="2439"/>
                </a:lnTo>
                <a:lnTo>
                  <a:pt x="2348" y="2442"/>
                </a:lnTo>
                <a:lnTo>
                  <a:pt x="2351" y="2443"/>
                </a:lnTo>
                <a:lnTo>
                  <a:pt x="2354" y="2442"/>
                </a:lnTo>
                <a:lnTo>
                  <a:pt x="2355" y="2440"/>
                </a:lnTo>
                <a:lnTo>
                  <a:pt x="2356" y="2435"/>
                </a:lnTo>
                <a:lnTo>
                  <a:pt x="2357" y="2423"/>
                </a:lnTo>
                <a:lnTo>
                  <a:pt x="2357" y="2413"/>
                </a:lnTo>
                <a:lnTo>
                  <a:pt x="2357" y="2404"/>
                </a:lnTo>
                <a:lnTo>
                  <a:pt x="2358" y="2398"/>
                </a:lnTo>
                <a:lnTo>
                  <a:pt x="2358" y="2397"/>
                </a:lnTo>
                <a:lnTo>
                  <a:pt x="2356" y="2396"/>
                </a:lnTo>
                <a:lnTo>
                  <a:pt x="2352" y="2395"/>
                </a:lnTo>
                <a:lnTo>
                  <a:pt x="2347" y="2395"/>
                </a:lnTo>
                <a:lnTo>
                  <a:pt x="2336" y="2394"/>
                </a:lnTo>
                <a:lnTo>
                  <a:pt x="2322" y="2394"/>
                </a:lnTo>
                <a:lnTo>
                  <a:pt x="2309" y="2393"/>
                </a:lnTo>
                <a:lnTo>
                  <a:pt x="2297" y="2391"/>
                </a:lnTo>
                <a:lnTo>
                  <a:pt x="2293" y="2390"/>
                </a:lnTo>
                <a:lnTo>
                  <a:pt x="2290" y="2389"/>
                </a:lnTo>
                <a:lnTo>
                  <a:pt x="2288" y="2386"/>
                </a:lnTo>
                <a:lnTo>
                  <a:pt x="2288" y="2384"/>
                </a:lnTo>
                <a:lnTo>
                  <a:pt x="2289" y="2382"/>
                </a:lnTo>
                <a:lnTo>
                  <a:pt x="2291" y="2380"/>
                </a:lnTo>
                <a:lnTo>
                  <a:pt x="2295" y="2378"/>
                </a:lnTo>
                <a:lnTo>
                  <a:pt x="2299" y="2377"/>
                </a:lnTo>
                <a:lnTo>
                  <a:pt x="2310" y="2373"/>
                </a:lnTo>
                <a:lnTo>
                  <a:pt x="2322" y="2371"/>
                </a:lnTo>
                <a:lnTo>
                  <a:pt x="2334" y="2369"/>
                </a:lnTo>
                <a:lnTo>
                  <a:pt x="2345" y="2368"/>
                </a:lnTo>
                <a:lnTo>
                  <a:pt x="2349" y="2368"/>
                </a:lnTo>
                <a:lnTo>
                  <a:pt x="2353" y="2368"/>
                </a:lnTo>
                <a:lnTo>
                  <a:pt x="2355" y="2369"/>
                </a:lnTo>
                <a:lnTo>
                  <a:pt x="2356" y="2370"/>
                </a:lnTo>
                <a:lnTo>
                  <a:pt x="2359" y="2375"/>
                </a:lnTo>
                <a:lnTo>
                  <a:pt x="2363" y="2380"/>
                </a:lnTo>
                <a:lnTo>
                  <a:pt x="2368" y="2385"/>
                </a:lnTo>
                <a:lnTo>
                  <a:pt x="2375" y="2392"/>
                </a:lnTo>
                <a:lnTo>
                  <a:pt x="2379" y="2395"/>
                </a:lnTo>
                <a:lnTo>
                  <a:pt x="2384" y="2398"/>
                </a:lnTo>
                <a:lnTo>
                  <a:pt x="2389" y="2400"/>
                </a:lnTo>
                <a:lnTo>
                  <a:pt x="2396" y="2402"/>
                </a:lnTo>
                <a:lnTo>
                  <a:pt x="2400" y="2403"/>
                </a:lnTo>
                <a:lnTo>
                  <a:pt x="2404" y="2403"/>
                </a:lnTo>
                <a:lnTo>
                  <a:pt x="2405" y="2402"/>
                </a:lnTo>
                <a:lnTo>
                  <a:pt x="2405" y="2401"/>
                </a:lnTo>
                <a:lnTo>
                  <a:pt x="2406" y="2399"/>
                </a:lnTo>
                <a:lnTo>
                  <a:pt x="2405" y="2397"/>
                </a:lnTo>
                <a:lnTo>
                  <a:pt x="2402" y="2392"/>
                </a:lnTo>
                <a:lnTo>
                  <a:pt x="2397" y="2385"/>
                </a:lnTo>
                <a:lnTo>
                  <a:pt x="2389" y="2379"/>
                </a:lnTo>
                <a:lnTo>
                  <a:pt x="2383" y="2373"/>
                </a:lnTo>
                <a:lnTo>
                  <a:pt x="2378" y="2368"/>
                </a:lnTo>
                <a:lnTo>
                  <a:pt x="2374" y="2363"/>
                </a:lnTo>
                <a:lnTo>
                  <a:pt x="2374" y="2362"/>
                </a:lnTo>
                <a:lnTo>
                  <a:pt x="2374" y="2361"/>
                </a:lnTo>
                <a:lnTo>
                  <a:pt x="2375" y="2361"/>
                </a:lnTo>
                <a:lnTo>
                  <a:pt x="2377" y="2361"/>
                </a:lnTo>
                <a:lnTo>
                  <a:pt x="2390" y="2366"/>
                </a:lnTo>
                <a:lnTo>
                  <a:pt x="2405" y="2370"/>
                </a:lnTo>
                <a:lnTo>
                  <a:pt x="2412" y="2371"/>
                </a:lnTo>
                <a:lnTo>
                  <a:pt x="2420" y="2371"/>
                </a:lnTo>
                <a:lnTo>
                  <a:pt x="2425" y="2371"/>
                </a:lnTo>
                <a:lnTo>
                  <a:pt x="2430" y="2368"/>
                </a:lnTo>
                <a:lnTo>
                  <a:pt x="2444" y="2355"/>
                </a:lnTo>
                <a:lnTo>
                  <a:pt x="2465" y="2336"/>
                </a:lnTo>
                <a:lnTo>
                  <a:pt x="2474" y="2328"/>
                </a:lnTo>
                <a:lnTo>
                  <a:pt x="2484" y="2321"/>
                </a:lnTo>
                <a:lnTo>
                  <a:pt x="2487" y="2319"/>
                </a:lnTo>
                <a:lnTo>
                  <a:pt x="2490" y="2319"/>
                </a:lnTo>
                <a:lnTo>
                  <a:pt x="2492" y="2319"/>
                </a:lnTo>
                <a:lnTo>
                  <a:pt x="2493" y="2321"/>
                </a:lnTo>
                <a:lnTo>
                  <a:pt x="2494" y="2326"/>
                </a:lnTo>
                <a:lnTo>
                  <a:pt x="2493" y="2331"/>
                </a:lnTo>
                <a:lnTo>
                  <a:pt x="2491" y="2337"/>
                </a:lnTo>
                <a:lnTo>
                  <a:pt x="2489" y="2345"/>
                </a:lnTo>
                <a:lnTo>
                  <a:pt x="2481" y="2362"/>
                </a:lnTo>
                <a:lnTo>
                  <a:pt x="2474" y="2381"/>
                </a:lnTo>
                <a:lnTo>
                  <a:pt x="2467" y="2399"/>
                </a:lnTo>
                <a:lnTo>
                  <a:pt x="2461" y="2416"/>
                </a:lnTo>
                <a:lnTo>
                  <a:pt x="2458" y="2422"/>
                </a:lnTo>
                <a:lnTo>
                  <a:pt x="2457" y="2427"/>
                </a:lnTo>
                <a:lnTo>
                  <a:pt x="2456" y="2432"/>
                </a:lnTo>
                <a:lnTo>
                  <a:pt x="2457" y="2435"/>
                </a:lnTo>
                <a:lnTo>
                  <a:pt x="2464" y="2438"/>
                </a:lnTo>
                <a:lnTo>
                  <a:pt x="2473" y="2440"/>
                </a:lnTo>
                <a:lnTo>
                  <a:pt x="2486" y="2443"/>
                </a:lnTo>
                <a:lnTo>
                  <a:pt x="2499" y="2445"/>
                </a:lnTo>
                <a:lnTo>
                  <a:pt x="2512" y="2447"/>
                </a:lnTo>
                <a:lnTo>
                  <a:pt x="2522" y="2449"/>
                </a:lnTo>
                <a:lnTo>
                  <a:pt x="2527" y="2450"/>
                </a:lnTo>
                <a:lnTo>
                  <a:pt x="2530" y="2451"/>
                </a:lnTo>
                <a:lnTo>
                  <a:pt x="2532" y="2452"/>
                </a:lnTo>
                <a:lnTo>
                  <a:pt x="2532" y="2454"/>
                </a:lnTo>
                <a:lnTo>
                  <a:pt x="2524" y="2457"/>
                </a:lnTo>
                <a:lnTo>
                  <a:pt x="2512" y="2460"/>
                </a:lnTo>
                <a:lnTo>
                  <a:pt x="2507" y="2462"/>
                </a:lnTo>
                <a:lnTo>
                  <a:pt x="2505" y="2465"/>
                </a:lnTo>
                <a:lnTo>
                  <a:pt x="2503" y="2467"/>
                </a:lnTo>
                <a:lnTo>
                  <a:pt x="2505" y="2469"/>
                </a:lnTo>
                <a:lnTo>
                  <a:pt x="2507" y="2471"/>
                </a:lnTo>
                <a:lnTo>
                  <a:pt x="2510" y="2473"/>
                </a:lnTo>
                <a:lnTo>
                  <a:pt x="2522" y="2484"/>
                </a:lnTo>
                <a:lnTo>
                  <a:pt x="2532" y="2489"/>
                </a:lnTo>
                <a:lnTo>
                  <a:pt x="2536" y="2490"/>
                </a:lnTo>
                <a:lnTo>
                  <a:pt x="2540" y="2490"/>
                </a:lnTo>
                <a:lnTo>
                  <a:pt x="2544" y="2487"/>
                </a:lnTo>
                <a:lnTo>
                  <a:pt x="2547" y="2483"/>
                </a:lnTo>
                <a:lnTo>
                  <a:pt x="2553" y="2472"/>
                </a:lnTo>
                <a:lnTo>
                  <a:pt x="2558" y="2465"/>
                </a:lnTo>
                <a:lnTo>
                  <a:pt x="2560" y="2462"/>
                </a:lnTo>
                <a:lnTo>
                  <a:pt x="2562" y="2461"/>
                </a:lnTo>
                <a:lnTo>
                  <a:pt x="2564" y="2461"/>
                </a:lnTo>
                <a:lnTo>
                  <a:pt x="2566" y="2462"/>
                </a:lnTo>
                <a:lnTo>
                  <a:pt x="2577" y="2471"/>
                </a:lnTo>
                <a:lnTo>
                  <a:pt x="2584" y="2474"/>
                </a:lnTo>
                <a:lnTo>
                  <a:pt x="2586" y="2474"/>
                </a:lnTo>
                <a:lnTo>
                  <a:pt x="2590" y="2473"/>
                </a:lnTo>
                <a:lnTo>
                  <a:pt x="2594" y="2472"/>
                </a:lnTo>
                <a:lnTo>
                  <a:pt x="2597" y="2470"/>
                </a:lnTo>
                <a:lnTo>
                  <a:pt x="2600" y="2468"/>
                </a:lnTo>
                <a:lnTo>
                  <a:pt x="2602" y="2464"/>
                </a:lnTo>
                <a:lnTo>
                  <a:pt x="2606" y="2457"/>
                </a:lnTo>
                <a:lnTo>
                  <a:pt x="2609" y="2447"/>
                </a:lnTo>
                <a:lnTo>
                  <a:pt x="2609" y="2443"/>
                </a:lnTo>
                <a:lnTo>
                  <a:pt x="2609" y="2438"/>
                </a:lnTo>
                <a:lnTo>
                  <a:pt x="2608" y="2432"/>
                </a:lnTo>
                <a:lnTo>
                  <a:pt x="2607" y="2425"/>
                </a:lnTo>
                <a:lnTo>
                  <a:pt x="2605" y="2421"/>
                </a:lnTo>
                <a:lnTo>
                  <a:pt x="2603" y="2417"/>
                </a:lnTo>
                <a:lnTo>
                  <a:pt x="2600" y="2414"/>
                </a:lnTo>
                <a:lnTo>
                  <a:pt x="2597" y="2410"/>
                </a:lnTo>
                <a:lnTo>
                  <a:pt x="2587" y="2402"/>
                </a:lnTo>
                <a:lnTo>
                  <a:pt x="2578" y="2395"/>
                </a:lnTo>
                <a:lnTo>
                  <a:pt x="2557" y="2381"/>
                </a:lnTo>
                <a:lnTo>
                  <a:pt x="2540" y="2374"/>
                </a:lnTo>
                <a:lnTo>
                  <a:pt x="2535" y="2371"/>
                </a:lnTo>
                <a:lnTo>
                  <a:pt x="2531" y="2368"/>
                </a:lnTo>
                <a:lnTo>
                  <a:pt x="2527" y="2364"/>
                </a:lnTo>
                <a:lnTo>
                  <a:pt x="2523" y="2361"/>
                </a:lnTo>
                <a:lnTo>
                  <a:pt x="2521" y="2357"/>
                </a:lnTo>
                <a:lnTo>
                  <a:pt x="2520" y="2354"/>
                </a:lnTo>
                <a:lnTo>
                  <a:pt x="2521" y="2351"/>
                </a:lnTo>
                <a:lnTo>
                  <a:pt x="2522" y="2349"/>
                </a:lnTo>
                <a:lnTo>
                  <a:pt x="2528" y="2341"/>
                </a:lnTo>
                <a:lnTo>
                  <a:pt x="2534" y="2333"/>
                </a:lnTo>
                <a:lnTo>
                  <a:pt x="2539" y="2325"/>
                </a:lnTo>
                <a:lnTo>
                  <a:pt x="2542" y="2318"/>
                </a:lnTo>
                <a:lnTo>
                  <a:pt x="2542" y="2314"/>
                </a:lnTo>
                <a:lnTo>
                  <a:pt x="2541" y="2310"/>
                </a:lnTo>
                <a:lnTo>
                  <a:pt x="2539" y="2304"/>
                </a:lnTo>
                <a:lnTo>
                  <a:pt x="2537" y="2297"/>
                </a:lnTo>
                <a:lnTo>
                  <a:pt x="2532" y="2286"/>
                </a:lnTo>
                <a:lnTo>
                  <a:pt x="2530" y="2280"/>
                </a:lnTo>
                <a:lnTo>
                  <a:pt x="2533" y="2274"/>
                </a:lnTo>
                <a:lnTo>
                  <a:pt x="2538" y="2263"/>
                </a:lnTo>
                <a:lnTo>
                  <a:pt x="2540" y="2255"/>
                </a:lnTo>
                <a:lnTo>
                  <a:pt x="2540" y="2249"/>
                </a:lnTo>
                <a:lnTo>
                  <a:pt x="2540" y="2246"/>
                </a:lnTo>
                <a:lnTo>
                  <a:pt x="2539" y="2243"/>
                </a:lnTo>
                <a:lnTo>
                  <a:pt x="2538" y="2240"/>
                </a:lnTo>
                <a:lnTo>
                  <a:pt x="2535" y="2238"/>
                </a:lnTo>
                <a:lnTo>
                  <a:pt x="2523" y="2227"/>
                </a:lnTo>
                <a:lnTo>
                  <a:pt x="2511" y="2218"/>
                </a:lnTo>
                <a:lnTo>
                  <a:pt x="2505" y="2215"/>
                </a:lnTo>
                <a:lnTo>
                  <a:pt x="2499" y="2213"/>
                </a:lnTo>
                <a:lnTo>
                  <a:pt x="2496" y="2211"/>
                </a:lnTo>
                <a:lnTo>
                  <a:pt x="2494" y="2211"/>
                </a:lnTo>
                <a:lnTo>
                  <a:pt x="2491" y="2213"/>
                </a:lnTo>
                <a:lnTo>
                  <a:pt x="2489" y="2214"/>
                </a:lnTo>
                <a:lnTo>
                  <a:pt x="2474" y="2222"/>
                </a:lnTo>
                <a:lnTo>
                  <a:pt x="2454" y="2233"/>
                </a:lnTo>
                <a:lnTo>
                  <a:pt x="2445" y="2239"/>
                </a:lnTo>
                <a:lnTo>
                  <a:pt x="2439" y="2242"/>
                </a:lnTo>
                <a:lnTo>
                  <a:pt x="2436" y="2243"/>
                </a:lnTo>
                <a:lnTo>
                  <a:pt x="2435" y="2243"/>
                </a:lnTo>
                <a:lnTo>
                  <a:pt x="2436" y="2242"/>
                </a:lnTo>
                <a:lnTo>
                  <a:pt x="2437" y="2240"/>
                </a:lnTo>
                <a:lnTo>
                  <a:pt x="2453" y="2230"/>
                </a:lnTo>
                <a:lnTo>
                  <a:pt x="2472" y="2219"/>
                </a:lnTo>
                <a:lnTo>
                  <a:pt x="2479" y="2214"/>
                </a:lnTo>
                <a:lnTo>
                  <a:pt x="2485" y="2207"/>
                </a:lnTo>
                <a:lnTo>
                  <a:pt x="2486" y="2204"/>
                </a:lnTo>
                <a:lnTo>
                  <a:pt x="2487" y="2200"/>
                </a:lnTo>
                <a:lnTo>
                  <a:pt x="2486" y="2197"/>
                </a:lnTo>
                <a:lnTo>
                  <a:pt x="2483" y="2194"/>
                </a:lnTo>
                <a:lnTo>
                  <a:pt x="2476" y="2187"/>
                </a:lnTo>
                <a:lnTo>
                  <a:pt x="2470" y="2183"/>
                </a:lnTo>
                <a:lnTo>
                  <a:pt x="2463" y="2180"/>
                </a:lnTo>
                <a:lnTo>
                  <a:pt x="2456" y="2177"/>
                </a:lnTo>
                <a:lnTo>
                  <a:pt x="2450" y="2175"/>
                </a:lnTo>
                <a:lnTo>
                  <a:pt x="2444" y="2172"/>
                </a:lnTo>
                <a:lnTo>
                  <a:pt x="2440" y="2169"/>
                </a:lnTo>
                <a:lnTo>
                  <a:pt x="2435" y="2164"/>
                </a:lnTo>
                <a:lnTo>
                  <a:pt x="2427" y="2150"/>
                </a:lnTo>
                <a:lnTo>
                  <a:pt x="2415" y="2132"/>
                </a:lnTo>
                <a:lnTo>
                  <a:pt x="2405" y="2116"/>
                </a:lnTo>
                <a:lnTo>
                  <a:pt x="2400" y="2110"/>
                </a:lnTo>
                <a:lnTo>
                  <a:pt x="2402" y="2107"/>
                </a:lnTo>
                <a:lnTo>
                  <a:pt x="2405" y="2100"/>
                </a:lnTo>
                <a:lnTo>
                  <a:pt x="2407" y="2097"/>
                </a:lnTo>
                <a:lnTo>
                  <a:pt x="2407" y="2093"/>
                </a:lnTo>
                <a:lnTo>
                  <a:pt x="2407" y="2089"/>
                </a:lnTo>
                <a:lnTo>
                  <a:pt x="2405" y="2085"/>
                </a:lnTo>
                <a:lnTo>
                  <a:pt x="2397" y="2068"/>
                </a:lnTo>
                <a:lnTo>
                  <a:pt x="2384" y="2041"/>
                </a:lnTo>
                <a:lnTo>
                  <a:pt x="2374" y="2016"/>
                </a:lnTo>
                <a:lnTo>
                  <a:pt x="2369" y="2004"/>
                </a:lnTo>
                <a:lnTo>
                  <a:pt x="2365" y="1995"/>
                </a:lnTo>
                <a:lnTo>
                  <a:pt x="2355" y="1976"/>
                </a:lnTo>
                <a:lnTo>
                  <a:pt x="2348" y="1966"/>
                </a:lnTo>
                <a:lnTo>
                  <a:pt x="2343" y="1960"/>
                </a:lnTo>
                <a:lnTo>
                  <a:pt x="2340" y="1958"/>
                </a:lnTo>
                <a:lnTo>
                  <a:pt x="2338" y="1958"/>
                </a:lnTo>
                <a:lnTo>
                  <a:pt x="2336" y="1959"/>
                </a:lnTo>
                <a:lnTo>
                  <a:pt x="2335" y="1961"/>
                </a:lnTo>
                <a:lnTo>
                  <a:pt x="2332" y="1972"/>
                </a:lnTo>
                <a:lnTo>
                  <a:pt x="2324" y="1985"/>
                </a:lnTo>
                <a:lnTo>
                  <a:pt x="2317" y="2001"/>
                </a:lnTo>
                <a:lnTo>
                  <a:pt x="2308" y="2018"/>
                </a:lnTo>
                <a:lnTo>
                  <a:pt x="2297" y="2032"/>
                </a:lnTo>
                <a:lnTo>
                  <a:pt x="2287" y="2044"/>
                </a:lnTo>
                <a:lnTo>
                  <a:pt x="2282" y="2048"/>
                </a:lnTo>
                <a:lnTo>
                  <a:pt x="2278" y="2050"/>
                </a:lnTo>
                <a:lnTo>
                  <a:pt x="2274" y="2051"/>
                </a:lnTo>
                <a:lnTo>
                  <a:pt x="2270" y="2050"/>
                </a:lnTo>
                <a:lnTo>
                  <a:pt x="2264" y="2045"/>
                </a:lnTo>
                <a:lnTo>
                  <a:pt x="2256" y="2040"/>
                </a:lnTo>
                <a:lnTo>
                  <a:pt x="2250" y="2034"/>
                </a:lnTo>
                <a:lnTo>
                  <a:pt x="2245" y="2028"/>
                </a:lnTo>
                <a:lnTo>
                  <a:pt x="2240" y="2023"/>
                </a:lnTo>
                <a:lnTo>
                  <a:pt x="2237" y="2017"/>
                </a:lnTo>
                <a:lnTo>
                  <a:pt x="2235" y="2011"/>
                </a:lnTo>
                <a:lnTo>
                  <a:pt x="2234" y="2007"/>
                </a:lnTo>
                <a:lnTo>
                  <a:pt x="2236" y="1994"/>
                </a:lnTo>
                <a:lnTo>
                  <a:pt x="2236" y="1974"/>
                </a:lnTo>
                <a:lnTo>
                  <a:pt x="2236" y="1963"/>
                </a:lnTo>
                <a:lnTo>
                  <a:pt x="2234" y="1954"/>
                </a:lnTo>
                <a:lnTo>
                  <a:pt x="2234" y="1951"/>
                </a:lnTo>
                <a:lnTo>
                  <a:pt x="2232" y="1946"/>
                </a:lnTo>
                <a:lnTo>
                  <a:pt x="2231" y="1944"/>
                </a:lnTo>
                <a:lnTo>
                  <a:pt x="2229" y="1942"/>
                </a:lnTo>
                <a:lnTo>
                  <a:pt x="2216" y="1936"/>
                </a:lnTo>
                <a:lnTo>
                  <a:pt x="2198" y="1929"/>
                </a:lnTo>
                <a:lnTo>
                  <a:pt x="2189" y="1924"/>
                </a:lnTo>
                <a:lnTo>
                  <a:pt x="2181" y="1920"/>
                </a:lnTo>
                <a:lnTo>
                  <a:pt x="2178" y="1918"/>
                </a:lnTo>
                <a:lnTo>
                  <a:pt x="2176" y="1916"/>
                </a:lnTo>
                <a:lnTo>
                  <a:pt x="2174" y="1913"/>
                </a:lnTo>
                <a:lnTo>
                  <a:pt x="2173" y="1911"/>
                </a:lnTo>
                <a:lnTo>
                  <a:pt x="2172" y="1906"/>
                </a:lnTo>
                <a:lnTo>
                  <a:pt x="2169" y="1898"/>
                </a:lnTo>
                <a:lnTo>
                  <a:pt x="2165" y="1891"/>
                </a:lnTo>
                <a:lnTo>
                  <a:pt x="2160" y="1885"/>
                </a:lnTo>
                <a:lnTo>
                  <a:pt x="2150" y="1871"/>
                </a:lnTo>
                <a:lnTo>
                  <a:pt x="2144" y="1865"/>
                </a:lnTo>
                <a:lnTo>
                  <a:pt x="2136" y="1860"/>
                </a:lnTo>
                <a:lnTo>
                  <a:pt x="2125" y="1858"/>
                </a:lnTo>
                <a:lnTo>
                  <a:pt x="2121" y="1857"/>
                </a:lnTo>
                <a:lnTo>
                  <a:pt x="2116" y="1857"/>
                </a:lnTo>
                <a:lnTo>
                  <a:pt x="2114" y="1858"/>
                </a:lnTo>
                <a:lnTo>
                  <a:pt x="2112" y="1860"/>
                </a:lnTo>
                <a:lnTo>
                  <a:pt x="2113" y="1866"/>
                </a:lnTo>
                <a:lnTo>
                  <a:pt x="2113" y="1871"/>
                </a:lnTo>
                <a:lnTo>
                  <a:pt x="2112" y="1872"/>
                </a:lnTo>
                <a:lnTo>
                  <a:pt x="2111" y="1874"/>
                </a:lnTo>
                <a:lnTo>
                  <a:pt x="2108" y="1874"/>
                </a:lnTo>
                <a:lnTo>
                  <a:pt x="2105" y="1873"/>
                </a:lnTo>
                <a:lnTo>
                  <a:pt x="2098" y="1870"/>
                </a:lnTo>
                <a:lnTo>
                  <a:pt x="2091" y="1866"/>
                </a:lnTo>
                <a:lnTo>
                  <a:pt x="2083" y="1863"/>
                </a:lnTo>
                <a:lnTo>
                  <a:pt x="2078" y="1863"/>
                </a:lnTo>
                <a:lnTo>
                  <a:pt x="2070" y="1863"/>
                </a:lnTo>
                <a:lnTo>
                  <a:pt x="2060" y="1863"/>
                </a:lnTo>
                <a:lnTo>
                  <a:pt x="2054" y="1864"/>
                </a:lnTo>
                <a:lnTo>
                  <a:pt x="2050" y="1865"/>
                </a:lnTo>
                <a:lnTo>
                  <a:pt x="2046" y="1868"/>
                </a:lnTo>
                <a:lnTo>
                  <a:pt x="2044" y="1873"/>
                </a:lnTo>
                <a:lnTo>
                  <a:pt x="2041" y="1879"/>
                </a:lnTo>
                <a:lnTo>
                  <a:pt x="2041" y="1887"/>
                </a:lnTo>
                <a:lnTo>
                  <a:pt x="2042" y="1896"/>
                </a:lnTo>
                <a:lnTo>
                  <a:pt x="2044" y="1906"/>
                </a:lnTo>
                <a:lnTo>
                  <a:pt x="2044" y="1915"/>
                </a:lnTo>
                <a:lnTo>
                  <a:pt x="2044" y="1923"/>
                </a:lnTo>
                <a:lnTo>
                  <a:pt x="2044" y="1931"/>
                </a:lnTo>
                <a:lnTo>
                  <a:pt x="2041" y="1936"/>
                </a:lnTo>
                <a:lnTo>
                  <a:pt x="2036" y="1943"/>
                </a:lnTo>
                <a:lnTo>
                  <a:pt x="2035" y="1948"/>
                </a:lnTo>
                <a:lnTo>
                  <a:pt x="2036" y="1953"/>
                </a:lnTo>
                <a:lnTo>
                  <a:pt x="2040" y="1960"/>
                </a:lnTo>
                <a:lnTo>
                  <a:pt x="2044" y="1967"/>
                </a:lnTo>
                <a:lnTo>
                  <a:pt x="2047" y="1975"/>
                </a:lnTo>
                <a:lnTo>
                  <a:pt x="2047" y="1979"/>
                </a:lnTo>
                <a:lnTo>
                  <a:pt x="2047" y="1982"/>
                </a:lnTo>
                <a:lnTo>
                  <a:pt x="2047" y="1986"/>
                </a:lnTo>
                <a:lnTo>
                  <a:pt x="2045" y="1989"/>
                </a:lnTo>
                <a:lnTo>
                  <a:pt x="2037" y="1996"/>
                </a:lnTo>
                <a:lnTo>
                  <a:pt x="2026" y="2002"/>
                </a:lnTo>
                <a:lnTo>
                  <a:pt x="2024" y="2004"/>
                </a:lnTo>
                <a:lnTo>
                  <a:pt x="2022" y="2006"/>
                </a:lnTo>
                <a:lnTo>
                  <a:pt x="2022" y="2009"/>
                </a:lnTo>
                <a:lnTo>
                  <a:pt x="2022" y="2013"/>
                </a:lnTo>
                <a:lnTo>
                  <a:pt x="2024" y="2018"/>
                </a:lnTo>
                <a:lnTo>
                  <a:pt x="2027" y="2023"/>
                </a:lnTo>
                <a:lnTo>
                  <a:pt x="2032" y="2029"/>
                </a:lnTo>
                <a:lnTo>
                  <a:pt x="2038" y="2035"/>
                </a:lnTo>
                <a:lnTo>
                  <a:pt x="2051" y="2050"/>
                </a:lnTo>
                <a:lnTo>
                  <a:pt x="2060" y="2063"/>
                </a:lnTo>
                <a:lnTo>
                  <a:pt x="2067" y="2073"/>
                </a:lnTo>
                <a:lnTo>
                  <a:pt x="2071" y="2084"/>
                </a:lnTo>
                <a:lnTo>
                  <a:pt x="2073" y="2093"/>
                </a:lnTo>
                <a:lnTo>
                  <a:pt x="2073" y="2103"/>
                </a:lnTo>
                <a:lnTo>
                  <a:pt x="2071" y="2112"/>
                </a:lnTo>
                <a:lnTo>
                  <a:pt x="2069" y="2121"/>
                </a:lnTo>
                <a:lnTo>
                  <a:pt x="2066" y="2131"/>
                </a:lnTo>
                <a:lnTo>
                  <a:pt x="2060" y="2140"/>
                </a:lnTo>
                <a:lnTo>
                  <a:pt x="2054" y="2151"/>
                </a:lnTo>
                <a:lnTo>
                  <a:pt x="2048" y="2159"/>
                </a:lnTo>
                <a:lnTo>
                  <a:pt x="2034" y="2175"/>
                </a:lnTo>
                <a:lnTo>
                  <a:pt x="2025" y="2184"/>
                </a:lnTo>
                <a:lnTo>
                  <a:pt x="2018" y="2188"/>
                </a:lnTo>
                <a:lnTo>
                  <a:pt x="2012" y="2193"/>
                </a:lnTo>
                <a:lnTo>
                  <a:pt x="2010" y="2196"/>
                </a:lnTo>
                <a:lnTo>
                  <a:pt x="2009" y="2198"/>
                </a:lnTo>
                <a:lnTo>
                  <a:pt x="2008" y="2201"/>
                </a:lnTo>
                <a:lnTo>
                  <a:pt x="2009" y="2204"/>
                </a:lnTo>
                <a:lnTo>
                  <a:pt x="2010" y="2214"/>
                </a:lnTo>
                <a:lnTo>
                  <a:pt x="2011" y="2225"/>
                </a:lnTo>
                <a:lnTo>
                  <a:pt x="2011" y="2237"/>
                </a:lnTo>
                <a:lnTo>
                  <a:pt x="2010" y="2244"/>
                </a:lnTo>
                <a:lnTo>
                  <a:pt x="2011" y="2250"/>
                </a:lnTo>
                <a:lnTo>
                  <a:pt x="2014" y="2260"/>
                </a:lnTo>
                <a:lnTo>
                  <a:pt x="2017" y="2269"/>
                </a:lnTo>
                <a:lnTo>
                  <a:pt x="2018" y="2276"/>
                </a:lnTo>
                <a:lnTo>
                  <a:pt x="2018" y="2288"/>
                </a:lnTo>
                <a:lnTo>
                  <a:pt x="2017" y="2303"/>
                </a:lnTo>
                <a:lnTo>
                  <a:pt x="2015" y="2309"/>
                </a:lnTo>
                <a:lnTo>
                  <a:pt x="2012" y="2314"/>
                </a:lnTo>
                <a:lnTo>
                  <a:pt x="2010" y="2316"/>
                </a:lnTo>
                <a:lnTo>
                  <a:pt x="2008" y="2317"/>
                </a:lnTo>
                <a:lnTo>
                  <a:pt x="2005" y="2318"/>
                </a:lnTo>
                <a:lnTo>
                  <a:pt x="2002" y="2318"/>
                </a:lnTo>
                <a:lnTo>
                  <a:pt x="1996" y="2316"/>
                </a:lnTo>
                <a:lnTo>
                  <a:pt x="1991" y="2313"/>
                </a:lnTo>
                <a:lnTo>
                  <a:pt x="1986" y="2309"/>
                </a:lnTo>
                <a:lnTo>
                  <a:pt x="1983" y="2305"/>
                </a:lnTo>
                <a:lnTo>
                  <a:pt x="1975" y="2295"/>
                </a:lnTo>
                <a:lnTo>
                  <a:pt x="1969" y="2285"/>
                </a:lnTo>
                <a:lnTo>
                  <a:pt x="1961" y="2276"/>
                </a:lnTo>
                <a:lnTo>
                  <a:pt x="1953" y="2271"/>
                </a:lnTo>
                <a:lnTo>
                  <a:pt x="1950" y="2268"/>
                </a:lnTo>
                <a:lnTo>
                  <a:pt x="1948" y="2266"/>
                </a:lnTo>
                <a:lnTo>
                  <a:pt x="1947" y="2264"/>
                </a:lnTo>
                <a:lnTo>
                  <a:pt x="1947" y="2261"/>
                </a:lnTo>
                <a:lnTo>
                  <a:pt x="1948" y="2258"/>
                </a:lnTo>
                <a:lnTo>
                  <a:pt x="1950" y="2255"/>
                </a:lnTo>
                <a:lnTo>
                  <a:pt x="1953" y="2254"/>
                </a:lnTo>
                <a:lnTo>
                  <a:pt x="1956" y="2252"/>
                </a:lnTo>
                <a:lnTo>
                  <a:pt x="1957" y="2251"/>
                </a:lnTo>
                <a:lnTo>
                  <a:pt x="1958" y="2250"/>
                </a:lnTo>
                <a:lnTo>
                  <a:pt x="1958" y="2248"/>
                </a:lnTo>
                <a:lnTo>
                  <a:pt x="1956" y="2246"/>
                </a:lnTo>
                <a:lnTo>
                  <a:pt x="1951" y="2241"/>
                </a:lnTo>
                <a:lnTo>
                  <a:pt x="1948" y="2237"/>
                </a:lnTo>
                <a:lnTo>
                  <a:pt x="1946" y="2235"/>
                </a:lnTo>
                <a:lnTo>
                  <a:pt x="1946" y="2231"/>
                </a:lnTo>
                <a:lnTo>
                  <a:pt x="1946" y="2228"/>
                </a:lnTo>
                <a:lnTo>
                  <a:pt x="1947" y="2225"/>
                </a:lnTo>
                <a:lnTo>
                  <a:pt x="1948" y="2221"/>
                </a:lnTo>
                <a:lnTo>
                  <a:pt x="1951" y="2219"/>
                </a:lnTo>
                <a:lnTo>
                  <a:pt x="1953" y="2217"/>
                </a:lnTo>
                <a:lnTo>
                  <a:pt x="1957" y="2215"/>
                </a:lnTo>
                <a:lnTo>
                  <a:pt x="1958" y="2214"/>
                </a:lnTo>
                <a:lnTo>
                  <a:pt x="1959" y="2210"/>
                </a:lnTo>
                <a:lnTo>
                  <a:pt x="1959" y="2206"/>
                </a:lnTo>
                <a:lnTo>
                  <a:pt x="1956" y="2201"/>
                </a:lnTo>
                <a:lnTo>
                  <a:pt x="1948" y="2189"/>
                </a:lnTo>
                <a:lnTo>
                  <a:pt x="1942" y="2178"/>
                </a:lnTo>
                <a:lnTo>
                  <a:pt x="1939" y="2174"/>
                </a:lnTo>
                <a:lnTo>
                  <a:pt x="1935" y="2171"/>
                </a:lnTo>
                <a:lnTo>
                  <a:pt x="1929" y="2170"/>
                </a:lnTo>
                <a:lnTo>
                  <a:pt x="1923" y="2169"/>
                </a:lnTo>
                <a:lnTo>
                  <a:pt x="1920" y="2167"/>
                </a:lnTo>
                <a:lnTo>
                  <a:pt x="1915" y="2163"/>
                </a:lnTo>
                <a:lnTo>
                  <a:pt x="1909" y="2157"/>
                </a:lnTo>
                <a:lnTo>
                  <a:pt x="1904" y="2150"/>
                </a:lnTo>
                <a:lnTo>
                  <a:pt x="1891" y="2130"/>
                </a:lnTo>
                <a:lnTo>
                  <a:pt x="1877" y="2107"/>
                </a:lnTo>
                <a:lnTo>
                  <a:pt x="1863" y="2083"/>
                </a:lnTo>
                <a:lnTo>
                  <a:pt x="1851" y="2062"/>
                </a:lnTo>
                <a:lnTo>
                  <a:pt x="1841" y="2045"/>
                </a:lnTo>
                <a:lnTo>
                  <a:pt x="1834" y="2037"/>
                </a:lnTo>
                <a:lnTo>
                  <a:pt x="1828" y="2032"/>
                </a:lnTo>
                <a:lnTo>
                  <a:pt x="1819" y="2028"/>
                </a:lnTo>
                <a:lnTo>
                  <a:pt x="1809" y="2025"/>
                </a:lnTo>
                <a:lnTo>
                  <a:pt x="1796" y="2022"/>
                </a:lnTo>
                <a:lnTo>
                  <a:pt x="1785" y="2020"/>
                </a:lnTo>
                <a:lnTo>
                  <a:pt x="1774" y="2020"/>
                </a:lnTo>
                <a:lnTo>
                  <a:pt x="1769" y="2020"/>
                </a:lnTo>
                <a:lnTo>
                  <a:pt x="1764" y="2021"/>
                </a:lnTo>
                <a:lnTo>
                  <a:pt x="1760" y="2022"/>
                </a:lnTo>
                <a:lnTo>
                  <a:pt x="1756" y="2024"/>
                </a:lnTo>
                <a:lnTo>
                  <a:pt x="1753" y="2027"/>
                </a:lnTo>
                <a:lnTo>
                  <a:pt x="1751" y="2030"/>
                </a:lnTo>
                <a:lnTo>
                  <a:pt x="1749" y="2033"/>
                </a:lnTo>
                <a:lnTo>
                  <a:pt x="1747" y="2038"/>
                </a:lnTo>
                <a:lnTo>
                  <a:pt x="1744" y="2047"/>
                </a:lnTo>
                <a:lnTo>
                  <a:pt x="1742" y="2056"/>
                </a:lnTo>
                <a:lnTo>
                  <a:pt x="1740" y="2064"/>
                </a:lnTo>
                <a:lnTo>
                  <a:pt x="1738" y="2070"/>
                </a:lnTo>
                <a:lnTo>
                  <a:pt x="1737" y="2071"/>
                </a:lnTo>
                <a:lnTo>
                  <a:pt x="1734" y="2072"/>
                </a:lnTo>
                <a:lnTo>
                  <a:pt x="1733" y="2072"/>
                </a:lnTo>
                <a:lnTo>
                  <a:pt x="1731" y="2071"/>
                </a:lnTo>
                <a:lnTo>
                  <a:pt x="1729" y="2070"/>
                </a:lnTo>
                <a:lnTo>
                  <a:pt x="1728" y="2070"/>
                </a:lnTo>
                <a:lnTo>
                  <a:pt x="1726" y="2072"/>
                </a:lnTo>
                <a:lnTo>
                  <a:pt x="1724" y="2075"/>
                </a:lnTo>
                <a:lnTo>
                  <a:pt x="1720" y="2085"/>
                </a:lnTo>
                <a:lnTo>
                  <a:pt x="1717" y="2095"/>
                </a:lnTo>
                <a:lnTo>
                  <a:pt x="1712" y="2106"/>
                </a:lnTo>
                <a:lnTo>
                  <a:pt x="1707" y="2115"/>
                </a:lnTo>
                <a:lnTo>
                  <a:pt x="1705" y="2119"/>
                </a:lnTo>
                <a:lnTo>
                  <a:pt x="1703" y="2121"/>
                </a:lnTo>
                <a:lnTo>
                  <a:pt x="1700" y="2122"/>
                </a:lnTo>
                <a:lnTo>
                  <a:pt x="1697" y="2121"/>
                </a:lnTo>
                <a:lnTo>
                  <a:pt x="1694" y="2119"/>
                </a:lnTo>
                <a:lnTo>
                  <a:pt x="1690" y="2116"/>
                </a:lnTo>
                <a:lnTo>
                  <a:pt x="1687" y="2111"/>
                </a:lnTo>
                <a:lnTo>
                  <a:pt x="1684" y="2105"/>
                </a:lnTo>
                <a:lnTo>
                  <a:pt x="1678" y="2090"/>
                </a:lnTo>
                <a:lnTo>
                  <a:pt x="1672" y="2073"/>
                </a:lnTo>
                <a:lnTo>
                  <a:pt x="1667" y="2054"/>
                </a:lnTo>
                <a:lnTo>
                  <a:pt x="1663" y="2038"/>
                </a:lnTo>
                <a:lnTo>
                  <a:pt x="1661" y="2022"/>
                </a:lnTo>
                <a:lnTo>
                  <a:pt x="1661" y="2010"/>
                </a:lnTo>
                <a:lnTo>
                  <a:pt x="1664" y="1988"/>
                </a:lnTo>
                <a:lnTo>
                  <a:pt x="1668" y="1965"/>
                </a:lnTo>
                <a:lnTo>
                  <a:pt x="1672" y="1953"/>
                </a:lnTo>
                <a:lnTo>
                  <a:pt x="1675" y="1941"/>
                </a:lnTo>
                <a:lnTo>
                  <a:pt x="1680" y="1931"/>
                </a:lnTo>
                <a:lnTo>
                  <a:pt x="1687" y="1922"/>
                </a:lnTo>
                <a:lnTo>
                  <a:pt x="1708" y="1899"/>
                </a:lnTo>
                <a:lnTo>
                  <a:pt x="1733" y="1870"/>
                </a:lnTo>
                <a:lnTo>
                  <a:pt x="1755" y="1846"/>
                </a:lnTo>
                <a:lnTo>
                  <a:pt x="1765" y="1835"/>
                </a:lnTo>
                <a:lnTo>
                  <a:pt x="1764" y="1834"/>
                </a:lnTo>
                <a:lnTo>
                  <a:pt x="1763" y="1829"/>
                </a:lnTo>
                <a:lnTo>
                  <a:pt x="1764" y="1826"/>
                </a:lnTo>
                <a:lnTo>
                  <a:pt x="1765" y="1822"/>
                </a:lnTo>
                <a:lnTo>
                  <a:pt x="1767" y="1819"/>
                </a:lnTo>
                <a:lnTo>
                  <a:pt x="1770" y="1815"/>
                </a:lnTo>
                <a:lnTo>
                  <a:pt x="1782" y="1805"/>
                </a:lnTo>
                <a:lnTo>
                  <a:pt x="1789" y="1799"/>
                </a:lnTo>
                <a:lnTo>
                  <a:pt x="1796" y="1794"/>
                </a:lnTo>
                <a:lnTo>
                  <a:pt x="1808" y="1790"/>
                </a:lnTo>
                <a:lnTo>
                  <a:pt x="1813" y="1788"/>
                </a:lnTo>
                <a:lnTo>
                  <a:pt x="1818" y="1786"/>
                </a:lnTo>
                <a:lnTo>
                  <a:pt x="1821" y="1783"/>
                </a:lnTo>
                <a:lnTo>
                  <a:pt x="1823" y="1780"/>
                </a:lnTo>
                <a:lnTo>
                  <a:pt x="1829" y="1770"/>
                </a:lnTo>
                <a:lnTo>
                  <a:pt x="1836" y="1759"/>
                </a:lnTo>
                <a:lnTo>
                  <a:pt x="1840" y="1754"/>
                </a:lnTo>
                <a:lnTo>
                  <a:pt x="1843" y="1749"/>
                </a:lnTo>
                <a:lnTo>
                  <a:pt x="1845" y="1749"/>
                </a:lnTo>
                <a:lnTo>
                  <a:pt x="1847" y="1748"/>
                </a:lnTo>
                <a:lnTo>
                  <a:pt x="1849" y="1749"/>
                </a:lnTo>
                <a:lnTo>
                  <a:pt x="1850" y="1752"/>
                </a:lnTo>
                <a:lnTo>
                  <a:pt x="1850" y="1757"/>
                </a:lnTo>
                <a:lnTo>
                  <a:pt x="1849" y="1765"/>
                </a:lnTo>
                <a:lnTo>
                  <a:pt x="1845" y="1775"/>
                </a:lnTo>
                <a:lnTo>
                  <a:pt x="1841" y="1784"/>
                </a:lnTo>
                <a:lnTo>
                  <a:pt x="1838" y="1793"/>
                </a:lnTo>
                <a:lnTo>
                  <a:pt x="1835" y="1801"/>
                </a:lnTo>
                <a:lnTo>
                  <a:pt x="1834" y="1807"/>
                </a:lnTo>
                <a:lnTo>
                  <a:pt x="1835" y="1811"/>
                </a:lnTo>
                <a:lnTo>
                  <a:pt x="1842" y="1813"/>
                </a:lnTo>
                <a:lnTo>
                  <a:pt x="1854" y="1815"/>
                </a:lnTo>
                <a:lnTo>
                  <a:pt x="1860" y="1816"/>
                </a:lnTo>
                <a:lnTo>
                  <a:pt x="1865" y="1819"/>
                </a:lnTo>
                <a:lnTo>
                  <a:pt x="1871" y="1822"/>
                </a:lnTo>
                <a:lnTo>
                  <a:pt x="1874" y="1826"/>
                </a:lnTo>
                <a:lnTo>
                  <a:pt x="1877" y="1835"/>
                </a:lnTo>
                <a:lnTo>
                  <a:pt x="1880" y="1841"/>
                </a:lnTo>
                <a:lnTo>
                  <a:pt x="1881" y="1842"/>
                </a:lnTo>
                <a:lnTo>
                  <a:pt x="1884" y="1840"/>
                </a:lnTo>
                <a:lnTo>
                  <a:pt x="1887" y="1836"/>
                </a:lnTo>
                <a:lnTo>
                  <a:pt x="1893" y="1831"/>
                </a:lnTo>
                <a:lnTo>
                  <a:pt x="1898" y="1824"/>
                </a:lnTo>
                <a:lnTo>
                  <a:pt x="1902" y="1814"/>
                </a:lnTo>
                <a:lnTo>
                  <a:pt x="1905" y="1805"/>
                </a:lnTo>
                <a:lnTo>
                  <a:pt x="1908" y="1796"/>
                </a:lnTo>
                <a:lnTo>
                  <a:pt x="1911" y="1788"/>
                </a:lnTo>
                <a:lnTo>
                  <a:pt x="1915" y="1784"/>
                </a:lnTo>
                <a:lnTo>
                  <a:pt x="1917" y="1783"/>
                </a:lnTo>
                <a:lnTo>
                  <a:pt x="1919" y="1783"/>
                </a:lnTo>
                <a:lnTo>
                  <a:pt x="1921" y="1784"/>
                </a:lnTo>
                <a:lnTo>
                  <a:pt x="1923" y="1786"/>
                </a:lnTo>
                <a:lnTo>
                  <a:pt x="1930" y="1793"/>
                </a:lnTo>
                <a:lnTo>
                  <a:pt x="1940" y="1799"/>
                </a:lnTo>
                <a:lnTo>
                  <a:pt x="1950" y="1804"/>
                </a:lnTo>
                <a:lnTo>
                  <a:pt x="1961" y="1808"/>
                </a:lnTo>
                <a:lnTo>
                  <a:pt x="1971" y="1811"/>
                </a:lnTo>
                <a:lnTo>
                  <a:pt x="1980" y="1813"/>
                </a:lnTo>
                <a:lnTo>
                  <a:pt x="1983" y="1813"/>
                </a:lnTo>
                <a:lnTo>
                  <a:pt x="1986" y="1813"/>
                </a:lnTo>
                <a:lnTo>
                  <a:pt x="1988" y="1812"/>
                </a:lnTo>
                <a:lnTo>
                  <a:pt x="1988" y="1811"/>
                </a:lnTo>
                <a:lnTo>
                  <a:pt x="1988" y="1808"/>
                </a:lnTo>
                <a:lnTo>
                  <a:pt x="1987" y="1804"/>
                </a:lnTo>
                <a:lnTo>
                  <a:pt x="1985" y="1800"/>
                </a:lnTo>
                <a:lnTo>
                  <a:pt x="1983" y="1794"/>
                </a:lnTo>
                <a:lnTo>
                  <a:pt x="1973" y="1782"/>
                </a:lnTo>
                <a:lnTo>
                  <a:pt x="1960" y="1765"/>
                </a:lnTo>
                <a:lnTo>
                  <a:pt x="1950" y="1757"/>
                </a:lnTo>
                <a:lnTo>
                  <a:pt x="1940" y="1748"/>
                </a:lnTo>
                <a:lnTo>
                  <a:pt x="1928" y="1741"/>
                </a:lnTo>
                <a:lnTo>
                  <a:pt x="1918" y="1735"/>
                </a:lnTo>
                <a:lnTo>
                  <a:pt x="1908" y="1730"/>
                </a:lnTo>
                <a:lnTo>
                  <a:pt x="1901" y="1724"/>
                </a:lnTo>
                <a:lnTo>
                  <a:pt x="1899" y="1722"/>
                </a:lnTo>
                <a:lnTo>
                  <a:pt x="1898" y="1719"/>
                </a:lnTo>
                <a:lnTo>
                  <a:pt x="1898" y="1717"/>
                </a:lnTo>
                <a:lnTo>
                  <a:pt x="1899" y="1716"/>
                </a:lnTo>
                <a:lnTo>
                  <a:pt x="1907" y="1710"/>
                </a:lnTo>
                <a:lnTo>
                  <a:pt x="1917" y="1705"/>
                </a:lnTo>
                <a:lnTo>
                  <a:pt x="1921" y="1702"/>
                </a:lnTo>
                <a:lnTo>
                  <a:pt x="1925" y="1699"/>
                </a:lnTo>
                <a:lnTo>
                  <a:pt x="1928" y="1694"/>
                </a:lnTo>
                <a:lnTo>
                  <a:pt x="1929" y="1688"/>
                </a:lnTo>
                <a:lnTo>
                  <a:pt x="1931" y="1672"/>
                </a:lnTo>
                <a:lnTo>
                  <a:pt x="1933" y="1658"/>
                </a:lnTo>
                <a:lnTo>
                  <a:pt x="1936" y="1653"/>
                </a:lnTo>
                <a:lnTo>
                  <a:pt x="1939" y="1648"/>
                </a:lnTo>
                <a:lnTo>
                  <a:pt x="1942" y="1645"/>
                </a:lnTo>
                <a:lnTo>
                  <a:pt x="1946" y="1643"/>
                </a:lnTo>
                <a:lnTo>
                  <a:pt x="1948" y="1642"/>
                </a:lnTo>
                <a:lnTo>
                  <a:pt x="1950" y="1638"/>
                </a:lnTo>
                <a:lnTo>
                  <a:pt x="1950" y="1635"/>
                </a:lnTo>
                <a:lnTo>
                  <a:pt x="1951" y="1630"/>
                </a:lnTo>
                <a:lnTo>
                  <a:pt x="1951" y="1617"/>
                </a:lnTo>
                <a:lnTo>
                  <a:pt x="1950" y="1604"/>
                </a:lnTo>
                <a:lnTo>
                  <a:pt x="1947" y="1579"/>
                </a:lnTo>
                <a:lnTo>
                  <a:pt x="1946" y="1567"/>
                </a:lnTo>
                <a:lnTo>
                  <a:pt x="1949" y="1559"/>
                </a:lnTo>
                <a:lnTo>
                  <a:pt x="1954" y="1540"/>
                </a:lnTo>
                <a:lnTo>
                  <a:pt x="1958" y="1529"/>
                </a:lnTo>
                <a:lnTo>
                  <a:pt x="1959" y="1519"/>
                </a:lnTo>
                <a:lnTo>
                  <a:pt x="1958" y="1515"/>
                </a:lnTo>
                <a:lnTo>
                  <a:pt x="1957" y="1511"/>
                </a:lnTo>
                <a:lnTo>
                  <a:pt x="1956" y="1507"/>
                </a:lnTo>
                <a:lnTo>
                  <a:pt x="1952" y="1504"/>
                </a:lnTo>
                <a:lnTo>
                  <a:pt x="1936" y="1494"/>
                </a:lnTo>
                <a:lnTo>
                  <a:pt x="1914" y="1479"/>
                </a:lnTo>
                <a:lnTo>
                  <a:pt x="1903" y="1473"/>
                </a:lnTo>
                <a:lnTo>
                  <a:pt x="1895" y="1468"/>
                </a:lnTo>
                <a:lnTo>
                  <a:pt x="1889" y="1463"/>
                </a:lnTo>
                <a:lnTo>
                  <a:pt x="1889" y="1461"/>
                </a:lnTo>
                <a:lnTo>
                  <a:pt x="1904" y="1455"/>
                </a:lnTo>
                <a:lnTo>
                  <a:pt x="1933" y="1445"/>
                </a:lnTo>
                <a:lnTo>
                  <a:pt x="1949" y="1440"/>
                </a:lnTo>
                <a:lnTo>
                  <a:pt x="1962" y="1438"/>
                </a:lnTo>
                <a:lnTo>
                  <a:pt x="1967" y="1439"/>
                </a:lnTo>
                <a:lnTo>
                  <a:pt x="1971" y="1440"/>
                </a:lnTo>
                <a:lnTo>
                  <a:pt x="1974" y="1442"/>
                </a:lnTo>
                <a:lnTo>
                  <a:pt x="1975" y="1446"/>
                </a:lnTo>
                <a:lnTo>
                  <a:pt x="1975" y="1450"/>
                </a:lnTo>
                <a:lnTo>
                  <a:pt x="1976" y="1454"/>
                </a:lnTo>
                <a:lnTo>
                  <a:pt x="1979" y="1457"/>
                </a:lnTo>
                <a:lnTo>
                  <a:pt x="1981" y="1461"/>
                </a:lnTo>
                <a:lnTo>
                  <a:pt x="1986" y="1467"/>
                </a:lnTo>
                <a:lnTo>
                  <a:pt x="1991" y="1471"/>
                </a:lnTo>
                <a:lnTo>
                  <a:pt x="1996" y="1472"/>
                </a:lnTo>
                <a:lnTo>
                  <a:pt x="2002" y="1472"/>
                </a:lnTo>
                <a:lnTo>
                  <a:pt x="2004" y="1471"/>
                </a:lnTo>
                <a:lnTo>
                  <a:pt x="2005" y="1470"/>
                </a:lnTo>
                <a:lnTo>
                  <a:pt x="2006" y="1468"/>
                </a:lnTo>
                <a:lnTo>
                  <a:pt x="2006" y="1464"/>
                </a:lnTo>
                <a:lnTo>
                  <a:pt x="2007" y="1457"/>
                </a:lnTo>
                <a:lnTo>
                  <a:pt x="2009" y="1450"/>
                </a:lnTo>
                <a:lnTo>
                  <a:pt x="2012" y="1442"/>
                </a:lnTo>
                <a:lnTo>
                  <a:pt x="2017" y="1436"/>
                </a:lnTo>
                <a:lnTo>
                  <a:pt x="2019" y="1434"/>
                </a:lnTo>
                <a:lnTo>
                  <a:pt x="2023" y="1432"/>
                </a:lnTo>
                <a:lnTo>
                  <a:pt x="2026" y="1431"/>
                </a:lnTo>
                <a:lnTo>
                  <a:pt x="2029" y="1431"/>
                </a:lnTo>
                <a:lnTo>
                  <a:pt x="2032" y="1432"/>
                </a:lnTo>
                <a:lnTo>
                  <a:pt x="2035" y="1434"/>
                </a:lnTo>
                <a:lnTo>
                  <a:pt x="2038" y="1437"/>
                </a:lnTo>
                <a:lnTo>
                  <a:pt x="2042" y="1442"/>
                </a:lnTo>
                <a:lnTo>
                  <a:pt x="2052" y="1457"/>
                </a:lnTo>
                <a:lnTo>
                  <a:pt x="2067" y="1478"/>
                </a:lnTo>
                <a:lnTo>
                  <a:pt x="2084" y="1504"/>
                </a:lnTo>
                <a:lnTo>
                  <a:pt x="2103" y="1534"/>
                </a:lnTo>
                <a:lnTo>
                  <a:pt x="2121" y="1561"/>
                </a:lnTo>
                <a:lnTo>
                  <a:pt x="2136" y="1586"/>
                </a:lnTo>
                <a:lnTo>
                  <a:pt x="2141" y="1596"/>
                </a:lnTo>
                <a:lnTo>
                  <a:pt x="2145" y="1606"/>
                </a:lnTo>
                <a:lnTo>
                  <a:pt x="2147" y="1612"/>
                </a:lnTo>
                <a:lnTo>
                  <a:pt x="2147" y="1617"/>
                </a:lnTo>
                <a:lnTo>
                  <a:pt x="2147" y="1624"/>
                </a:lnTo>
                <a:lnTo>
                  <a:pt x="2147" y="1629"/>
                </a:lnTo>
                <a:lnTo>
                  <a:pt x="2149" y="1634"/>
                </a:lnTo>
                <a:lnTo>
                  <a:pt x="2151" y="1637"/>
                </a:lnTo>
                <a:lnTo>
                  <a:pt x="2156" y="1643"/>
                </a:lnTo>
                <a:lnTo>
                  <a:pt x="2158" y="1644"/>
                </a:lnTo>
                <a:lnTo>
                  <a:pt x="2170" y="1645"/>
                </a:lnTo>
                <a:lnTo>
                  <a:pt x="2196" y="1649"/>
                </a:lnTo>
                <a:lnTo>
                  <a:pt x="2210" y="1651"/>
                </a:lnTo>
                <a:lnTo>
                  <a:pt x="2221" y="1654"/>
                </a:lnTo>
                <a:lnTo>
                  <a:pt x="2225" y="1656"/>
                </a:lnTo>
                <a:lnTo>
                  <a:pt x="2228" y="1658"/>
                </a:lnTo>
                <a:lnTo>
                  <a:pt x="2229" y="1660"/>
                </a:lnTo>
                <a:lnTo>
                  <a:pt x="2228" y="1664"/>
                </a:lnTo>
                <a:lnTo>
                  <a:pt x="2220" y="1675"/>
                </a:lnTo>
                <a:lnTo>
                  <a:pt x="2212" y="1684"/>
                </a:lnTo>
                <a:lnTo>
                  <a:pt x="2209" y="1688"/>
                </a:lnTo>
                <a:lnTo>
                  <a:pt x="2205" y="1690"/>
                </a:lnTo>
                <a:lnTo>
                  <a:pt x="2203" y="1690"/>
                </a:lnTo>
                <a:lnTo>
                  <a:pt x="2202" y="1689"/>
                </a:lnTo>
                <a:lnTo>
                  <a:pt x="2200" y="1688"/>
                </a:lnTo>
                <a:lnTo>
                  <a:pt x="2198" y="1686"/>
                </a:lnTo>
                <a:lnTo>
                  <a:pt x="2190" y="1676"/>
                </a:lnTo>
                <a:lnTo>
                  <a:pt x="2180" y="1665"/>
                </a:lnTo>
                <a:lnTo>
                  <a:pt x="2173" y="1659"/>
                </a:lnTo>
                <a:lnTo>
                  <a:pt x="2167" y="1656"/>
                </a:lnTo>
                <a:lnTo>
                  <a:pt x="2161" y="1653"/>
                </a:lnTo>
                <a:lnTo>
                  <a:pt x="2154" y="1651"/>
                </a:lnTo>
                <a:lnTo>
                  <a:pt x="2147" y="1651"/>
                </a:lnTo>
                <a:lnTo>
                  <a:pt x="2142" y="1651"/>
                </a:lnTo>
                <a:lnTo>
                  <a:pt x="2137" y="1652"/>
                </a:lnTo>
                <a:lnTo>
                  <a:pt x="2133" y="1654"/>
                </a:lnTo>
                <a:lnTo>
                  <a:pt x="2129" y="1657"/>
                </a:lnTo>
                <a:lnTo>
                  <a:pt x="2127" y="1662"/>
                </a:lnTo>
                <a:lnTo>
                  <a:pt x="2125" y="1669"/>
                </a:lnTo>
                <a:lnTo>
                  <a:pt x="2124" y="1678"/>
                </a:lnTo>
                <a:lnTo>
                  <a:pt x="2124" y="1687"/>
                </a:lnTo>
                <a:lnTo>
                  <a:pt x="2127" y="1695"/>
                </a:lnTo>
                <a:lnTo>
                  <a:pt x="2130" y="1700"/>
                </a:lnTo>
                <a:lnTo>
                  <a:pt x="2133" y="1705"/>
                </a:lnTo>
                <a:lnTo>
                  <a:pt x="2134" y="1708"/>
                </a:lnTo>
                <a:lnTo>
                  <a:pt x="2135" y="1709"/>
                </a:lnTo>
                <a:lnTo>
                  <a:pt x="2135" y="1710"/>
                </a:lnTo>
                <a:lnTo>
                  <a:pt x="2134" y="1711"/>
                </a:lnTo>
                <a:lnTo>
                  <a:pt x="2129" y="1713"/>
                </a:lnTo>
                <a:lnTo>
                  <a:pt x="2121" y="1713"/>
                </a:lnTo>
                <a:lnTo>
                  <a:pt x="2098" y="1711"/>
                </a:lnTo>
                <a:lnTo>
                  <a:pt x="2077" y="1708"/>
                </a:lnTo>
                <a:lnTo>
                  <a:pt x="2072" y="1708"/>
                </a:lnTo>
                <a:lnTo>
                  <a:pt x="2068" y="1709"/>
                </a:lnTo>
                <a:lnTo>
                  <a:pt x="2064" y="1710"/>
                </a:lnTo>
                <a:lnTo>
                  <a:pt x="2060" y="1712"/>
                </a:lnTo>
                <a:lnTo>
                  <a:pt x="2057" y="1714"/>
                </a:lnTo>
                <a:lnTo>
                  <a:pt x="2055" y="1718"/>
                </a:lnTo>
                <a:lnTo>
                  <a:pt x="2053" y="1722"/>
                </a:lnTo>
                <a:lnTo>
                  <a:pt x="2052" y="1728"/>
                </a:lnTo>
                <a:lnTo>
                  <a:pt x="2050" y="1740"/>
                </a:lnTo>
                <a:lnTo>
                  <a:pt x="2046" y="1750"/>
                </a:lnTo>
                <a:lnTo>
                  <a:pt x="2041" y="1760"/>
                </a:lnTo>
                <a:lnTo>
                  <a:pt x="2037" y="1768"/>
                </a:lnTo>
                <a:lnTo>
                  <a:pt x="2034" y="1776"/>
                </a:lnTo>
                <a:lnTo>
                  <a:pt x="2031" y="1781"/>
                </a:lnTo>
                <a:lnTo>
                  <a:pt x="2031" y="1784"/>
                </a:lnTo>
                <a:lnTo>
                  <a:pt x="2031" y="1786"/>
                </a:lnTo>
                <a:lnTo>
                  <a:pt x="2032" y="1788"/>
                </a:lnTo>
                <a:lnTo>
                  <a:pt x="2034" y="1789"/>
                </a:lnTo>
                <a:lnTo>
                  <a:pt x="2036" y="1790"/>
                </a:lnTo>
                <a:lnTo>
                  <a:pt x="2040" y="1790"/>
                </a:lnTo>
                <a:lnTo>
                  <a:pt x="2045" y="1788"/>
                </a:lnTo>
                <a:lnTo>
                  <a:pt x="2050" y="1786"/>
                </a:lnTo>
                <a:lnTo>
                  <a:pt x="2062" y="1779"/>
                </a:lnTo>
                <a:lnTo>
                  <a:pt x="2076" y="1770"/>
                </a:lnTo>
                <a:lnTo>
                  <a:pt x="2091" y="1763"/>
                </a:lnTo>
                <a:lnTo>
                  <a:pt x="2103" y="1758"/>
                </a:lnTo>
                <a:lnTo>
                  <a:pt x="2108" y="1757"/>
                </a:lnTo>
                <a:lnTo>
                  <a:pt x="2113" y="1757"/>
                </a:lnTo>
                <a:lnTo>
                  <a:pt x="2117" y="1758"/>
                </a:lnTo>
                <a:lnTo>
                  <a:pt x="2120" y="1761"/>
                </a:lnTo>
                <a:lnTo>
                  <a:pt x="2124" y="1767"/>
                </a:lnTo>
                <a:lnTo>
                  <a:pt x="2129" y="1774"/>
                </a:lnTo>
                <a:lnTo>
                  <a:pt x="2134" y="1778"/>
                </a:lnTo>
                <a:lnTo>
                  <a:pt x="2138" y="1781"/>
                </a:lnTo>
                <a:lnTo>
                  <a:pt x="2141" y="1784"/>
                </a:lnTo>
                <a:lnTo>
                  <a:pt x="2144" y="1787"/>
                </a:lnTo>
                <a:lnTo>
                  <a:pt x="2146" y="1791"/>
                </a:lnTo>
                <a:lnTo>
                  <a:pt x="2146" y="1796"/>
                </a:lnTo>
                <a:lnTo>
                  <a:pt x="2147" y="1800"/>
                </a:lnTo>
                <a:lnTo>
                  <a:pt x="2150" y="1803"/>
                </a:lnTo>
                <a:lnTo>
                  <a:pt x="2154" y="1806"/>
                </a:lnTo>
                <a:lnTo>
                  <a:pt x="2158" y="1807"/>
                </a:lnTo>
                <a:lnTo>
                  <a:pt x="2162" y="1809"/>
                </a:lnTo>
                <a:lnTo>
                  <a:pt x="2166" y="1810"/>
                </a:lnTo>
                <a:lnTo>
                  <a:pt x="2169" y="1812"/>
                </a:lnTo>
                <a:lnTo>
                  <a:pt x="2171" y="1815"/>
                </a:lnTo>
                <a:lnTo>
                  <a:pt x="2176" y="1825"/>
                </a:lnTo>
                <a:lnTo>
                  <a:pt x="2184" y="1840"/>
                </a:lnTo>
                <a:lnTo>
                  <a:pt x="2188" y="1847"/>
                </a:lnTo>
                <a:lnTo>
                  <a:pt x="2192" y="1853"/>
                </a:lnTo>
                <a:lnTo>
                  <a:pt x="2196" y="1857"/>
                </a:lnTo>
                <a:lnTo>
                  <a:pt x="2201" y="1860"/>
                </a:lnTo>
                <a:lnTo>
                  <a:pt x="2210" y="1862"/>
                </a:lnTo>
                <a:lnTo>
                  <a:pt x="2220" y="1862"/>
                </a:lnTo>
                <a:lnTo>
                  <a:pt x="2224" y="1862"/>
                </a:lnTo>
                <a:lnTo>
                  <a:pt x="2228" y="1863"/>
                </a:lnTo>
                <a:lnTo>
                  <a:pt x="2232" y="1864"/>
                </a:lnTo>
                <a:lnTo>
                  <a:pt x="2236" y="1867"/>
                </a:lnTo>
                <a:lnTo>
                  <a:pt x="2242" y="1870"/>
                </a:lnTo>
                <a:lnTo>
                  <a:pt x="2252" y="1873"/>
                </a:lnTo>
                <a:lnTo>
                  <a:pt x="2265" y="1876"/>
                </a:lnTo>
                <a:lnTo>
                  <a:pt x="2278" y="1878"/>
                </a:lnTo>
                <a:lnTo>
                  <a:pt x="2301" y="1881"/>
                </a:lnTo>
                <a:lnTo>
                  <a:pt x="2310" y="1880"/>
                </a:lnTo>
                <a:lnTo>
                  <a:pt x="2295" y="1867"/>
                </a:lnTo>
                <a:lnTo>
                  <a:pt x="2270" y="1838"/>
                </a:lnTo>
                <a:lnTo>
                  <a:pt x="2257" y="1825"/>
                </a:lnTo>
                <a:lnTo>
                  <a:pt x="2248" y="1812"/>
                </a:lnTo>
                <a:lnTo>
                  <a:pt x="2245" y="1807"/>
                </a:lnTo>
                <a:lnTo>
                  <a:pt x="2243" y="1804"/>
                </a:lnTo>
                <a:lnTo>
                  <a:pt x="2243" y="1802"/>
                </a:lnTo>
                <a:lnTo>
                  <a:pt x="2243" y="1802"/>
                </a:lnTo>
                <a:lnTo>
                  <a:pt x="2243" y="1801"/>
                </a:lnTo>
                <a:lnTo>
                  <a:pt x="2244" y="1801"/>
                </a:lnTo>
                <a:lnTo>
                  <a:pt x="2248" y="1802"/>
                </a:lnTo>
                <a:lnTo>
                  <a:pt x="2252" y="1805"/>
                </a:lnTo>
                <a:lnTo>
                  <a:pt x="2258" y="1810"/>
                </a:lnTo>
                <a:lnTo>
                  <a:pt x="2266" y="1815"/>
                </a:lnTo>
                <a:lnTo>
                  <a:pt x="2281" y="1829"/>
                </a:lnTo>
                <a:lnTo>
                  <a:pt x="2298" y="1844"/>
                </a:lnTo>
                <a:lnTo>
                  <a:pt x="2315" y="1858"/>
                </a:lnTo>
                <a:lnTo>
                  <a:pt x="2329" y="1869"/>
                </a:lnTo>
                <a:lnTo>
                  <a:pt x="2335" y="1873"/>
                </a:lnTo>
                <a:lnTo>
                  <a:pt x="2339" y="1875"/>
                </a:lnTo>
                <a:lnTo>
                  <a:pt x="2341" y="1875"/>
                </a:lnTo>
                <a:lnTo>
                  <a:pt x="2342" y="1875"/>
                </a:lnTo>
                <a:lnTo>
                  <a:pt x="2343" y="1875"/>
                </a:lnTo>
                <a:lnTo>
                  <a:pt x="2343" y="1874"/>
                </a:lnTo>
                <a:lnTo>
                  <a:pt x="2343" y="1868"/>
                </a:lnTo>
                <a:lnTo>
                  <a:pt x="2342" y="1860"/>
                </a:lnTo>
                <a:lnTo>
                  <a:pt x="2340" y="1854"/>
                </a:lnTo>
                <a:lnTo>
                  <a:pt x="2337" y="1848"/>
                </a:lnTo>
                <a:lnTo>
                  <a:pt x="2334" y="1842"/>
                </a:lnTo>
                <a:lnTo>
                  <a:pt x="2332" y="1837"/>
                </a:lnTo>
                <a:lnTo>
                  <a:pt x="2331" y="1833"/>
                </a:lnTo>
                <a:lnTo>
                  <a:pt x="2332" y="1831"/>
                </a:lnTo>
                <a:lnTo>
                  <a:pt x="2339" y="1829"/>
                </a:lnTo>
                <a:lnTo>
                  <a:pt x="2349" y="1824"/>
                </a:lnTo>
                <a:lnTo>
                  <a:pt x="2355" y="1820"/>
                </a:lnTo>
                <a:lnTo>
                  <a:pt x="2359" y="1816"/>
                </a:lnTo>
                <a:lnTo>
                  <a:pt x="2360" y="1814"/>
                </a:lnTo>
                <a:lnTo>
                  <a:pt x="2361" y="1812"/>
                </a:lnTo>
                <a:lnTo>
                  <a:pt x="2361" y="1810"/>
                </a:lnTo>
                <a:lnTo>
                  <a:pt x="2360" y="1808"/>
                </a:lnTo>
                <a:lnTo>
                  <a:pt x="2349" y="1796"/>
                </a:lnTo>
                <a:lnTo>
                  <a:pt x="2331" y="1778"/>
                </a:lnTo>
                <a:lnTo>
                  <a:pt x="2311" y="1759"/>
                </a:lnTo>
                <a:lnTo>
                  <a:pt x="2297" y="1745"/>
                </a:lnTo>
                <a:lnTo>
                  <a:pt x="2293" y="1738"/>
                </a:lnTo>
                <a:lnTo>
                  <a:pt x="2288" y="1724"/>
                </a:lnTo>
                <a:lnTo>
                  <a:pt x="2282" y="1709"/>
                </a:lnTo>
                <a:lnTo>
                  <a:pt x="2277" y="1692"/>
                </a:lnTo>
                <a:lnTo>
                  <a:pt x="2274" y="1677"/>
                </a:lnTo>
                <a:lnTo>
                  <a:pt x="2272" y="1665"/>
                </a:lnTo>
                <a:lnTo>
                  <a:pt x="2272" y="1660"/>
                </a:lnTo>
                <a:lnTo>
                  <a:pt x="2273" y="1658"/>
                </a:lnTo>
                <a:lnTo>
                  <a:pt x="2275" y="1657"/>
                </a:lnTo>
                <a:lnTo>
                  <a:pt x="2278" y="1658"/>
                </a:lnTo>
                <a:lnTo>
                  <a:pt x="2293" y="1668"/>
                </a:lnTo>
                <a:lnTo>
                  <a:pt x="2311" y="1676"/>
                </a:lnTo>
                <a:lnTo>
                  <a:pt x="2318" y="1681"/>
                </a:lnTo>
                <a:lnTo>
                  <a:pt x="2324" y="1687"/>
                </a:lnTo>
                <a:lnTo>
                  <a:pt x="2326" y="1690"/>
                </a:lnTo>
                <a:lnTo>
                  <a:pt x="2329" y="1693"/>
                </a:lnTo>
                <a:lnTo>
                  <a:pt x="2330" y="1696"/>
                </a:lnTo>
                <a:lnTo>
                  <a:pt x="2331" y="1699"/>
                </a:lnTo>
                <a:lnTo>
                  <a:pt x="2331" y="1711"/>
                </a:lnTo>
                <a:lnTo>
                  <a:pt x="2332" y="1717"/>
                </a:lnTo>
                <a:lnTo>
                  <a:pt x="2335" y="1722"/>
                </a:lnTo>
                <a:lnTo>
                  <a:pt x="2339" y="1727"/>
                </a:lnTo>
                <a:lnTo>
                  <a:pt x="2347" y="1736"/>
                </a:lnTo>
                <a:lnTo>
                  <a:pt x="2357" y="1746"/>
                </a:lnTo>
                <a:lnTo>
                  <a:pt x="2361" y="1750"/>
                </a:lnTo>
                <a:lnTo>
                  <a:pt x="2365" y="1754"/>
                </a:lnTo>
                <a:lnTo>
                  <a:pt x="2367" y="1754"/>
                </a:lnTo>
                <a:lnTo>
                  <a:pt x="2369" y="1753"/>
                </a:lnTo>
                <a:lnTo>
                  <a:pt x="2371" y="1752"/>
                </a:lnTo>
                <a:lnTo>
                  <a:pt x="2373" y="1748"/>
                </a:lnTo>
                <a:lnTo>
                  <a:pt x="2376" y="1733"/>
                </a:lnTo>
                <a:lnTo>
                  <a:pt x="2378" y="1712"/>
                </a:lnTo>
                <a:lnTo>
                  <a:pt x="2379" y="1701"/>
                </a:lnTo>
                <a:lnTo>
                  <a:pt x="2380" y="1692"/>
                </a:lnTo>
                <a:lnTo>
                  <a:pt x="2382" y="1684"/>
                </a:lnTo>
                <a:lnTo>
                  <a:pt x="2385" y="1679"/>
                </a:lnTo>
                <a:lnTo>
                  <a:pt x="2395" y="1671"/>
                </a:lnTo>
                <a:lnTo>
                  <a:pt x="2402" y="1664"/>
                </a:lnTo>
                <a:lnTo>
                  <a:pt x="2405" y="1659"/>
                </a:lnTo>
                <a:lnTo>
                  <a:pt x="2406" y="1655"/>
                </a:lnTo>
                <a:lnTo>
                  <a:pt x="2406" y="1650"/>
                </a:lnTo>
                <a:lnTo>
                  <a:pt x="2404" y="1645"/>
                </a:lnTo>
                <a:lnTo>
                  <a:pt x="2399" y="1639"/>
                </a:lnTo>
                <a:lnTo>
                  <a:pt x="2392" y="1634"/>
                </a:lnTo>
                <a:lnTo>
                  <a:pt x="2384" y="1628"/>
                </a:lnTo>
                <a:lnTo>
                  <a:pt x="2375" y="1622"/>
                </a:lnTo>
                <a:lnTo>
                  <a:pt x="2357" y="1611"/>
                </a:lnTo>
                <a:lnTo>
                  <a:pt x="2345" y="1603"/>
                </a:lnTo>
                <a:lnTo>
                  <a:pt x="2330" y="1588"/>
                </a:lnTo>
                <a:lnTo>
                  <a:pt x="2300" y="1564"/>
                </a:lnTo>
                <a:lnTo>
                  <a:pt x="2272" y="1540"/>
                </a:lnTo>
                <a:lnTo>
                  <a:pt x="2255" y="1525"/>
                </a:lnTo>
                <a:lnTo>
                  <a:pt x="2252" y="1521"/>
                </a:lnTo>
                <a:lnTo>
                  <a:pt x="2250" y="1516"/>
                </a:lnTo>
                <a:lnTo>
                  <a:pt x="2247" y="1511"/>
                </a:lnTo>
                <a:lnTo>
                  <a:pt x="2245" y="1505"/>
                </a:lnTo>
                <a:lnTo>
                  <a:pt x="2244" y="1499"/>
                </a:lnTo>
                <a:lnTo>
                  <a:pt x="2244" y="1494"/>
                </a:lnTo>
                <a:lnTo>
                  <a:pt x="2244" y="1487"/>
                </a:lnTo>
                <a:lnTo>
                  <a:pt x="2246" y="1481"/>
                </a:lnTo>
                <a:lnTo>
                  <a:pt x="2248" y="1478"/>
                </a:lnTo>
                <a:lnTo>
                  <a:pt x="2250" y="1475"/>
                </a:lnTo>
                <a:lnTo>
                  <a:pt x="2253" y="1473"/>
                </a:lnTo>
                <a:lnTo>
                  <a:pt x="2256" y="1471"/>
                </a:lnTo>
                <a:lnTo>
                  <a:pt x="2264" y="1468"/>
                </a:lnTo>
                <a:lnTo>
                  <a:pt x="2270" y="1464"/>
                </a:lnTo>
                <a:lnTo>
                  <a:pt x="2275" y="1461"/>
                </a:lnTo>
                <a:lnTo>
                  <a:pt x="2278" y="1458"/>
                </a:lnTo>
                <a:lnTo>
                  <a:pt x="2279" y="1456"/>
                </a:lnTo>
                <a:lnTo>
                  <a:pt x="2278" y="1454"/>
                </a:lnTo>
                <a:lnTo>
                  <a:pt x="2277" y="1452"/>
                </a:lnTo>
                <a:lnTo>
                  <a:pt x="2274" y="1449"/>
                </a:lnTo>
                <a:lnTo>
                  <a:pt x="2270" y="1447"/>
                </a:lnTo>
                <a:lnTo>
                  <a:pt x="2267" y="1446"/>
                </a:lnTo>
                <a:lnTo>
                  <a:pt x="2262" y="1445"/>
                </a:lnTo>
                <a:lnTo>
                  <a:pt x="2259" y="1445"/>
                </a:lnTo>
                <a:lnTo>
                  <a:pt x="2253" y="1445"/>
                </a:lnTo>
                <a:lnTo>
                  <a:pt x="2247" y="1447"/>
                </a:lnTo>
                <a:lnTo>
                  <a:pt x="2237" y="1452"/>
                </a:lnTo>
                <a:lnTo>
                  <a:pt x="2234" y="1455"/>
                </a:lnTo>
                <a:lnTo>
                  <a:pt x="2229" y="1457"/>
                </a:lnTo>
                <a:lnTo>
                  <a:pt x="2221" y="1459"/>
                </a:lnTo>
                <a:lnTo>
                  <a:pt x="2216" y="1459"/>
                </a:lnTo>
                <a:lnTo>
                  <a:pt x="2213" y="1457"/>
                </a:lnTo>
                <a:lnTo>
                  <a:pt x="2212" y="1456"/>
                </a:lnTo>
                <a:lnTo>
                  <a:pt x="2212" y="1454"/>
                </a:lnTo>
                <a:lnTo>
                  <a:pt x="2213" y="1452"/>
                </a:lnTo>
                <a:lnTo>
                  <a:pt x="2214" y="1449"/>
                </a:lnTo>
                <a:lnTo>
                  <a:pt x="2218" y="1443"/>
                </a:lnTo>
                <a:lnTo>
                  <a:pt x="2224" y="1440"/>
                </a:lnTo>
                <a:lnTo>
                  <a:pt x="2229" y="1438"/>
                </a:lnTo>
                <a:lnTo>
                  <a:pt x="2234" y="1436"/>
                </a:lnTo>
                <a:lnTo>
                  <a:pt x="2237" y="1435"/>
                </a:lnTo>
                <a:lnTo>
                  <a:pt x="2239" y="1433"/>
                </a:lnTo>
                <a:lnTo>
                  <a:pt x="2238" y="1430"/>
                </a:lnTo>
                <a:lnTo>
                  <a:pt x="2235" y="1426"/>
                </a:lnTo>
                <a:lnTo>
                  <a:pt x="2229" y="1420"/>
                </a:lnTo>
                <a:lnTo>
                  <a:pt x="2222" y="1417"/>
                </a:lnTo>
                <a:lnTo>
                  <a:pt x="2214" y="1414"/>
                </a:lnTo>
                <a:lnTo>
                  <a:pt x="2207" y="1412"/>
                </a:lnTo>
                <a:lnTo>
                  <a:pt x="2201" y="1411"/>
                </a:lnTo>
                <a:lnTo>
                  <a:pt x="2194" y="1411"/>
                </a:lnTo>
                <a:lnTo>
                  <a:pt x="2190" y="1412"/>
                </a:lnTo>
                <a:lnTo>
                  <a:pt x="2187" y="1413"/>
                </a:lnTo>
                <a:lnTo>
                  <a:pt x="2183" y="1414"/>
                </a:lnTo>
                <a:lnTo>
                  <a:pt x="2178" y="1413"/>
                </a:lnTo>
                <a:lnTo>
                  <a:pt x="2171" y="1411"/>
                </a:lnTo>
                <a:lnTo>
                  <a:pt x="2164" y="1408"/>
                </a:lnTo>
                <a:lnTo>
                  <a:pt x="2159" y="1404"/>
                </a:lnTo>
                <a:lnTo>
                  <a:pt x="2156" y="1399"/>
                </a:lnTo>
                <a:lnTo>
                  <a:pt x="2156" y="1397"/>
                </a:lnTo>
                <a:lnTo>
                  <a:pt x="2156" y="1395"/>
                </a:lnTo>
                <a:lnTo>
                  <a:pt x="2158" y="1393"/>
                </a:lnTo>
                <a:lnTo>
                  <a:pt x="2160" y="1391"/>
                </a:lnTo>
                <a:lnTo>
                  <a:pt x="2171" y="1385"/>
                </a:lnTo>
                <a:lnTo>
                  <a:pt x="2180" y="1382"/>
                </a:lnTo>
                <a:lnTo>
                  <a:pt x="2183" y="1381"/>
                </a:lnTo>
                <a:lnTo>
                  <a:pt x="2185" y="1379"/>
                </a:lnTo>
                <a:lnTo>
                  <a:pt x="2185" y="1375"/>
                </a:lnTo>
                <a:lnTo>
                  <a:pt x="2184" y="1371"/>
                </a:lnTo>
                <a:lnTo>
                  <a:pt x="2181" y="1365"/>
                </a:lnTo>
                <a:lnTo>
                  <a:pt x="2177" y="1357"/>
                </a:lnTo>
                <a:lnTo>
                  <a:pt x="2172" y="1348"/>
                </a:lnTo>
                <a:lnTo>
                  <a:pt x="2167" y="1340"/>
                </a:lnTo>
                <a:lnTo>
                  <a:pt x="2165" y="1337"/>
                </a:lnTo>
                <a:lnTo>
                  <a:pt x="2162" y="1335"/>
                </a:lnTo>
                <a:lnTo>
                  <a:pt x="2160" y="1333"/>
                </a:lnTo>
                <a:lnTo>
                  <a:pt x="2158" y="1333"/>
                </a:lnTo>
                <a:lnTo>
                  <a:pt x="2155" y="1335"/>
                </a:lnTo>
                <a:lnTo>
                  <a:pt x="2152" y="1338"/>
                </a:lnTo>
                <a:lnTo>
                  <a:pt x="2151" y="1342"/>
                </a:lnTo>
                <a:lnTo>
                  <a:pt x="2149" y="1347"/>
                </a:lnTo>
                <a:lnTo>
                  <a:pt x="2147" y="1360"/>
                </a:lnTo>
                <a:lnTo>
                  <a:pt x="2143" y="1368"/>
                </a:lnTo>
                <a:lnTo>
                  <a:pt x="2142" y="1370"/>
                </a:lnTo>
                <a:lnTo>
                  <a:pt x="2140" y="1372"/>
                </a:lnTo>
                <a:lnTo>
                  <a:pt x="2138" y="1373"/>
                </a:lnTo>
                <a:lnTo>
                  <a:pt x="2136" y="1374"/>
                </a:lnTo>
                <a:lnTo>
                  <a:pt x="2132" y="1374"/>
                </a:lnTo>
                <a:lnTo>
                  <a:pt x="2128" y="1372"/>
                </a:lnTo>
                <a:lnTo>
                  <a:pt x="2125" y="1370"/>
                </a:lnTo>
                <a:lnTo>
                  <a:pt x="2122" y="1367"/>
                </a:lnTo>
                <a:lnTo>
                  <a:pt x="2116" y="1362"/>
                </a:lnTo>
                <a:lnTo>
                  <a:pt x="2108" y="1358"/>
                </a:lnTo>
                <a:lnTo>
                  <a:pt x="2105" y="1354"/>
                </a:lnTo>
                <a:lnTo>
                  <a:pt x="2102" y="1350"/>
                </a:lnTo>
                <a:lnTo>
                  <a:pt x="2100" y="1346"/>
                </a:lnTo>
                <a:lnTo>
                  <a:pt x="2098" y="1341"/>
                </a:lnTo>
                <a:lnTo>
                  <a:pt x="2098" y="1329"/>
                </a:lnTo>
                <a:lnTo>
                  <a:pt x="2099" y="1319"/>
                </a:lnTo>
                <a:lnTo>
                  <a:pt x="2100" y="1314"/>
                </a:lnTo>
                <a:lnTo>
                  <a:pt x="2099" y="1309"/>
                </a:lnTo>
                <a:lnTo>
                  <a:pt x="2098" y="1305"/>
                </a:lnTo>
                <a:lnTo>
                  <a:pt x="2094" y="1301"/>
                </a:lnTo>
                <a:lnTo>
                  <a:pt x="2078" y="1284"/>
                </a:lnTo>
                <a:lnTo>
                  <a:pt x="2067" y="1272"/>
                </a:lnTo>
                <a:lnTo>
                  <a:pt x="2064" y="1271"/>
                </a:lnTo>
                <a:lnTo>
                  <a:pt x="2063" y="1269"/>
                </a:lnTo>
                <a:lnTo>
                  <a:pt x="2062" y="1266"/>
                </a:lnTo>
                <a:lnTo>
                  <a:pt x="2063" y="1263"/>
                </a:lnTo>
                <a:lnTo>
                  <a:pt x="2064" y="1258"/>
                </a:lnTo>
                <a:lnTo>
                  <a:pt x="2069" y="1252"/>
                </a:lnTo>
                <a:lnTo>
                  <a:pt x="2070" y="1249"/>
                </a:lnTo>
                <a:lnTo>
                  <a:pt x="2070" y="1242"/>
                </a:lnTo>
                <a:lnTo>
                  <a:pt x="2068" y="1235"/>
                </a:lnTo>
                <a:lnTo>
                  <a:pt x="2064" y="1229"/>
                </a:lnTo>
                <a:lnTo>
                  <a:pt x="2060" y="1221"/>
                </a:lnTo>
                <a:lnTo>
                  <a:pt x="2055" y="1215"/>
                </a:lnTo>
                <a:lnTo>
                  <a:pt x="2052" y="1213"/>
                </a:lnTo>
                <a:lnTo>
                  <a:pt x="2049" y="1211"/>
                </a:lnTo>
                <a:lnTo>
                  <a:pt x="2047" y="1210"/>
                </a:lnTo>
                <a:lnTo>
                  <a:pt x="2042" y="1209"/>
                </a:lnTo>
                <a:lnTo>
                  <a:pt x="2025" y="1209"/>
                </a:lnTo>
                <a:lnTo>
                  <a:pt x="2004" y="1209"/>
                </a:lnTo>
                <a:lnTo>
                  <a:pt x="1993" y="1209"/>
                </a:lnTo>
                <a:lnTo>
                  <a:pt x="1986" y="1211"/>
                </a:lnTo>
                <a:lnTo>
                  <a:pt x="1983" y="1211"/>
                </a:lnTo>
                <a:lnTo>
                  <a:pt x="1981" y="1212"/>
                </a:lnTo>
                <a:lnTo>
                  <a:pt x="1980" y="1214"/>
                </a:lnTo>
                <a:lnTo>
                  <a:pt x="1980" y="1215"/>
                </a:lnTo>
                <a:lnTo>
                  <a:pt x="1984" y="1219"/>
                </a:lnTo>
                <a:lnTo>
                  <a:pt x="1990" y="1226"/>
                </a:lnTo>
                <a:lnTo>
                  <a:pt x="1998" y="1232"/>
                </a:lnTo>
                <a:lnTo>
                  <a:pt x="2008" y="1238"/>
                </a:lnTo>
                <a:lnTo>
                  <a:pt x="2025" y="1250"/>
                </a:lnTo>
                <a:lnTo>
                  <a:pt x="2033" y="1255"/>
                </a:lnTo>
                <a:lnTo>
                  <a:pt x="2037" y="1255"/>
                </a:lnTo>
                <a:lnTo>
                  <a:pt x="2047" y="1256"/>
                </a:lnTo>
                <a:lnTo>
                  <a:pt x="2051" y="1256"/>
                </a:lnTo>
                <a:lnTo>
                  <a:pt x="2054" y="1258"/>
                </a:lnTo>
                <a:lnTo>
                  <a:pt x="2056" y="1259"/>
                </a:lnTo>
                <a:lnTo>
                  <a:pt x="2056" y="1260"/>
                </a:lnTo>
                <a:lnTo>
                  <a:pt x="2056" y="1261"/>
                </a:lnTo>
                <a:lnTo>
                  <a:pt x="2056" y="1262"/>
                </a:lnTo>
                <a:lnTo>
                  <a:pt x="2050" y="1269"/>
                </a:lnTo>
                <a:lnTo>
                  <a:pt x="2042" y="1275"/>
                </a:lnTo>
                <a:lnTo>
                  <a:pt x="2039" y="1278"/>
                </a:lnTo>
                <a:lnTo>
                  <a:pt x="2036" y="1282"/>
                </a:lnTo>
                <a:lnTo>
                  <a:pt x="2033" y="1286"/>
                </a:lnTo>
                <a:lnTo>
                  <a:pt x="2032" y="1292"/>
                </a:lnTo>
                <a:lnTo>
                  <a:pt x="2030" y="1304"/>
                </a:lnTo>
                <a:lnTo>
                  <a:pt x="2027" y="1318"/>
                </a:lnTo>
                <a:lnTo>
                  <a:pt x="2024" y="1322"/>
                </a:lnTo>
                <a:lnTo>
                  <a:pt x="2020" y="1325"/>
                </a:lnTo>
                <a:lnTo>
                  <a:pt x="2018" y="1325"/>
                </a:lnTo>
                <a:lnTo>
                  <a:pt x="2016" y="1325"/>
                </a:lnTo>
                <a:lnTo>
                  <a:pt x="2014" y="1323"/>
                </a:lnTo>
                <a:lnTo>
                  <a:pt x="2011" y="1321"/>
                </a:lnTo>
                <a:lnTo>
                  <a:pt x="2003" y="1309"/>
                </a:lnTo>
                <a:lnTo>
                  <a:pt x="1996" y="1300"/>
                </a:lnTo>
                <a:lnTo>
                  <a:pt x="1994" y="1297"/>
                </a:lnTo>
                <a:lnTo>
                  <a:pt x="1993" y="1296"/>
                </a:lnTo>
                <a:lnTo>
                  <a:pt x="1991" y="1298"/>
                </a:lnTo>
                <a:lnTo>
                  <a:pt x="1990" y="1302"/>
                </a:lnTo>
                <a:lnTo>
                  <a:pt x="1988" y="1307"/>
                </a:lnTo>
                <a:lnTo>
                  <a:pt x="1985" y="1314"/>
                </a:lnTo>
                <a:lnTo>
                  <a:pt x="1982" y="1320"/>
                </a:lnTo>
                <a:lnTo>
                  <a:pt x="1979" y="1324"/>
                </a:lnTo>
                <a:lnTo>
                  <a:pt x="1975" y="1328"/>
                </a:lnTo>
                <a:lnTo>
                  <a:pt x="1972" y="1330"/>
                </a:lnTo>
                <a:lnTo>
                  <a:pt x="1971" y="1330"/>
                </a:lnTo>
                <a:lnTo>
                  <a:pt x="1970" y="1330"/>
                </a:lnTo>
                <a:lnTo>
                  <a:pt x="1969" y="1330"/>
                </a:lnTo>
                <a:lnTo>
                  <a:pt x="1969" y="1328"/>
                </a:lnTo>
                <a:lnTo>
                  <a:pt x="1970" y="1317"/>
                </a:lnTo>
                <a:lnTo>
                  <a:pt x="1974" y="1300"/>
                </a:lnTo>
                <a:lnTo>
                  <a:pt x="1976" y="1292"/>
                </a:lnTo>
                <a:lnTo>
                  <a:pt x="1978" y="1283"/>
                </a:lnTo>
                <a:lnTo>
                  <a:pt x="1978" y="1276"/>
                </a:lnTo>
                <a:lnTo>
                  <a:pt x="1976" y="1271"/>
                </a:lnTo>
                <a:lnTo>
                  <a:pt x="1970" y="1254"/>
                </a:lnTo>
                <a:lnTo>
                  <a:pt x="1964" y="1230"/>
                </a:lnTo>
                <a:lnTo>
                  <a:pt x="1960" y="1217"/>
                </a:lnTo>
                <a:lnTo>
                  <a:pt x="1957" y="1207"/>
                </a:lnTo>
                <a:lnTo>
                  <a:pt x="1953" y="1198"/>
                </a:lnTo>
                <a:lnTo>
                  <a:pt x="1951" y="1195"/>
                </a:lnTo>
                <a:lnTo>
                  <a:pt x="1946" y="1197"/>
                </a:lnTo>
                <a:lnTo>
                  <a:pt x="1936" y="1205"/>
                </a:lnTo>
                <a:lnTo>
                  <a:pt x="1922" y="1215"/>
                </a:lnTo>
                <a:lnTo>
                  <a:pt x="1907" y="1228"/>
                </a:lnTo>
                <a:lnTo>
                  <a:pt x="1894" y="1241"/>
                </a:lnTo>
                <a:lnTo>
                  <a:pt x="1882" y="1254"/>
                </a:lnTo>
                <a:lnTo>
                  <a:pt x="1878" y="1259"/>
                </a:lnTo>
                <a:lnTo>
                  <a:pt x="1875" y="1264"/>
                </a:lnTo>
                <a:lnTo>
                  <a:pt x="1874" y="1269"/>
                </a:lnTo>
                <a:lnTo>
                  <a:pt x="1874" y="1271"/>
                </a:lnTo>
                <a:lnTo>
                  <a:pt x="1882" y="1282"/>
                </a:lnTo>
                <a:lnTo>
                  <a:pt x="1891" y="1294"/>
                </a:lnTo>
                <a:lnTo>
                  <a:pt x="1894" y="1299"/>
                </a:lnTo>
                <a:lnTo>
                  <a:pt x="1896" y="1304"/>
                </a:lnTo>
                <a:lnTo>
                  <a:pt x="1897" y="1308"/>
                </a:lnTo>
                <a:lnTo>
                  <a:pt x="1897" y="1311"/>
                </a:lnTo>
                <a:lnTo>
                  <a:pt x="1893" y="1316"/>
                </a:lnTo>
                <a:lnTo>
                  <a:pt x="1888" y="1321"/>
                </a:lnTo>
                <a:lnTo>
                  <a:pt x="1887" y="1322"/>
                </a:lnTo>
                <a:lnTo>
                  <a:pt x="1886" y="1324"/>
                </a:lnTo>
                <a:lnTo>
                  <a:pt x="1885" y="1326"/>
                </a:lnTo>
                <a:lnTo>
                  <a:pt x="1886" y="1329"/>
                </a:lnTo>
                <a:lnTo>
                  <a:pt x="1888" y="1335"/>
                </a:lnTo>
                <a:lnTo>
                  <a:pt x="1892" y="1342"/>
                </a:lnTo>
                <a:lnTo>
                  <a:pt x="1894" y="1349"/>
                </a:lnTo>
                <a:lnTo>
                  <a:pt x="1894" y="1357"/>
                </a:lnTo>
                <a:lnTo>
                  <a:pt x="1894" y="1367"/>
                </a:lnTo>
                <a:lnTo>
                  <a:pt x="1892" y="1380"/>
                </a:lnTo>
                <a:lnTo>
                  <a:pt x="1891" y="1391"/>
                </a:lnTo>
                <a:lnTo>
                  <a:pt x="1888" y="1395"/>
                </a:lnTo>
                <a:lnTo>
                  <a:pt x="1883" y="1392"/>
                </a:lnTo>
                <a:lnTo>
                  <a:pt x="1874" y="1387"/>
                </a:lnTo>
                <a:lnTo>
                  <a:pt x="1870" y="1384"/>
                </a:lnTo>
                <a:lnTo>
                  <a:pt x="1865" y="1379"/>
                </a:lnTo>
                <a:lnTo>
                  <a:pt x="1862" y="1374"/>
                </a:lnTo>
                <a:lnTo>
                  <a:pt x="1861" y="1369"/>
                </a:lnTo>
                <a:lnTo>
                  <a:pt x="1860" y="1362"/>
                </a:lnTo>
                <a:lnTo>
                  <a:pt x="1857" y="1354"/>
                </a:lnTo>
                <a:lnTo>
                  <a:pt x="1854" y="1345"/>
                </a:lnTo>
                <a:lnTo>
                  <a:pt x="1851" y="1336"/>
                </a:lnTo>
                <a:lnTo>
                  <a:pt x="1843" y="1318"/>
                </a:lnTo>
                <a:lnTo>
                  <a:pt x="1839" y="1306"/>
                </a:lnTo>
                <a:lnTo>
                  <a:pt x="1838" y="1302"/>
                </a:lnTo>
                <a:lnTo>
                  <a:pt x="1839" y="1299"/>
                </a:lnTo>
                <a:lnTo>
                  <a:pt x="1840" y="1297"/>
                </a:lnTo>
                <a:lnTo>
                  <a:pt x="1842" y="1295"/>
                </a:lnTo>
                <a:lnTo>
                  <a:pt x="1847" y="1291"/>
                </a:lnTo>
                <a:lnTo>
                  <a:pt x="1848" y="1287"/>
                </a:lnTo>
                <a:lnTo>
                  <a:pt x="1845" y="1283"/>
                </a:lnTo>
                <a:lnTo>
                  <a:pt x="1840" y="1277"/>
                </a:lnTo>
                <a:lnTo>
                  <a:pt x="1838" y="1273"/>
                </a:lnTo>
                <a:lnTo>
                  <a:pt x="1836" y="1269"/>
                </a:lnTo>
                <a:lnTo>
                  <a:pt x="1836" y="1265"/>
                </a:lnTo>
                <a:lnTo>
                  <a:pt x="1838" y="1262"/>
                </a:lnTo>
                <a:lnTo>
                  <a:pt x="1851" y="1248"/>
                </a:lnTo>
                <a:lnTo>
                  <a:pt x="1869" y="1223"/>
                </a:lnTo>
                <a:lnTo>
                  <a:pt x="1878" y="1211"/>
                </a:lnTo>
                <a:lnTo>
                  <a:pt x="1884" y="1200"/>
                </a:lnTo>
                <a:lnTo>
                  <a:pt x="1886" y="1195"/>
                </a:lnTo>
                <a:lnTo>
                  <a:pt x="1888" y="1192"/>
                </a:lnTo>
                <a:lnTo>
                  <a:pt x="1888" y="1189"/>
                </a:lnTo>
                <a:lnTo>
                  <a:pt x="1888" y="1188"/>
                </a:lnTo>
                <a:lnTo>
                  <a:pt x="1882" y="1187"/>
                </a:lnTo>
                <a:lnTo>
                  <a:pt x="1873" y="1188"/>
                </a:lnTo>
                <a:lnTo>
                  <a:pt x="1859" y="1189"/>
                </a:lnTo>
                <a:lnTo>
                  <a:pt x="1844" y="1192"/>
                </a:lnTo>
                <a:lnTo>
                  <a:pt x="1830" y="1195"/>
                </a:lnTo>
                <a:lnTo>
                  <a:pt x="1817" y="1199"/>
                </a:lnTo>
                <a:lnTo>
                  <a:pt x="1812" y="1203"/>
                </a:lnTo>
                <a:lnTo>
                  <a:pt x="1807" y="1205"/>
                </a:lnTo>
                <a:lnTo>
                  <a:pt x="1804" y="1208"/>
                </a:lnTo>
                <a:lnTo>
                  <a:pt x="1801" y="1210"/>
                </a:lnTo>
                <a:lnTo>
                  <a:pt x="1794" y="1227"/>
                </a:lnTo>
                <a:lnTo>
                  <a:pt x="1782" y="1250"/>
                </a:lnTo>
                <a:lnTo>
                  <a:pt x="1776" y="1262"/>
                </a:lnTo>
                <a:lnTo>
                  <a:pt x="1771" y="1275"/>
                </a:lnTo>
                <a:lnTo>
                  <a:pt x="1767" y="1287"/>
                </a:lnTo>
                <a:lnTo>
                  <a:pt x="1766" y="1299"/>
                </a:lnTo>
                <a:lnTo>
                  <a:pt x="1767" y="1322"/>
                </a:lnTo>
                <a:lnTo>
                  <a:pt x="1768" y="1343"/>
                </a:lnTo>
                <a:lnTo>
                  <a:pt x="1770" y="1352"/>
                </a:lnTo>
                <a:lnTo>
                  <a:pt x="1772" y="1360"/>
                </a:lnTo>
                <a:lnTo>
                  <a:pt x="1775" y="1366"/>
                </a:lnTo>
                <a:lnTo>
                  <a:pt x="1779" y="1370"/>
                </a:lnTo>
                <a:lnTo>
                  <a:pt x="1786" y="1373"/>
                </a:lnTo>
                <a:lnTo>
                  <a:pt x="1794" y="1375"/>
                </a:lnTo>
                <a:lnTo>
                  <a:pt x="1805" y="1379"/>
                </a:lnTo>
                <a:lnTo>
                  <a:pt x="1815" y="1381"/>
                </a:lnTo>
                <a:lnTo>
                  <a:pt x="1823" y="1383"/>
                </a:lnTo>
                <a:lnTo>
                  <a:pt x="1830" y="1385"/>
                </a:lnTo>
                <a:lnTo>
                  <a:pt x="1832" y="1386"/>
                </a:lnTo>
                <a:lnTo>
                  <a:pt x="1833" y="1387"/>
                </a:lnTo>
                <a:lnTo>
                  <a:pt x="1833" y="1389"/>
                </a:lnTo>
                <a:lnTo>
                  <a:pt x="1831" y="1390"/>
                </a:lnTo>
                <a:lnTo>
                  <a:pt x="1816" y="1394"/>
                </a:lnTo>
                <a:lnTo>
                  <a:pt x="1797" y="1398"/>
                </a:lnTo>
                <a:lnTo>
                  <a:pt x="1789" y="1401"/>
                </a:lnTo>
                <a:lnTo>
                  <a:pt x="1783" y="1403"/>
                </a:lnTo>
                <a:lnTo>
                  <a:pt x="1782" y="1403"/>
                </a:lnTo>
                <a:lnTo>
                  <a:pt x="1781" y="1404"/>
                </a:lnTo>
                <a:lnTo>
                  <a:pt x="1781" y="1405"/>
                </a:lnTo>
                <a:lnTo>
                  <a:pt x="1782" y="1406"/>
                </a:lnTo>
                <a:lnTo>
                  <a:pt x="1800" y="1418"/>
                </a:lnTo>
                <a:lnTo>
                  <a:pt x="1834" y="1438"/>
                </a:lnTo>
                <a:lnTo>
                  <a:pt x="1864" y="1458"/>
                </a:lnTo>
                <a:lnTo>
                  <a:pt x="1878" y="1468"/>
                </a:lnTo>
                <a:lnTo>
                  <a:pt x="1877" y="1474"/>
                </a:lnTo>
                <a:lnTo>
                  <a:pt x="1876" y="1489"/>
                </a:lnTo>
                <a:lnTo>
                  <a:pt x="1875" y="1497"/>
                </a:lnTo>
                <a:lnTo>
                  <a:pt x="1875" y="1504"/>
                </a:lnTo>
                <a:lnTo>
                  <a:pt x="1876" y="1511"/>
                </a:lnTo>
                <a:lnTo>
                  <a:pt x="1877" y="1514"/>
                </a:lnTo>
                <a:lnTo>
                  <a:pt x="1881" y="1517"/>
                </a:lnTo>
                <a:lnTo>
                  <a:pt x="1886" y="1520"/>
                </a:lnTo>
                <a:lnTo>
                  <a:pt x="1888" y="1521"/>
                </a:lnTo>
                <a:lnTo>
                  <a:pt x="1889" y="1523"/>
                </a:lnTo>
                <a:lnTo>
                  <a:pt x="1891" y="1524"/>
                </a:lnTo>
                <a:lnTo>
                  <a:pt x="1891" y="1527"/>
                </a:lnTo>
                <a:lnTo>
                  <a:pt x="1888" y="1529"/>
                </a:lnTo>
                <a:lnTo>
                  <a:pt x="1885" y="1531"/>
                </a:lnTo>
                <a:lnTo>
                  <a:pt x="1881" y="1534"/>
                </a:lnTo>
                <a:lnTo>
                  <a:pt x="1876" y="1536"/>
                </a:lnTo>
                <a:lnTo>
                  <a:pt x="1872" y="1538"/>
                </a:lnTo>
                <a:lnTo>
                  <a:pt x="1866" y="1540"/>
                </a:lnTo>
                <a:lnTo>
                  <a:pt x="1863" y="1544"/>
                </a:lnTo>
                <a:lnTo>
                  <a:pt x="1861" y="1548"/>
                </a:lnTo>
                <a:lnTo>
                  <a:pt x="1859" y="1558"/>
                </a:lnTo>
                <a:lnTo>
                  <a:pt x="1859" y="1568"/>
                </a:lnTo>
                <a:lnTo>
                  <a:pt x="1859" y="1573"/>
                </a:lnTo>
                <a:lnTo>
                  <a:pt x="1858" y="1579"/>
                </a:lnTo>
                <a:lnTo>
                  <a:pt x="1856" y="1583"/>
                </a:lnTo>
                <a:lnTo>
                  <a:pt x="1853" y="1588"/>
                </a:lnTo>
                <a:lnTo>
                  <a:pt x="1843" y="1605"/>
                </a:lnTo>
                <a:lnTo>
                  <a:pt x="1836" y="1616"/>
                </a:lnTo>
                <a:lnTo>
                  <a:pt x="1835" y="1617"/>
                </a:lnTo>
                <a:lnTo>
                  <a:pt x="1833" y="1616"/>
                </a:lnTo>
                <a:lnTo>
                  <a:pt x="1831" y="1615"/>
                </a:lnTo>
                <a:lnTo>
                  <a:pt x="1828" y="1613"/>
                </a:lnTo>
                <a:lnTo>
                  <a:pt x="1822" y="1607"/>
                </a:lnTo>
                <a:lnTo>
                  <a:pt x="1817" y="1600"/>
                </a:lnTo>
                <a:lnTo>
                  <a:pt x="1812" y="1591"/>
                </a:lnTo>
                <a:lnTo>
                  <a:pt x="1809" y="1583"/>
                </a:lnTo>
                <a:lnTo>
                  <a:pt x="1809" y="1579"/>
                </a:lnTo>
                <a:lnTo>
                  <a:pt x="1808" y="1574"/>
                </a:lnTo>
                <a:lnTo>
                  <a:pt x="1809" y="1571"/>
                </a:lnTo>
                <a:lnTo>
                  <a:pt x="1810" y="1568"/>
                </a:lnTo>
                <a:lnTo>
                  <a:pt x="1816" y="1557"/>
                </a:lnTo>
                <a:lnTo>
                  <a:pt x="1820" y="1545"/>
                </a:lnTo>
                <a:lnTo>
                  <a:pt x="1821" y="1535"/>
                </a:lnTo>
                <a:lnTo>
                  <a:pt x="1821" y="1525"/>
                </a:lnTo>
                <a:lnTo>
                  <a:pt x="1819" y="1521"/>
                </a:lnTo>
                <a:lnTo>
                  <a:pt x="1815" y="1516"/>
                </a:lnTo>
                <a:lnTo>
                  <a:pt x="1809" y="1512"/>
                </a:lnTo>
                <a:lnTo>
                  <a:pt x="1801" y="1508"/>
                </a:lnTo>
                <a:lnTo>
                  <a:pt x="1794" y="1505"/>
                </a:lnTo>
                <a:lnTo>
                  <a:pt x="1788" y="1503"/>
                </a:lnTo>
                <a:lnTo>
                  <a:pt x="1784" y="1502"/>
                </a:lnTo>
                <a:lnTo>
                  <a:pt x="1782" y="1503"/>
                </a:lnTo>
                <a:lnTo>
                  <a:pt x="1779" y="1514"/>
                </a:lnTo>
                <a:lnTo>
                  <a:pt x="1778" y="1536"/>
                </a:lnTo>
                <a:lnTo>
                  <a:pt x="1777" y="1546"/>
                </a:lnTo>
                <a:lnTo>
                  <a:pt x="1776" y="1556"/>
                </a:lnTo>
                <a:lnTo>
                  <a:pt x="1774" y="1559"/>
                </a:lnTo>
                <a:lnTo>
                  <a:pt x="1773" y="1561"/>
                </a:lnTo>
                <a:lnTo>
                  <a:pt x="1772" y="1562"/>
                </a:lnTo>
                <a:lnTo>
                  <a:pt x="1770" y="1562"/>
                </a:lnTo>
                <a:lnTo>
                  <a:pt x="1763" y="1559"/>
                </a:lnTo>
                <a:lnTo>
                  <a:pt x="1757" y="1557"/>
                </a:lnTo>
                <a:lnTo>
                  <a:pt x="1756" y="1555"/>
                </a:lnTo>
                <a:lnTo>
                  <a:pt x="1755" y="1552"/>
                </a:lnTo>
                <a:lnTo>
                  <a:pt x="1755" y="1548"/>
                </a:lnTo>
                <a:lnTo>
                  <a:pt x="1755" y="1543"/>
                </a:lnTo>
                <a:lnTo>
                  <a:pt x="1757" y="1528"/>
                </a:lnTo>
                <a:lnTo>
                  <a:pt x="1760" y="1515"/>
                </a:lnTo>
                <a:lnTo>
                  <a:pt x="1760" y="1507"/>
                </a:lnTo>
                <a:lnTo>
                  <a:pt x="1759" y="1501"/>
                </a:lnTo>
                <a:lnTo>
                  <a:pt x="1756" y="1496"/>
                </a:lnTo>
                <a:lnTo>
                  <a:pt x="1753" y="1492"/>
                </a:lnTo>
                <a:lnTo>
                  <a:pt x="1748" y="1487"/>
                </a:lnTo>
                <a:lnTo>
                  <a:pt x="1741" y="1485"/>
                </a:lnTo>
                <a:lnTo>
                  <a:pt x="1732" y="1482"/>
                </a:lnTo>
                <a:lnTo>
                  <a:pt x="1724" y="1480"/>
                </a:lnTo>
                <a:lnTo>
                  <a:pt x="1717" y="1477"/>
                </a:lnTo>
                <a:lnTo>
                  <a:pt x="1711" y="1473"/>
                </a:lnTo>
                <a:lnTo>
                  <a:pt x="1710" y="1471"/>
                </a:lnTo>
                <a:lnTo>
                  <a:pt x="1709" y="1468"/>
                </a:lnTo>
                <a:lnTo>
                  <a:pt x="1709" y="1464"/>
                </a:lnTo>
                <a:lnTo>
                  <a:pt x="1710" y="1461"/>
                </a:lnTo>
                <a:lnTo>
                  <a:pt x="1716" y="1448"/>
                </a:lnTo>
                <a:lnTo>
                  <a:pt x="1719" y="1438"/>
                </a:lnTo>
                <a:lnTo>
                  <a:pt x="1720" y="1434"/>
                </a:lnTo>
                <a:lnTo>
                  <a:pt x="1720" y="1430"/>
                </a:lnTo>
                <a:lnTo>
                  <a:pt x="1720" y="1427"/>
                </a:lnTo>
                <a:lnTo>
                  <a:pt x="1719" y="1424"/>
                </a:lnTo>
                <a:lnTo>
                  <a:pt x="1707" y="1410"/>
                </a:lnTo>
                <a:lnTo>
                  <a:pt x="1687" y="1385"/>
                </a:lnTo>
                <a:lnTo>
                  <a:pt x="1683" y="1377"/>
                </a:lnTo>
                <a:lnTo>
                  <a:pt x="1679" y="1370"/>
                </a:lnTo>
                <a:lnTo>
                  <a:pt x="1676" y="1363"/>
                </a:lnTo>
                <a:lnTo>
                  <a:pt x="1674" y="1355"/>
                </a:lnTo>
                <a:lnTo>
                  <a:pt x="1672" y="1349"/>
                </a:lnTo>
                <a:lnTo>
                  <a:pt x="1672" y="1342"/>
                </a:lnTo>
                <a:lnTo>
                  <a:pt x="1673" y="1336"/>
                </a:lnTo>
                <a:lnTo>
                  <a:pt x="1676" y="1330"/>
                </a:lnTo>
                <a:lnTo>
                  <a:pt x="1689" y="1314"/>
                </a:lnTo>
                <a:lnTo>
                  <a:pt x="1698" y="1305"/>
                </a:lnTo>
                <a:lnTo>
                  <a:pt x="1700" y="1302"/>
                </a:lnTo>
                <a:lnTo>
                  <a:pt x="1701" y="1299"/>
                </a:lnTo>
                <a:lnTo>
                  <a:pt x="1700" y="1295"/>
                </a:lnTo>
                <a:lnTo>
                  <a:pt x="1697" y="1291"/>
                </a:lnTo>
                <a:lnTo>
                  <a:pt x="1690" y="1285"/>
                </a:lnTo>
                <a:lnTo>
                  <a:pt x="1684" y="1281"/>
                </a:lnTo>
                <a:lnTo>
                  <a:pt x="1676" y="1277"/>
                </a:lnTo>
                <a:lnTo>
                  <a:pt x="1669" y="1274"/>
                </a:lnTo>
                <a:lnTo>
                  <a:pt x="1667" y="1272"/>
                </a:lnTo>
                <a:lnTo>
                  <a:pt x="1665" y="1271"/>
                </a:lnTo>
                <a:lnTo>
                  <a:pt x="1665" y="1269"/>
                </a:lnTo>
                <a:lnTo>
                  <a:pt x="1665" y="1267"/>
                </a:lnTo>
                <a:lnTo>
                  <a:pt x="1667" y="1265"/>
                </a:lnTo>
                <a:lnTo>
                  <a:pt x="1669" y="1264"/>
                </a:lnTo>
                <a:lnTo>
                  <a:pt x="1675" y="1263"/>
                </a:lnTo>
                <a:lnTo>
                  <a:pt x="1681" y="1261"/>
                </a:lnTo>
                <a:lnTo>
                  <a:pt x="1694" y="1259"/>
                </a:lnTo>
                <a:lnTo>
                  <a:pt x="1702" y="1259"/>
                </a:lnTo>
                <a:lnTo>
                  <a:pt x="1706" y="1259"/>
                </a:lnTo>
                <a:lnTo>
                  <a:pt x="1709" y="1261"/>
                </a:lnTo>
                <a:lnTo>
                  <a:pt x="1713" y="1267"/>
                </a:lnTo>
                <a:lnTo>
                  <a:pt x="1720" y="1275"/>
                </a:lnTo>
                <a:lnTo>
                  <a:pt x="1723" y="1276"/>
                </a:lnTo>
                <a:lnTo>
                  <a:pt x="1725" y="1277"/>
                </a:lnTo>
                <a:lnTo>
                  <a:pt x="1727" y="1277"/>
                </a:lnTo>
                <a:lnTo>
                  <a:pt x="1729" y="1276"/>
                </a:lnTo>
                <a:lnTo>
                  <a:pt x="1731" y="1274"/>
                </a:lnTo>
                <a:lnTo>
                  <a:pt x="1734" y="1270"/>
                </a:lnTo>
                <a:lnTo>
                  <a:pt x="1737" y="1259"/>
                </a:lnTo>
                <a:lnTo>
                  <a:pt x="1738" y="1251"/>
                </a:lnTo>
                <a:lnTo>
                  <a:pt x="1740" y="1241"/>
                </a:lnTo>
                <a:lnTo>
                  <a:pt x="1744" y="1225"/>
                </a:lnTo>
                <a:lnTo>
                  <a:pt x="1747" y="1216"/>
                </a:lnTo>
                <a:lnTo>
                  <a:pt x="1749" y="1209"/>
                </a:lnTo>
                <a:lnTo>
                  <a:pt x="1752" y="1203"/>
                </a:lnTo>
                <a:lnTo>
                  <a:pt x="1754" y="1199"/>
                </a:lnTo>
                <a:lnTo>
                  <a:pt x="1763" y="1193"/>
                </a:lnTo>
                <a:lnTo>
                  <a:pt x="1773" y="1185"/>
                </a:lnTo>
                <a:lnTo>
                  <a:pt x="1777" y="1179"/>
                </a:lnTo>
                <a:lnTo>
                  <a:pt x="1779" y="1175"/>
                </a:lnTo>
                <a:lnTo>
                  <a:pt x="1781" y="1172"/>
                </a:lnTo>
                <a:lnTo>
                  <a:pt x="1781" y="1170"/>
                </a:lnTo>
                <a:lnTo>
                  <a:pt x="1779" y="1167"/>
                </a:lnTo>
                <a:lnTo>
                  <a:pt x="1777" y="1165"/>
                </a:lnTo>
                <a:lnTo>
                  <a:pt x="1775" y="1163"/>
                </a:lnTo>
                <a:lnTo>
                  <a:pt x="1772" y="1162"/>
                </a:lnTo>
                <a:lnTo>
                  <a:pt x="1769" y="1161"/>
                </a:lnTo>
                <a:lnTo>
                  <a:pt x="1766" y="1161"/>
                </a:lnTo>
                <a:lnTo>
                  <a:pt x="1759" y="1161"/>
                </a:lnTo>
                <a:lnTo>
                  <a:pt x="1751" y="1162"/>
                </a:lnTo>
                <a:lnTo>
                  <a:pt x="1744" y="1164"/>
                </a:lnTo>
                <a:lnTo>
                  <a:pt x="1737" y="1165"/>
                </a:lnTo>
                <a:lnTo>
                  <a:pt x="1730" y="1165"/>
                </a:lnTo>
                <a:lnTo>
                  <a:pt x="1725" y="1164"/>
                </a:lnTo>
                <a:lnTo>
                  <a:pt x="1721" y="1163"/>
                </a:lnTo>
                <a:lnTo>
                  <a:pt x="1717" y="1162"/>
                </a:lnTo>
                <a:lnTo>
                  <a:pt x="1712" y="1162"/>
                </a:lnTo>
                <a:lnTo>
                  <a:pt x="1708" y="1162"/>
                </a:lnTo>
                <a:lnTo>
                  <a:pt x="1702" y="1163"/>
                </a:lnTo>
                <a:lnTo>
                  <a:pt x="1697" y="1165"/>
                </a:lnTo>
                <a:lnTo>
                  <a:pt x="1687" y="1169"/>
                </a:lnTo>
                <a:lnTo>
                  <a:pt x="1673" y="1175"/>
                </a:lnTo>
                <a:lnTo>
                  <a:pt x="1665" y="1179"/>
                </a:lnTo>
                <a:lnTo>
                  <a:pt x="1660" y="1184"/>
                </a:lnTo>
                <a:lnTo>
                  <a:pt x="1657" y="1186"/>
                </a:lnTo>
                <a:lnTo>
                  <a:pt x="1655" y="1188"/>
                </a:lnTo>
                <a:lnTo>
                  <a:pt x="1654" y="1191"/>
                </a:lnTo>
                <a:lnTo>
                  <a:pt x="1653" y="1193"/>
                </a:lnTo>
                <a:lnTo>
                  <a:pt x="1654" y="1197"/>
                </a:lnTo>
                <a:lnTo>
                  <a:pt x="1655" y="1200"/>
                </a:lnTo>
                <a:lnTo>
                  <a:pt x="1656" y="1204"/>
                </a:lnTo>
                <a:lnTo>
                  <a:pt x="1658" y="1206"/>
                </a:lnTo>
                <a:lnTo>
                  <a:pt x="1660" y="1209"/>
                </a:lnTo>
                <a:lnTo>
                  <a:pt x="1661" y="1213"/>
                </a:lnTo>
                <a:lnTo>
                  <a:pt x="1661" y="1217"/>
                </a:lnTo>
                <a:lnTo>
                  <a:pt x="1661" y="1222"/>
                </a:lnTo>
                <a:lnTo>
                  <a:pt x="1659" y="1236"/>
                </a:lnTo>
                <a:lnTo>
                  <a:pt x="1657" y="1251"/>
                </a:lnTo>
                <a:lnTo>
                  <a:pt x="1656" y="1262"/>
                </a:lnTo>
                <a:lnTo>
                  <a:pt x="1655" y="1271"/>
                </a:lnTo>
                <a:lnTo>
                  <a:pt x="1657" y="1279"/>
                </a:lnTo>
                <a:lnTo>
                  <a:pt x="1662" y="1289"/>
                </a:lnTo>
                <a:lnTo>
                  <a:pt x="1663" y="1296"/>
                </a:lnTo>
                <a:lnTo>
                  <a:pt x="1665" y="1302"/>
                </a:lnTo>
                <a:lnTo>
                  <a:pt x="1665" y="1308"/>
                </a:lnTo>
                <a:lnTo>
                  <a:pt x="1664" y="1315"/>
                </a:lnTo>
                <a:lnTo>
                  <a:pt x="1660" y="1327"/>
                </a:lnTo>
                <a:lnTo>
                  <a:pt x="1654" y="1338"/>
                </a:lnTo>
                <a:lnTo>
                  <a:pt x="1649" y="1347"/>
                </a:lnTo>
                <a:lnTo>
                  <a:pt x="1645" y="1353"/>
                </a:lnTo>
                <a:lnTo>
                  <a:pt x="1642" y="1357"/>
                </a:lnTo>
                <a:lnTo>
                  <a:pt x="1636" y="1360"/>
                </a:lnTo>
                <a:lnTo>
                  <a:pt x="1633" y="1363"/>
                </a:lnTo>
                <a:lnTo>
                  <a:pt x="1631" y="1367"/>
                </a:lnTo>
                <a:lnTo>
                  <a:pt x="1630" y="1371"/>
                </a:lnTo>
                <a:lnTo>
                  <a:pt x="1630" y="1379"/>
                </a:lnTo>
                <a:lnTo>
                  <a:pt x="1632" y="1385"/>
                </a:lnTo>
                <a:lnTo>
                  <a:pt x="1634" y="1390"/>
                </a:lnTo>
                <a:lnTo>
                  <a:pt x="1636" y="1394"/>
                </a:lnTo>
                <a:lnTo>
                  <a:pt x="1638" y="1396"/>
                </a:lnTo>
                <a:lnTo>
                  <a:pt x="1640" y="1399"/>
                </a:lnTo>
                <a:lnTo>
                  <a:pt x="1641" y="1403"/>
                </a:lnTo>
                <a:lnTo>
                  <a:pt x="1641" y="1407"/>
                </a:lnTo>
                <a:lnTo>
                  <a:pt x="1640" y="1412"/>
                </a:lnTo>
                <a:lnTo>
                  <a:pt x="1636" y="1421"/>
                </a:lnTo>
                <a:lnTo>
                  <a:pt x="1634" y="1427"/>
                </a:lnTo>
                <a:lnTo>
                  <a:pt x="1632" y="1431"/>
                </a:lnTo>
                <a:lnTo>
                  <a:pt x="1632" y="1437"/>
                </a:lnTo>
                <a:lnTo>
                  <a:pt x="1634" y="1441"/>
                </a:lnTo>
                <a:lnTo>
                  <a:pt x="1641" y="1448"/>
                </a:lnTo>
                <a:lnTo>
                  <a:pt x="1651" y="1455"/>
                </a:lnTo>
                <a:lnTo>
                  <a:pt x="1661" y="1462"/>
                </a:lnTo>
                <a:lnTo>
                  <a:pt x="1672" y="1471"/>
                </a:lnTo>
                <a:lnTo>
                  <a:pt x="1681" y="1478"/>
                </a:lnTo>
                <a:lnTo>
                  <a:pt x="1684" y="1481"/>
                </a:lnTo>
                <a:lnTo>
                  <a:pt x="1686" y="1484"/>
                </a:lnTo>
                <a:lnTo>
                  <a:pt x="1688" y="1486"/>
                </a:lnTo>
                <a:lnTo>
                  <a:pt x="1688" y="1490"/>
                </a:lnTo>
                <a:lnTo>
                  <a:pt x="1686" y="1503"/>
                </a:lnTo>
                <a:lnTo>
                  <a:pt x="1685" y="1525"/>
                </a:lnTo>
                <a:lnTo>
                  <a:pt x="1684" y="1537"/>
                </a:lnTo>
                <a:lnTo>
                  <a:pt x="1683" y="1547"/>
                </a:lnTo>
                <a:lnTo>
                  <a:pt x="1680" y="1557"/>
                </a:lnTo>
                <a:lnTo>
                  <a:pt x="1677" y="1563"/>
                </a:lnTo>
                <a:lnTo>
                  <a:pt x="1666" y="1571"/>
                </a:lnTo>
                <a:lnTo>
                  <a:pt x="1656" y="1580"/>
                </a:lnTo>
                <a:lnTo>
                  <a:pt x="1651" y="1583"/>
                </a:lnTo>
                <a:lnTo>
                  <a:pt x="1647" y="1586"/>
                </a:lnTo>
                <a:lnTo>
                  <a:pt x="1645" y="1589"/>
                </a:lnTo>
                <a:lnTo>
                  <a:pt x="1645" y="1592"/>
                </a:lnTo>
                <a:lnTo>
                  <a:pt x="1650" y="1601"/>
                </a:lnTo>
                <a:lnTo>
                  <a:pt x="1654" y="1610"/>
                </a:lnTo>
                <a:lnTo>
                  <a:pt x="1656" y="1614"/>
                </a:lnTo>
                <a:lnTo>
                  <a:pt x="1656" y="1617"/>
                </a:lnTo>
                <a:lnTo>
                  <a:pt x="1656" y="1618"/>
                </a:lnTo>
                <a:lnTo>
                  <a:pt x="1655" y="1620"/>
                </a:lnTo>
                <a:lnTo>
                  <a:pt x="1654" y="1621"/>
                </a:lnTo>
                <a:lnTo>
                  <a:pt x="1653" y="1621"/>
                </a:lnTo>
                <a:lnTo>
                  <a:pt x="1647" y="1620"/>
                </a:lnTo>
                <a:lnTo>
                  <a:pt x="1643" y="1617"/>
                </a:lnTo>
                <a:lnTo>
                  <a:pt x="1638" y="1615"/>
                </a:lnTo>
                <a:lnTo>
                  <a:pt x="1634" y="1612"/>
                </a:lnTo>
                <a:lnTo>
                  <a:pt x="1631" y="1609"/>
                </a:lnTo>
                <a:lnTo>
                  <a:pt x="1628" y="1606"/>
                </a:lnTo>
                <a:lnTo>
                  <a:pt x="1625" y="1602"/>
                </a:lnTo>
                <a:lnTo>
                  <a:pt x="1624" y="1599"/>
                </a:lnTo>
                <a:lnTo>
                  <a:pt x="1627" y="1590"/>
                </a:lnTo>
                <a:lnTo>
                  <a:pt x="1631" y="1580"/>
                </a:lnTo>
                <a:lnTo>
                  <a:pt x="1632" y="1573"/>
                </a:lnTo>
                <a:lnTo>
                  <a:pt x="1632" y="1568"/>
                </a:lnTo>
                <a:lnTo>
                  <a:pt x="1631" y="1566"/>
                </a:lnTo>
                <a:lnTo>
                  <a:pt x="1630" y="1563"/>
                </a:lnTo>
                <a:lnTo>
                  <a:pt x="1629" y="1561"/>
                </a:lnTo>
                <a:lnTo>
                  <a:pt x="1625" y="1559"/>
                </a:lnTo>
                <a:lnTo>
                  <a:pt x="1620" y="1556"/>
                </a:lnTo>
                <a:lnTo>
                  <a:pt x="1617" y="1551"/>
                </a:lnTo>
                <a:lnTo>
                  <a:pt x="1615" y="1548"/>
                </a:lnTo>
                <a:lnTo>
                  <a:pt x="1615" y="1546"/>
                </a:lnTo>
                <a:lnTo>
                  <a:pt x="1616" y="1543"/>
                </a:lnTo>
                <a:lnTo>
                  <a:pt x="1617" y="1542"/>
                </a:lnTo>
                <a:lnTo>
                  <a:pt x="1620" y="1541"/>
                </a:lnTo>
                <a:lnTo>
                  <a:pt x="1623" y="1540"/>
                </a:lnTo>
                <a:lnTo>
                  <a:pt x="1628" y="1540"/>
                </a:lnTo>
                <a:lnTo>
                  <a:pt x="1631" y="1537"/>
                </a:lnTo>
                <a:lnTo>
                  <a:pt x="1634" y="1534"/>
                </a:lnTo>
                <a:lnTo>
                  <a:pt x="1637" y="1528"/>
                </a:lnTo>
                <a:lnTo>
                  <a:pt x="1639" y="1522"/>
                </a:lnTo>
                <a:lnTo>
                  <a:pt x="1641" y="1516"/>
                </a:lnTo>
                <a:lnTo>
                  <a:pt x="1642" y="1509"/>
                </a:lnTo>
                <a:lnTo>
                  <a:pt x="1643" y="1502"/>
                </a:lnTo>
                <a:lnTo>
                  <a:pt x="1642" y="1495"/>
                </a:lnTo>
                <a:lnTo>
                  <a:pt x="1639" y="1485"/>
                </a:lnTo>
                <a:lnTo>
                  <a:pt x="1635" y="1476"/>
                </a:lnTo>
                <a:lnTo>
                  <a:pt x="1631" y="1468"/>
                </a:lnTo>
                <a:lnTo>
                  <a:pt x="1628" y="1463"/>
                </a:lnTo>
                <a:lnTo>
                  <a:pt x="1624" y="1460"/>
                </a:lnTo>
                <a:lnTo>
                  <a:pt x="1621" y="1457"/>
                </a:lnTo>
                <a:lnTo>
                  <a:pt x="1618" y="1456"/>
                </a:lnTo>
                <a:lnTo>
                  <a:pt x="1615" y="1455"/>
                </a:lnTo>
                <a:lnTo>
                  <a:pt x="1612" y="1455"/>
                </a:lnTo>
                <a:lnTo>
                  <a:pt x="1609" y="1457"/>
                </a:lnTo>
                <a:lnTo>
                  <a:pt x="1607" y="1459"/>
                </a:lnTo>
                <a:lnTo>
                  <a:pt x="1592" y="1477"/>
                </a:lnTo>
                <a:lnTo>
                  <a:pt x="1589" y="1480"/>
                </a:lnTo>
                <a:lnTo>
                  <a:pt x="1581" y="1483"/>
                </a:lnTo>
                <a:lnTo>
                  <a:pt x="1566" y="1491"/>
                </a:lnTo>
                <a:lnTo>
                  <a:pt x="1563" y="1494"/>
                </a:lnTo>
                <a:lnTo>
                  <a:pt x="1559" y="1497"/>
                </a:lnTo>
                <a:lnTo>
                  <a:pt x="1557" y="1500"/>
                </a:lnTo>
                <a:lnTo>
                  <a:pt x="1556" y="1504"/>
                </a:lnTo>
                <a:lnTo>
                  <a:pt x="1556" y="1508"/>
                </a:lnTo>
                <a:lnTo>
                  <a:pt x="1556" y="1512"/>
                </a:lnTo>
                <a:lnTo>
                  <a:pt x="1559" y="1517"/>
                </a:lnTo>
                <a:lnTo>
                  <a:pt x="1563" y="1521"/>
                </a:lnTo>
                <a:lnTo>
                  <a:pt x="1572" y="1528"/>
                </a:lnTo>
                <a:lnTo>
                  <a:pt x="1579" y="1534"/>
                </a:lnTo>
                <a:lnTo>
                  <a:pt x="1586" y="1537"/>
                </a:lnTo>
                <a:lnTo>
                  <a:pt x="1590" y="1538"/>
                </a:lnTo>
                <a:lnTo>
                  <a:pt x="1594" y="1539"/>
                </a:lnTo>
                <a:lnTo>
                  <a:pt x="1596" y="1539"/>
                </a:lnTo>
                <a:lnTo>
                  <a:pt x="1597" y="1539"/>
                </a:lnTo>
                <a:lnTo>
                  <a:pt x="1598" y="1540"/>
                </a:lnTo>
                <a:lnTo>
                  <a:pt x="1599" y="1542"/>
                </a:lnTo>
                <a:lnTo>
                  <a:pt x="1601" y="1543"/>
                </a:lnTo>
                <a:lnTo>
                  <a:pt x="1603" y="1544"/>
                </a:lnTo>
                <a:lnTo>
                  <a:pt x="1607" y="1544"/>
                </a:lnTo>
                <a:lnTo>
                  <a:pt x="1610" y="1545"/>
                </a:lnTo>
                <a:lnTo>
                  <a:pt x="1611" y="1546"/>
                </a:lnTo>
                <a:lnTo>
                  <a:pt x="1611" y="1547"/>
                </a:lnTo>
                <a:lnTo>
                  <a:pt x="1608" y="1549"/>
                </a:lnTo>
                <a:lnTo>
                  <a:pt x="1598" y="1555"/>
                </a:lnTo>
                <a:lnTo>
                  <a:pt x="1588" y="1560"/>
                </a:lnTo>
                <a:lnTo>
                  <a:pt x="1584" y="1562"/>
                </a:lnTo>
                <a:lnTo>
                  <a:pt x="1579" y="1564"/>
                </a:lnTo>
                <a:lnTo>
                  <a:pt x="1577" y="1567"/>
                </a:lnTo>
                <a:lnTo>
                  <a:pt x="1576" y="1570"/>
                </a:lnTo>
                <a:lnTo>
                  <a:pt x="1578" y="1578"/>
                </a:lnTo>
                <a:lnTo>
                  <a:pt x="1580" y="1586"/>
                </a:lnTo>
                <a:lnTo>
                  <a:pt x="1581" y="1590"/>
                </a:lnTo>
                <a:lnTo>
                  <a:pt x="1581" y="1592"/>
                </a:lnTo>
                <a:lnTo>
                  <a:pt x="1580" y="1593"/>
                </a:lnTo>
                <a:lnTo>
                  <a:pt x="1577" y="1592"/>
                </a:lnTo>
                <a:lnTo>
                  <a:pt x="1559" y="1589"/>
                </a:lnTo>
                <a:lnTo>
                  <a:pt x="1527" y="1587"/>
                </a:lnTo>
                <a:lnTo>
                  <a:pt x="1510" y="1585"/>
                </a:lnTo>
                <a:lnTo>
                  <a:pt x="1493" y="1583"/>
                </a:lnTo>
                <a:lnTo>
                  <a:pt x="1487" y="1581"/>
                </a:lnTo>
                <a:lnTo>
                  <a:pt x="1481" y="1580"/>
                </a:lnTo>
                <a:lnTo>
                  <a:pt x="1477" y="1578"/>
                </a:lnTo>
                <a:lnTo>
                  <a:pt x="1472" y="1576"/>
                </a:lnTo>
                <a:lnTo>
                  <a:pt x="1458" y="1563"/>
                </a:lnTo>
                <a:lnTo>
                  <a:pt x="1440" y="1550"/>
                </a:lnTo>
                <a:lnTo>
                  <a:pt x="1431" y="1545"/>
                </a:lnTo>
                <a:lnTo>
                  <a:pt x="1422" y="1543"/>
                </a:lnTo>
                <a:lnTo>
                  <a:pt x="1419" y="1543"/>
                </a:lnTo>
                <a:lnTo>
                  <a:pt x="1416" y="1544"/>
                </a:lnTo>
                <a:lnTo>
                  <a:pt x="1413" y="1545"/>
                </a:lnTo>
                <a:lnTo>
                  <a:pt x="1412" y="1548"/>
                </a:lnTo>
                <a:lnTo>
                  <a:pt x="1408" y="1556"/>
                </a:lnTo>
                <a:lnTo>
                  <a:pt x="1403" y="1562"/>
                </a:lnTo>
                <a:lnTo>
                  <a:pt x="1398" y="1568"/>
                </a:lnTo>
                <a:lnTo>
                  <a:pt x="1394" y="1573"/>
                </a:lnTo>
                <a:lnTo>
                  <a:pt x="1390" y="1578"/>
                </a:lnTo>
                <a:lnTo>
                  <a:pt x="1388" y="1583"/>
                </a:lnTo>
                <a:lnTo>
                  <a:pt x="1387" y="1585"/>
                </a:lnTo>
                <a:lnTo>
                  <a:pt x="1387" y="1587"/>
                </a:lnTo>
                <a:lnTo>
                  <a:pt x="1387" y="1589"/>
                </a:lnTo>
                <a:lnTo>
                  <a:pt x="1388" y="1590"/>
                </a:lnTo>
                <a:lnTo>
                  <a:pt x="1394" y="1600"/>
                </a:lnTo>
                <a:lnTo>
                  <a:pt x="1401" y="1611"/>
                </a:lnTo>
                <a:lnTo>
                  <a:pt x="1403" y="1616"/>
                </a:lnTo>
                <a:lnTo>
                  <a:pt x="1405" y="1621"/>
                </a:lnTo>
                <a:lnTo>
                  <a:pt x="1406" y="1625"/>
                </a:lnTo>
                <a:lnTo>
                  <a:pt x="1405" y="1628"/>
                </a:lnTo>
                <a:lnTo>
                  <a:pt x="1400" y="1636"/>
                </a:lnTo>
                <a:lnTo>
                  <a:pt x="1395" y="1649"/>
                </a:lnTo>
                <a:lnTo>
                  <a:pt x="1392" y="1654"/>
                </a:lnTo>
                <a:lnTo>
                  <a:pt x="1389" y="1657"/>
                </a:lnTo>
                <a:lnTo>
                  <a:pt x="1387" y="1657"/>
                </a:lnTo>
                <a:lnTo>
                  <a:pt x="1384" y="1657"/>
                </a:lnTo>
                <a:lnTo>
                  <a:pt x="1383" y="1656"/>
                </a:lnTo>
                <a:lnTo>
                  <a:pt x="1381" y="1653"/>
                </a:lnTo>
                <a:lnTo>
                  <a:pt x="1374" y="1638"/>
                </a:lnTo>
                <a:lnTo>
                  <a:pt x="1366" y="1622"/>
                </a:lnTo>
                <a:lnTo>
                  <a:pt x="1360" y="1614"/>
                </a:lnTo>
                <a:lnTo>
                  <a:pt x="1355" y="1606"/>
                </a:lnTo>
                <a:lnTo>
                  <a:pt x="1350" y="1600"/>
                </a:lnTo>
                <a:lnTo>
                  <a:pt x="1345" y="1594"/>
                </a:lnTo>
                <a:lnTo>
                  <a:pt x="1334" y="1588"/>
                </a:lnTo>
                <a:lnTo>
                  <a:pt x="1327" y="1584"/>
                </a:lnTo>
                <a:lnTo>
                  <a:pt x="1323" y="1583"/>
                </a:lnTo>
                <a:lnTo>
                  <a:pt x="1321" y="1583"/>
                </a:lnTo>
                <a:lnTo>
                  <a:pt x="1301" y="1592"/>
                </a:lnTo>
                <a:lnTo>
                  <a:pt x="1289" y="1592"/>
                </a:lnTo>
                <a:lnTo>
                  <a:pt x="1263" y="1592"/>
                </a:lnTo>
                <a:lnTo>
                  <a:pt x="1236" y="1591"/>
                </a:lnTo>
                <a:lnTo>
                  <a:pt x="1221" y="1589"/>
                </a:lnTo>
                <a:lnTo>
                  <a:pt x="1217" y="1587"/>
                </a:lnTo>
                <a:lnTo>
                  <a:pt x="1214" y="1583"/>
                </a:lnTo>
                <a:lnTo>
                  <a:pt x="1214" y="1581"/>
                </a:lnTo>
                <a:lnTo>
                  <a:pt x="1215" y="1579"/>
                </a:lnTo>
                <a:lnTo>
                  <a:pt x="1217" y="1577"/>
                </a:lnTo>
                <a:lnTo>
                  <a:pt x="1220" y="1574"/>
                </a:lnTo>
                <a:lnTo>
                  <a:pt x="1225" y="1571"/>
                </a:lnTo>
                <a:lnTo>
                  <a:pt x="1229" y="1569"/>
                </a:lnTo>
                <a:lnTo>
                  <a:pt x="1233" y="1565"/>
                </a:lnTo>
                <a:lnTo>
                  <a:pt x="1236" y="1562"/>
                </a:lnTo>
                <a:lnTo>
                  <a:pt x="1239" y="1556"/>
                </a:lnTo>
                <a:lnTo>
                  <a:pt x="1240" y="1552"/>
                </a:lnTo>
                <a:lnTo>
                  <a:pt x="1238" y="1547"/>
                </a:lnTo>
                <a:lnTo>
                  <a:pt x="1232" y="1537"/>
                </a:lnTo>
                <a:lnTo>
                  <a:pt x="1226" y="1530"/>
                </a:lnTo>
                <a:lnTo>
                  <a:pt x="1221" y="1525"/>
                </a:lnTo>
                <a:lnTo>
                  <a:pt x="1218" y="1523"/>
                </a:lnTo>
                <a:lnTo>
                  <a:pt x="1214" y="1521"/>
                </a:lnTo>
                <a:lnTo>
                  <a:pt x="1211" y="1520"/>
                </a:lnTo>
                <a:lnTo>
                  <a:pt x="1206" y="1519"/>
                </a:lnTo>
                <a:lnTo>
                  <a:pt x="1198" y="1519"/>
                </a:lnTo>
                <a:lnTo>
                  <a:pt x="1191" y="1519"/>
                </a:lnTo>
                <a:lnTo>
                  <a:pt x="1185" y="1520"/>
                </a:lnTo>
                <a:lnTo>
                  <a:pt x="1179" y="1521"/>
                </a:lnTo>
                <a:lnTo>
                  <a:pt x="1175" y="1522"/>
                </a:lnTo>
                <a:lnTo>
                  <a:pt x="1170" y="1522"/>
                </a:lnTo>
                <a:lnTo>
                  <a:pt x="1165" y="1521"/>
                </a:lnTo>
                <a:lnTo>
                  <a:pt x="1162" y="1519"/>
                </a:lnTo>
                <a:lnTo>
                  <a:pt x="1155" y="1514"/>
                </a:lnTo>
                <a:lnTo>
                  <a:pt x="1142" y="1505"/>
                </a:lnTo>
                <a:lnTo>
                  <a:pt x="1127" y="1496"/>
                </a:lnTo>
                <a:lnTo>
                  <a:pt x="1109" y="1486"/>
                </a:lnTo>
                <a:lnTo>
                  <a:pt x="1091" y="1478"/>
                </a:lnTo>
                <a:lnTo>
                  <a:pt x="1075" y="1472"/>
                </a:lnTo>
                <a:lnTo>
                  <a:pt x="1068" y="1470"/>
                </a:lnTo>
                <a:lnTo>
                  <a:pt x="1063" y="1470"/>
                </a:lnTo>
                <a:lnTo>
                  <a:pt x="1059" y="1470"/>
                </a:lnTo>
                <a:lnTo>
                  <a:pt x="1055" y="1472"/>
                </a:lnTo>
                <a:lnTo>
                  <a:pt x="1048" y="1481"/>
                </a:lnTo>
                <a:lnTo>
                  <a:pt x="1042" y="1490"/>
                </a:lnTo>
                <a:lnTo>
                  <a:pt x="1039" y="1492"/>
                </a:lnTo>
                <a:lnTo>
                  <a:pt x="1037" y="1493"/>
                </a:lnTo>
                <a:lnTo>
                  <a:pt x="1033" y="1494"/>
                </a:lnTo>
                <a:lnTo>
                  <a:pt x="1030" y="1492"/>
                </a:lnTo>
                <a:lnTo>
                  <a:pt x="1028" y="1489"/>
                </a:lnTo>
                <a:lnTo>
                  <a:pt x="1025" y="1480"/>
                </a:lnTo>
                <a:lnTo>
                  <a:pt x="1022" y="1471"/>
                </a:lnTo>
                <a:lnTo>
                  <a:pt x="1019" y="1461"/>
                </a:lnTo>
                <a:lnTo>
                  <a:pt x="1016" y="1452"/>
                </a:lnTo>
                <a:lnTo>
                  <a:pt x="1013" y="1445"/>
                </a:lnTo>
                <a:lnTo>
                  <a:pt x="1011" y="1442"/>
                </a:lnTo>
                <a:lnTo>
                  <a:pt x="1010" y="1441"/>
                </a:lnTo>
                <a:lnTo>
                  <a:pt x="1008" y="1441"/>
                </a:lnTo>
                <a:lnTo>
                  <a:pt x="1007" y="1442"/>
                </a:lnTo>
                <a:lnTo>
                  <a:pt x="1000" y="1456"/>
                </a:lnTo>
                <a:lnTo>
                  <a:pt x="992" y="1472"/>
                </a:lnTo>
                <a:lnTo>
                  <a:pt x="987" y="1479"/>
                </a:lnTo>
                <a:lnTo>
                  <a:pt x="983" y="1485"/>
                </a:lnTo>
                <a:lnTo>
                  <a:pt x="982" y="1486"/>
                </a:lnTo>
                <a:lnTo>
                  <a:pt x="980" y="1489"/>
                </a:lnTo>
                <a:lnTo>
                  <a:pt x="979" y="1489"/>
                </a:lnTo>
                <a:lnTo>
                  <a:pt x="978" y="1489"/>
                </a:lnTo>
                <a:lnTo>
                  <a:pt x="972" y="1474"/>
                </a:lnTo>
                <a:lnTo>
                  <a:pt x="959" y="1448"/>
                </a:lnTo>
                <a:lnTo>
                  <a:pt x="953" y="1434"/>
                </a:lnTo>
                <a:lnTo>
                  <a:pt x="947" y="1424"/>
                </a:lnTo>
                <a:lnTo>
                  <a:pt x="943" y="1419"/>
                </a:lnTo>
                <a:lnTo>
                  <a:pt x="940" y="1417"/>
                </a:lnTo>
                <a:lnTo>
                  <a:pt x="938" y="1416"/>
                </a:lnTo>
                <a:lnTo>
                  <a:pt x="935" y="1416"/>
                </a:lnTo>
                <a:lnTo>
                  <a:pt x="932" y="1419"/>
                </a:lnTo>
                <a:lnTo>
                  <a:pt x="929" y="1421"/>
                </a:lnTo>
                <a:lnTo>
                  <a:pt x="928" y="1425"/>
                </a:lnTo>
                <a:lnTo>
                  <a:pt x="927" y="1428"/>
                </a:lnTo>
                <a:lnTo>
                  <a:pt x="927" y="1431"/>
                </a:lnTo>
                <a:lnTo>
                  <a:pt x="927" y="1434"/>
                </a:lnTo>
                <a:lnTo>
                  <a:pt x="929" y="1437"/>
                </a:lnTo>
                <a:lnTo>
                  <a:pt x="930" y="1441"/>
                </a:lnTo>
                <a:lnTo>
                  <a:pt x="932" y="1445"/>
                </a:lnTo>
                <a:lnTo>
                  <a:pt x="934" y="1448"/>
                </a:lnTo>
                <a:lnTo>
                  <a:pt x="934" y="1451"/>
                </a:lnTo>
                <a:lnTo>
                  <a:pt x="934" y="1454"/>
                </a:lnTo>
                <a:lnTo>
                  <a:pt x="933" y="1457"/>
                </a:lnTo>
                <a:lnTo>
                  <a:pt x="930" y="1461"/>
                </a:lnTo>
                <a:lnTo>
                  <a:pt x="927" y="1464"/>
                </a:lnTo>
                <a:lnTo>
                  <a:pt x="922" y="1468"/>
                </a:lnTo>
                <a:lnTo>
                  <a:pt x="919" y="1469"/>
                </a:lnTo>
                <a:lnTo>
                  <a:pt x="916" y="1470"/>
                </a:lnTo>
                <a:lnTo>
                  <a:pt x="913" y="1469"/>
                </a:lnTo>
                <a:lnTo>
                  <a:pt x="910" y="1469"/>
                </a:lnTo>
                <a:lnTo>
                  <a:pt x="904" y="1465"/>
                </a:lnTo>
                <a:lnTo>
                  <a:pt x="897" y="1462"/>
                </a:lnTo>
                <a:lnTo>
                  <a:pt x="891" y="1459"/>
                </a:lnTo>
                <a:lnTo>
                  <a:pt x="886" y="1457"/>
                </a:lnTo>
                <a:lnTo>
                  <a:pt x="883" y="1457"/>
                </a:lnTo>
                <a:lnTo>
                  <a:pt x="881" y="1458"/>
                </a:lnTo>
                <a:lnTo>
                  <a:pt x="879" y="1460"/>
                </a:lnTo>
                <a:lnTo>
                  <a:pt x="878" y="1462"/>
                </a:lnTo>
                <a:lnTo>
                  <a:pt x="875" y="1468"/>
                </a:lnTo>
                <a:lnTo>
                  <a:pt x="873" y="1472"/>
                </a:lnTo>
                <a:lnTo>
                  <a:pt x="870" y="1475"/>
                </a:lnTo>
                <a:lnTo>
                  <a:pt x="868" y="1478"/>
                </a:lnTo>
                <a:lnTo>
                  <a:pt x="862" y="1484"/>
                </a:lnTo>
                <a:lnTo>
                  <a:pt x="854" y="1495"/>
                </a:lnTo>
                <a:lnTo>
                  <a:pt x="846" y="1511"/>
                </a:lnTo>
                <a:lnTo>
                  <a:pt x="838" y="1524"/>
                </a:lnTo>
                <a:lnTo>
                  <a:pt x="831" y="1536"/>
                </a:lnTo>
                <a:lnTo>
                  <a:pt x="829" y="1539"/>
                </a:lnTo>
                <a:lnTo>
                  <a:pt x="824" y="1538"/>
                </a:lnTo>
                <a:lnTo>
                  <a:pt x="815" y="1534"/>
                </a:lnTo>
                <a:lnTo>
                  <a:pt x="810" y="1530"/>
                </a:lnTo>
                <a:lnTo>
                  <a:pt x="806" y="1527"/>
                </a:lnTo>
                <a:lnTo>
                  <a:pt x="805" y="1526"/>
                </a:lnTo>
                <a:lnTo>
                  <a:pt x="804" y="1524"/>
                </a:lnTo>
                <a:lnTo>
                  <a:pt x="804" y="1523"/>
                </a:lnTo>
                <a:lnTo>
                  <a:pt x="804" y="1521"/>
                </a:lnTo>
                <a:lnTo>
                  <a:pt x="805" y="1517"/>
                </a:lnTo>
                <a:lnTo>
                  <a:pt x="805" y="1512"/>
                </a:lnTo>
                <a:lnTo>
                  <a:pt x="803" y="1505"/>
                </a:lnTo>
                <a:lnTo>
                  <a:pt x="801" y="1499"/>
                </a:lnTo>
                <a:lnTo>
                  <a:pt x="799" y="1494"/>
                </a:lnTo>
                <a:lnTo>
                  <a:pt x="796" y="1489"/>
                </a:lnTo>
                <a:lnTo>
                  <a:pt x="791" y="1485"/>
                </a:lnTo>
                <a:lnTo>
                  <a:pt x="787" y="1485"/>
                </a:lnTo>
                <a:lnTo>
                  <a:pt x="779" y="1485"/>
                </a:lnTo>
                <a:lnTo>
                  <a:pt x="772" y="1487"/>
                </a:lnTo>
                <a:lnTo>
                  <a:pt x="768" y="1490"/>
                </a:lnTo>
                <a:lnTo>
                  <a:pt x="766" y="1492"/>
                </a:lnTo>
                <a:lnTo>
                  <a:pt x="766" y="1497"/>
                </a:lnTo>
                <a:lnTo>
                  <a:pt x="767" y="1502"/>
                </a:lnTo>
                <a:lnTo>
                  <a:pt x="770" y="1515"/>
                </a:lnTo>
                <a:lnTo>
                  <a:pt x="773" y="1525"/>
                </a:lnTo>
                <a:lnTo>
                  <a:pt x="773" y="1529"/>
                </a:lnTo>
                <a:lnTo>
                  <a:pt x="773" y="1533"/>
                </a:lnTo>
                <a:lnTo>
                  <a:pt x="772" y="1535"/>
                </a:lnTo>
                <a:lnTo>
                  <a:pt x="770" y="1538"/>
                </a:lnTo>
                <a:lnTo>
                  <a:pt x="768" y="1539"/>
                </a:lnTo>
                <a:lnTo>
                  <a:pt x="764" y="1538"/>
                </a:lnTo>
                <a:lnTo>
                  <a:pt x="760" y="1537"/>
                </a:lnTo>
                <a:lnTo>
                  <a:pt x="756" y="1535"/>
                </a:lnTo>
                <a:lnTo>
                  <a:pt x="747" y="1531"/>
                </a:lnTo>
                <a:lnTo>
                  <a:pt x="743" y="1529"/>
                </a:lnTo>
                <a:lnTo>
                  <a:pt x="737" y="1522"/>
                </a:lnTo>
                <a:lnTo>
                  <a:pt x="719" y="1505"/>
                </a:lnTo>
                <a:lnTo>
                  <a:pt x="710" y="1497"/>
                </a:lnTo>
                <a:lnTo>
                  <a:pt x="699" y="1489"/>
                </a:lnTo>
                <a:lnTo>
                  <a:pt x="689" y="1483"/>
                </a:lnTo>
                <a:lnTo>
                  <a:pt x="681" y="1480"/>
                </a:lnTo>
                <a:lnTo>
                  <a:pt x="663" y="1477"/>
                </a:lnTo>
                <a:lnTo>
                  <a:pt x="641" y="1473"/>
                </a:lnTo>
                <a:lnTo>
                  <a:pt x="623" y="1469"/>
                </a:lnTo>
                <a:lnTo>
                  <a:pt x="615" y="1468"/>
                </a:lnTo>
                <a:lnTo>
                  <a:pt x="613" y="1463"/>
                </a:lnTo>
                <a:lnTo>
                  <a:pt x="608" y="1454"/>
                </a:lnTo>
                <a:lnTo>
                  <a:pt x="604" y="1449"/>
                </a:lnTo>
                <a:lnTo>
                  <a:pt x="598" y="1446"/>
                </a:lnTo>
                <a:lnTo>
                  <a:pt x="594" y="1446"/>
                </a:lnTo>
                <a:lnTo>
                  <a:pt x="590" y="1445"/>
                </a:lnTo>
                <a:lnTo>
                  <a:pt x="585" y="1446"/>
                </a:lnTo>
                <a:lnTo>
                  <a:pt x="581" y="1447"/>
                </a:lnTo>
                <a:lnTo>
                  <a:pt x="564" y="1454"/>
                </a:lnTo>
                <a:lnTo>
                  <a:pt x="556" y="1459"/>
                </a:lnTo>
                <a:lnTo>
                  <a:pt x="553" y="1461"/>
                </a:lnTo>
                <a:lnTo>
                  <a:pt x="550" y="1461"/>
                </a:lnTo>
                <a:lnTo>
                  <a:pt x="547" y="1460"/>
                </a:lnTo>
                <a:lnTo>
                  <a:pt x="544" y="1457"/>
                </a:lnTo>
                <a:lnTo>
                  <a:pt x="537" y="1450"/>
                </a:lnTo>
                <a:lnTo>
                  <a:pt x="528" y="1442"/>
                </a:lnTo>
                <a:lnTo>
                  <a:pt x="524" y="1439"/>
                </a:lnTo>
                <a:lnTo>
                  <a:pt x="521" y="1438"/>
                </a:lnTo>
                <a:lnTo>
                  <a:pt x="518" y="1438"/>
                </a:lnTo>
                <a:lnTo>
                  <a:pt x="516" y="1440"/>
                </a:lnTo>
                <a:lnTo>
                  <a:pt x="514" y="1442"/>
                </a:lnTo>
                <a:lnTo>
                  <a:pt x="510" y="1443"/>
                </a:lnTo>
                <a:lnTo>
                  <a:pt x="505" y="1445"/>
                </a:lnTo>
                <a:lnTo>
                  <a:pt x="501" y="1446"/>
                </a:lnTo>
                <a:lnTo>
                  <a:pt x="494" y="1446"/>
                </a:lnTo>
                <a:lnTo>
                  <a:pt x="491" y="1446"/>
                </a:lnTo>
                <a:lnTo>
                  <a:pt x="482" y="1441"/>
                </a:lnTo>
                <a:lnTo>
                  <a:pt x="465" y="1431"/>
                </a:lnTo>
                <a:lnTo>
                  <a:pt x="454" y="1426"/>
                </a:lnTo>
                <a:lnTo>
                  <a:pt x="445" y="1421"/>
                </a:lnTo>
                <a:lnTo>
                  <a:pt x="437" y="1419"/>
                </a:lnTo>
                <a:lnTo>
                  <a:pt x="433" y="1419"/>
                </a:lnTo>
                <a:lnTo>
                  <a:pt x="427" y="1425"/>
                </a:lnTo>
                <a:lnTo>
                  <a:pt x="421" y="1431"/>
                </a:lnTo>
                <a:lnTo>
                  <a:pt x="418" y="1433"/>
                </a:lnTo>
                <a:lnTo>
                  <a:pt x="415" y="1434"/>
                </a:lnTo>
                <a:lnTo>
                  <a:pt x="413" y="1434"/>
                </a:lnTo>
                <a:lnTo>
                  <a:pt x="411" y="1431"/>
                </a:lnTo>
                <a:lnTo>
                  <a:pt x="408" y="1419"/>
                </a:lnTo>
                <a:lnTo>
                  <a:pt x="403" y="1406"/>
                </a:lnTo>
                <a:lnTo>
                  <a:pt x="399" y="1399"/>
                </a:lnTo>
                <a:lnTo>
                  <a:pt x="394" y="1395"/>
                </a:lnTo>
                <a:lnTo>
                  <a:pt x="391" y="1394"/>
                </a:lnTo>
                <a:lnTo>
                  <a:pt x="388" y="1394"/>
                </a:lnTo>
                <a:lnTo>
                  <a:pt x="385" y="1394"/>
                </a:lnTo>
                <a:lnTo>
                  <a:pt x="382" y="1394"/>
                </a:lnTo>
                <a:lnTo>
                  <a:pt x="374" y="1397"/>
                </a:lnTo>
                <a:lnTo>
                  <a:pt x="369" y="1401"/>
                </a:lnTo>
                <a:lnTo>
                  <a:pt x="366" y="1405"/>
                </a:lnTo>
                <a:lnTo>
                  <a:pt x="363" y="1408"/>
                </a:lnTo>
                <a:lnTo>
                  <a:pt x="361" y="1414"/>
                </a:lnTo>
                <a:lnTo>
                  <a:pt x="360" y="1419"/>
                </a:lnTo>
                <a:lnTo>
                  <a:pt x="360" y="1423"/>
                </a:lnTo>
                <a:lnTo>
                  <a:pt x="360" y="1425"/>
                </a:lnTo>
                <a:lnTo>
                  <a:pt x="360" y="1426"/>
                </a:lnTo>
                <a:lnTo>
                  <a:pt x="358" y="1426"/>
                </a:lnTo>
                <a:lnTo>
                  <a:pt x="356" y="1423"/>
                </a:lnTo>
                <a:lnTo>
                  <a:pt x="353" y="1415"/>
                </a:lnTo>
                <a:lnTo>
                  <a:pt x="352" y="1408"/>
                </a:lnTo>
                <a:lnTo>
                  <a:pt x="352" y="1403"/>
                </a:lnTo>
                <a:lnTo>
                  <a:pt x="351" y="1399"/>
                </a:lnTo>
                <a:lnTo>
                  <a:pt x="349" y="1395"/>
                </a:lnTo>
                <a:lnTo>
                  <a:pt x="346" y="1392"/>
                </a:lnTo>
                <a:lnTo>
                  <a:pt x="343" y="1390"/>
                </a:lnTo>
                <a:lnTo>
                  <a:pt x="337" y="1386"/>
                </a:lnTo>
                <a:lnTo>
                  <a:pt x="327" y="1381"/>
                </a:lnTo>
                <a:lnTo>
                  <a:pt x="321" y="1377"/>
                </a:lnTo>
                <a:lnTo>
                  <a:pt x="316" y="1376"/>
                </a:lnTo>
                <a:lnTo>
                  <a:pt x="313" y="1376"/>
                </a:lnTo>
                <a:lnTo>
                  <a:pt x="309" y="1376"/>
                </a:lnTo>
                <a:lnTo>
                  <a:pt x="306" y="1376"/>
                </a:lnTo>
                <a:lnTo>
                  <a:pt x="303" y="1379"/>
                </a:lnTo>
                <a:lnTo>
                  <a:pt x="290" y="1387"/>
                </a:lnTo>
                <a:lnTo>
                  <a:pt x="273" y="1398"/>
                </a:lnTo>
                <a:lnTo>
                  <a:pt x="265" y="1403"/>
                </a:lnTo>
                <a:lnTo>
                  <a:pt x="259" y="1407"/>
                </a:lnTo>
                <a:lnTo>
                  <a:pt x="256" y="1407"/>
                </a:lnTo>
                <a:lnTo>
                  <a:pt x="254" y="1408"/>
                </a:lnTo>
                <a:lnTo>
                  <a:pt x="252" y="1408"/>
                </a:lnTo>
                <a:lnTo>
                  <a:pt x="251" y="1407"/>
                </a:lnTo>
                <a:lnTo>
                  <a:pt x="249" y="1403"/>
                </a:lnTo>
                <a:lnTo>
                  <a:pt x="247" y="1401"/>
                </a:lnTo>
                <a:lnTo>
                  <a:pt x="245" y="1401"/>
                </a:lnTo>
                <a:lnTo>
                  <a:pt x="242" y="1403"/>
                </a:lnTo>
                <a:lnTo>
                  <a:pt x="236" y="1407"/>
                </a:lnTo>
                <a:lnTo>
                  <a:pt x="230" y="1411"/>
                </a:lnTo>
                <a:lnTo>
                  <a:pt x="225" y="1417"/>
                </a:lnTo>
                <a:lnTo>
                  <a:pt x="215" y="1427"/>
                </a:lnTo>
                <a:lnTo>
                  <a:pt x="209" y="1431"/>
                </a:lnTo>
                <a:lnTo>
                  <a:pt x="203" y="1435"/>
                </a:lnTo>
                <a:lnTo>
                  <a:pt x="197" y="1438"/>
                </a:lnTo>
                <a:lnTo>
                  <a:pt x="192" y="1440"/>
                </a:lnTo>
                <a:lnTo>
                  <a:pt x="187" y="1441"/>
                </a:lnTo>
                <a:lnTo>
                  <a:pt x="183" y="1443"/>
                </a:lnTo>
                <a:lnTo>
                  <a:pt x="177" y="1447"/>
                </a:lnTo>
                <a:lnTo>
                  <a:pt x="173" y="1451"/>
                </a:lnTo>
                <a:lnTo>
                  <a:pt x="169" y="1456"/>
                </a:lnTo>
                <a:lnTo>
                  <a:pt x="165" y="1461"/>
                </a:lnTo>
                <a:lnTo>
                  <a:pt x="163" y="1467"/>
                </a:lnTo>
                <a:lnTo>
                  <a:pt x="160" y="1472"/>
                </a:lnTo>
                <a:lnTo>
                  <a:pt x="154" y="1484"/>
                </a:lnTo>
                <a:lnTo>
                  <a:pt x="147" y="1499"/>
                </a:lnTo>
                <a:lnTo>
                  <a:pt x="143" y="1505"/>
                </a:lnTo>
                <a:lnTo>
                  <a:pt x="139" y="1511"/>
                </a:lnTo>
                <a:lnTo>
                  <a:pt x="136" y="1514"/>
                </a:lnTo>
                <a:lnTo>
                  <a:pt x="133" y="1516"/>
                </a:lnTo>
                <a:lnTo>
                  <a:pt x="124" y="1518"/>
                </a:lnTo>
                <a:lnTo>
                  <a:pt x="108" y="1523"/>
                </a:lnTo>
                <a:lnTo>
                  <a:pt x="100" y="1525"/>
                </a:lnTo>
                <a:lnTo>
                  <a:pt x="93" y="1528"/>
                </a:lnTo>
                <a:lnTo>
                  <a:pt x="87" y="1531"/>
                </a:lnTo>
                <a:lnTo>
                  <a:pt x="84" y="1535"/>
                </a:lnTo>
                <a:lnTo>
                  <a:pt x="80" y="1541"/>
                </a:lnTo>
                <a:lnTo>
                  <a:pt x="77" y="1548"/>
                </a:lnTo>
                <a:lnTo>
                  <a:pt x="76" y="1552"/>
                </a:lnTo>
                <a:lnTo>
                  <a:pt x="75" y="1556"/>
                </a:lnTo>
                <a:lnTo>
                  <a:pt x="75" y="1559"/>
                </a:lnTo>
                <a:lnTo>
                  <a:pt x="77" y="1561"/>
                </a:lnTo>
                <a:lnTo>
                  <a:pt x="88" y="1568"/>
                </a:lnTo>
                <a:lnTo>
                  <a:pt x="107" y="1582"/>
                </a:lnTo>
                <a:lnTo>
                  <a:pt x="117" y="1589"/>
                </a:lnTo>
                <a:lnTo>
                  <a:pt x="125" y="1595"/>
                </a:lnTo>
                <a:lnTo>
                  <a:pt x="131" y="1602"/>
                </a:lnTo>
                <a:lnTo>
                  <a:pt x="135" y="1607"/>
                </a:lnTo>
                <a:lnTo>
                  <a:pt x="139" y="1617"/>
                </a:lnTo>
                <a:lnTo>
                  <a:pt x="146" y="1628"/>
                </a:lnTo>
                <a:lnTo>
                  <a:pt x="153" y="1636"/>
                </a:lnTo>
                <a:lnTo>
                  <a:pt x="155" y="1639"/>
                </a:lnTo>
                <a:lnTo>
                  <a:pt x="160" y="1639"/>
                </a:lnTo>
                <a:lnTo>
                  <a:pt x="169" y="1638"/>
                </a:lnTo>
                <a:lnTo>
                  <a:pt x="173" y="1639"/>
                </a:lnTo>
                <a:lnTo>
                  <a:pt x="177" y="1640"/>
                </a:lnTo>
                <a:lnTo>
                  <a:pt x="180" y="1642"/>
                </a:lnTo>
                <a:lnTo>
                  <a:pt x="181" y="1643"/>
                </a:lnTo>
                <a:lnTo>
                  <a:pt x="182" y="1644"/>
                </a:lnTo>
                <a:lnTo>
                  <a:pt x="182" y="1646"/>
                </a:lnTo>
                <a:lnTo>
                  <a:pt x="185" y="1658"/>
                </a:lnTo>
                <a:lnTo>
                  <a:pt x="189" y="1667"/>
                </a:lnTo>
                <a:lnTo>
                  <a:pt x="189" y="1670"/>
                </a:lnTo>
                <a:lnTo>
                  <a:pt x="189" y="1674"/>
                </a:lnTo>
                <a:lnTo>
                  <a:pt x="189" y="1679"/>
                </a:lnTo>
                <a:lnTo>
                  <a:pt x="187" y="1684"/>
                </a:lnTo>
                <a:lnTo>
                  <a:pt x="186" y="1687"/>
                </a:lnTo>
                <a:lnTo>
                  <a:pt x="185" y="1688"/>
                </a:lnTo>
                <a:lnTo>
                  <a:pt x="183" y="1689"/>
                </a:lnTo>
                <a:lnTo>
                  <a:pt x="181" y="1690"/>
                </a:lnTo>
                <a:lnTo>
                  <a:pt x="177" y="1690"/>
                </a:lnTo>
                <a:lnTo>
                  <a:pt x="174" y="1688"/>
                </a:lnTo>
                <a:lnTo>
                  <a:pt x="170" y="1686"/>
                </a:lnTo>
                <a:lnTo>
                  <a:pt x="165" y="1683"/>
                </a:lnTo>
                <a:lnTo>
                  <a:pt x="140" y="1664"/>
                </a:lnTo>
                <a:lnTo>
                  <a:pt x="136" y="1659"/>
                </a:lnTo>
                <a:lnTo>
                  <a:pt x="130" y="1664"/>
                </a:lnTo>
                <a:lnTo>
                  <a:pt x="119" y="1675"/>
                </a:lnTo>
                <a:lnTo>
                  <a:pt x="103" y="1689"/>
                </a:lnTo>
                <a:lnTo>
                  <a:pt x="88" y="1700"/>
                </a:lnTo>
                <a:lnTo>
                  <a:pt x="81" y="1704"/>
                </a:lnTo>
                <a:lnTo>
                  <a:pt x="74" y="1706"/>
                </a:lnTo>
                <a:lnTo>
                  <a:pt x="66" y="1709"/>
                </a:lnTo>
                <a:lnTo>
                  <a:pt x="60" y="1710"/>
                </a:lnTo>
                <a:lnTo>
                  <a:pt x="55" y="1710"/>
                </a:lnTo>
                <a:lnTo>
                  <a:pt x="51" y="1712"/>
                </a:lnTo>
                <a:lnTo>
                  <a:pt x="50" y="1712"/>
                </a:lnTo>
                <a:lnTo>
                  <a:pt x="49" y="1713"/>
                </a:lnTo>
                <a:lnTo>
                  <a:pt x="49" y="1714"/>
                </a:lnTo>
                <a:lnTo>
                  <a:pt x="50" y="1716"/>
                </a:lnTo>
                <a:lnTo>
                  <a:pt x="65" y="1730"/>
                </a:lnTo>
                <a:lnTo>
                  <a:pt x="79" y="1741"/>
                </a:lnTo>
                <a:lnTo>
                  <a:pt x="79" y="1746"/>
                </a:lnTo>
                <a:lnTo>
                  <a:pt x="81" y="1754"/>
                </a:lnTo>
                <a:lnTo>
                  <a:pt x="82" y="1758"/>
                </a:lnTo>
                <a:lnTo>
                  <a:pt x="84" y="1761"/>
                </a:lnTo>
                <a:lnTo>
                  <a:pt x="87" y="1764"/>
                </a:lnTo>
                <a:lnTo>
                  <a:pt x="92" y="1767"/>
                </a:lnTo>
                <a:lnTo>
                  <a:pt x="97" y="1770"/>
                </a:lnTo>
                <a:lnTo>
                  <a:pt x="105" y="1772"/>
                </a:lnTo>
                <a:lnTo>
                  <a:pt x="114" y="1776"/>
                </a:lnTo>
                <a:lnTo>
                  <a:pt x="123" y="1777"/>
                </a:lnTo>
                <a:lnTo>
                  <a:pt x="140" y="1780"/>
                </a:lnTo>
                <a:lnTo>
                  <a:pt x="150" y="1782"/>
                </a:lnTo>
                <a:lnTo>
                  <a:pt x="157" y="1782"/>
                </a:lnTo>
                <a:lnTo>
                  <a:pt x="164" y="1780"/>
                </a:lnTo>
                <a:lnTo>
                  <a:pt x="168" y="1779"/>
                </a:lnTo>
                <a:lnTo>
                  <a:pt x="172" y="1778"/>
                </a:lnTo>
                <a:lnTo>
                  <a:pt x="174" y="1776"/>
                </a:lnTo>
                <a:lnTo>
                  <a:pt x="176" y="1774"/>
                </a:lnTo>
                <a:lnTo>
                  <a:pt x="181" y="1767"/>
                </a:lnTo>
                <a:lnTo>
                  <a:pt x="185" y="1762"/>
                </a:lnTo>
                <a:lnTo>
                  <a:pt x="187" y="1761"/>
                </a:lnTo>
                <a:lnTo>
                  <a:pt x="188" y="1761"/>
                </a:lnTo>
                <a:lnTo>
                  <a:pt x="189" y="1762"/>
                </a:lnTo>
                <a:lnTo>
                  <a:pt x="190" y="1765"/>
                </a:lnTo>
                <a:lnTo>
                  <a:pt x="192" y="1775"/>
                </a:lnTo>
                <a:lnTo>
                  <a:pt x="196" y="1782"/>
                </a:lnTo>
                <a:lnTo>
                  <a:pt x="199" y="1787"/>
                </a:lnTo>
                <a:lnTo>
                  <a:pt x="204" y="1790"/>
                </a:lnTo>
                <a:lnTo>
                  <a:pt x="206" y="1794"/>
                </a:lnTo>
                <a:lnTo>
                  <a:pt x="206" y="1798"/>
                </a:lnTo>
                <a:lnTo>
                  <a:pt x="204" y="1802"/>
                </a:lnTo>
                <a:lnTo>
                  <a:pt x="199" y="1805"/>
                </a:lnTo>
                <a:lnTo>
                  <a:pt x="182" y="1811"/>
                </a:lnTo>
                <a:lnTo>
                  <a:pt x="169" y="1813"/>
                </a:lnTo>
                <a:lnTo>
                  <a:pt x="168" y="1819"/>
                </a:lnTo>
                <a:lnTo>
                  <a:pt x="165" y="1828"/>
                </a:lnTo>
                <a:lnTo>
                  <a:pt x="163" y="1833"/>
                </a:lnTo>
                <a:lnTo>
                  <a:pt x="160" y="1837"/>
                </a:lnTo>
                <a:lnTo>
                  <a:pt x="159" y="1838"/>
                </a:lnTo>
                <a:lnTo>
                  <a:pt x="158" y="1840"/>
                </a:lnTo>
                <a:lnTo>
                  <a:pt x="155" y="1841"/>
                </a:lnTo>
                <a:lnTo>
                  <a:pt x="154" y="1840"/>
                </a:lnTo>
                <a:lnTo>
                  <a:pt x="148" y="1835"/>
                </a:lnTo>
                <a:lnTo>
                  <a:pt x="142" y="1832"/>
                </a:lnTo>
                <a:lnTo>
                  <a:pt x="139" y="1831"/>
                </a:lnTo>
                <a:lnTo>
                  <a:pt x="136" y="1831"/>
                </a:lnTo>
                <a:lnTo>
                  <a:pt x="132" y="1832"/>
                </a:lnTo>
                <a:lnTo>
                  <a:pt x="130" y="1835"/>
                </a:lnTo>
                <a:lnTo>
                  <a:pt x="123" y="1843"/>
                </a:lnTo>
                <a:lnTo>
                  <a:pt x="117" y="1850"/>
                </a:lnTo>
                <a:lnTo>
                  <a:pt x="114" y="1853"/>
                </a:lnTo>
                <a:lnTo>
                  <a:pt x="113" y="1856"/>
                </a:lnTo>
                <a:lnTo>
                  <a:pt x="111" y="1859"/>
                </a:lnTo>
                <a:lnTo>
                  <a:pt x="113" y="1863"/>
                </a:lnTo>
                <a:lnTo>
                  <a:pt x="114" y="1866"/>
                </a:lnTo>
                <a:lnTo>
                  <a:pt x="115" y="1868"/>
                </a:lnTo>
                <a:lnTo>
                  <a:pt x="114" y="1870"/>
                </a:lnTo>
                <a:lnTo>
                  <a:pt x="114" y="1872"/>
                </a:lnTo>
                <a:lnTo>
                  <a:pt x="110" y="1874"/>
                </a:lnTo>
                <a:lnTo>
                  <a:pt x="107" y="1878"/>
                </a:lnTo>
                <a:lnTo>
                  <a:pt x="102" y="1880"/>
                </a:lnTo>
                <a:lnTo>
                  <a:pt x="97" y="1882"/>
                </a:lnTo>
                <a:lnTo>
                  <a:pt x="95" y="1885"/>
                </a:lnTo>
                <a:lnTo>
                  <a:pt x="93" y="1889"/>
                </a:lnTo>
                <a:lnTo>
                  <a:pt x="92" y="1895"/>
                </a:lnTo>
                <a:lnTo>
                  <a:pt x="92" y="1904"/>
                </a:lnTo>
                <a:lnTo>
                  <a:pt x="92" y="1915"/>
                </a:lnTo>
                <a:lnTo>
                  <a:pt x="94" y="1924"/>
                </a:lnTo>
                <a:lnTo>
                  <a:pt x="96" y="1933"/>
                </a:lnTo>
                <a:lnTo>
                  <a:pt x="98" y="1940"/>
                </a:lnTo>
                <a:lnTo>
                  <a:pt x="101" y="1947"/>
                </a:lnTo>
                <a:lnTo>
                  <a:pt x="104" y="1953"/>
                </a:lnTo>
                <a:lnTo>
                  <a:pt x="107" y="1957"/>
                </a:lnTo>
                <a:lnTo>
                  <a:pt x="110" y="1960"/>
                </a:lnTo>
                <a:lnTo>
                  <a:pt x="122" y="1971"/>
                </a:lnTo>
                <a:lnTo>
                  <a:pt x="141" y="1990"/>
                </a:lnTo>
                <a:lnTo>
                  <a:pt x="144" y="1994"/>
                </a:lnTo>
                <a:lnTo>
                  <a:pt x="148" y="1996"/>
                </a:lnTo>
                <a:lnTo>
                  <a:pt x="151" y="1996"/>
                </a:lnTo>
                <a:lnTo>
                  <a:pt x="154" y="1997"/>
                </a:lnTo>
                <a:lnTo>
                  <a:pt x="161" y="1996"/>
                </a:lnTo>
                <a:lnTo>
                  <a:pt x="167" y="1993"/>
                </a:lnTo>
                <a:lnTo>
                  <a:pt x="172" y="1989"/>
                </a:lnTo>
                <a:lnTo>
                  <a:pt x="177" y="1987"/>
                </a:lnTo>
                <a:lnTo>
                  <a:pt x="179" y="1986"/>
                </a:lnTo>
                <a:lnTo>
                  <a:pt x="181" y="1986"/>
                </a:lnTo>
                <a:lnTo>
                  <a:pt x="183" y="1986"/>
                </a:lnTo>
                <a:lnTo>
                  <a:pt x="184" y="1987"/>
                </a:lnTo>
                <a:lnTo>
                  <a:pt x="185" y="1991"/>
                </a:lnTo>
                <a:lnTo>
                  <a:pt x="185" y="1999"/>
                </a:lnTo>
                <a:lnTo>
                  <a:pt x="184" y="2006"/>
                </a:lnTo>
                <a:lnTo>
                  <a:pt x="182" y="2015"/>
                </a:lnTo>
                <a:lnTo>
                  <a:pt x="182" y="2024"/>
                </a:lnTo>
                <a:lnTo>
                  <a:pt x="182" y="2032"/>
                </a:lnTo>
                <a:lnTo>
                  <a:pt x="182" y="2037"/>
                </a:lnTo>
                <a:lnTo>
                  <a:pt x="184" y="2041"/>
                </a:lnTo>
                <a:lnTo>
                  <a:pt x="185" y="2044"/>
                </a:lnTo>
                <a:lnTo>
                  <a:pt x="188" y="2047"/>
                </a:lnTo>
                <a:lnTo>
                  <a:pt x="194" y="2051"/>
                </a:lnTo>
                <a:lnTo>
                  <a:pt x="201" y="2053"/>
                </a:lnTo>
                <a:lnTo>
                  <a:pt x="207" y="2053"/>
                </a:lnTo>
                <a:lnTo>
                  <a:pt x="213" y="2052"/>
                </a:lnTo>
                <a:lnTo>
                  <a:pt x="218" y="2051"/>
                </a:lnTo>
                <a:lnTo>
                  <a:pt x="224" y="2048"/>
                </a:lnTo>
                <a:lnTo>
                  <a:pt x="228" y="2046"/>
                </a:lnTo>
                <a:lnTo>
                  <a:pt x="231" y="2043"/>
                </a:lnTo>
                <a:lnTo>
                  <a:pt x="233" y="2042"/>
                </a:lnTo>
                <a:lnTo>
                  <a:pt x="235" y="2042"/>
                </a:lnTo>
                <a:lnTo>
                  <a:pt x="237" y="2043"/>
                </a:lnTo>
                <a:lnTo>
                  <a:pt x="239" y="2045"/>
                </a:lnTo>
                <a:lnTo>
                  <a:pt x="241" y="2048"/>
                </a:lnTo>
                <a:lnTo>
                  <a:pt x="245" y="2050"/>
                </a:lnTo>
                <a:lnTo>
                  <a:pt x="248" y="2051"/>
                </a:lnTo>
                <a:lnTo>
                  <a:pt x="252" y="2052"/>
                </a:lnTo>
                <a:lnTo>
                  <a:pt x="258" y="2051"/>
                </a:lnTo>
                <a:lnTo>
                  <a:pt x="264" y="2048"/>
                </a:lnTo>
                <a:lnTo>
                  <a:pt x="272" y="2044"/>
                </a:lnTo>
                <a:lnTo>
                  <a:pt x="279" y="2040"/>
                </a:lnTo>
                <a:lnTo>
                  <a:pt x="285" y="2035"/>
                </a:lnTo>
                <a:lnTo>
                  <a:pt x="291" y="2033"/>
                </a:lnTo>
                <a:lnTo>
                  <a:pt x="292" y="2032"/>
                </a:lnTo>
                <a:lnTo>
                  <a:pt x="293" y="2033"/>
                </a:lnTo>
                <a:lnTo>
                  <a:pt x="293" y="2033"/>
                </a:lnTo>
                <a:lnTo>
                  <a:pt x="293" y="2035"/>
                </a:lnTo>
                <a:lnTo>
                  <a:pt x="287" y="2043"/>
                </a:lnTo>
                <a:lnTo>
                  <a:pt x="282" y="2047"/>
                </a:lnTo>
                <a:lnTo>
                  <a:pt x="281" y="2049"/>
                </a:lnTo>
                <a:lnTo>
                  <a:pt x="280" y="2051"/>
                </a:lnTo>
                <a:lnTo>
                  <a:pt x="279" y="2054"/>
                </a:lnTo>
                <a:lnTo>
                  <a:pt x="280" y="2059"/>
                </a:lnTo>
                <a:lnTo>
                  <a:pt x="284" y="2070"/>
                </a:lnTo>
                <a:lnTo>
                  <a:pt x="286" y="2073"/>
                </a:lnTo>
                <a:lnTo>
                  <a:pt x="278" y="2084"/>
                </a:lnTo>
                <a:lnTo>
                  <a:pt x="265" y="2100"/>
                </a:lnTo>
                <a:lnTo>
                  <a:pt x="250" y="2113"/>
                </a:lnTo>
                <a:lnTo>
                  <a:pt x="220" y="2134"/>
                </a:lnTo>
                <a:lnTo>
                  <a:pt x="189" y="2155"/>
                </a:lnTo>
                <a:lnTo>
                  <a:pt x="170" y="2167"/>
                </a:lnTo>
                <a:lnTo>
                  <a:pt x="160" y="2176"/>
                </a:lnTo>
                <a:lnTo>
                  <a:pt x="148" y="2185"/>
                </a:lnTo>
                <a:lnTo>
                  <a:pt x="138" y="2195"/>
                </a:lnTo>
                <a:lnTo>
                  <a:pt x="130" y="2200"/>
                </a:lnTo>
                <a:lnTo>
                  <a:pt x="124" y="2201"/>
                </a:lnTo>
                <a:lnTo>
                  <a:pt x="117" y="2202"/>
                </a:lnTo>
                <a:lnTo>
                  <a:pt x="114" y="2203"/>
                </a:lnTo>
                <a:lnTo>
                  <a:pt x="110" y="2204"/>
                </a:lnTo>
                <a:lnTo>
                  <a:pt x="108" y="2205"/>
                </a:lnTo>
                <a:lnTo>
                  <a:pt x="108" y="2208"/>
                </a:lnTo>
                <a:lnTo>
                  <a:pt x="108" y="2213"/>
                </a:lnTo>
                <a:lnTo>
                  <a:pt x="107" y="2217"/>
                </a:lnTo>
                <a:lnTo>
                  <a:pt x="107" y="2219"/>
                </a:lnTo>
                <a:lnTo>
                  <a:pt x="105" y="2220"/>
                </a:lnTo>
                <a:lnTo>
                  <a:pt x="103" y="2221"/>
                </a:lnTo>
                <a:lnTo>
                  <a:pt x="100" y="2221"/>
                </a:lnTo>
                <a:lnTo>
                  <a:pt x="92" y="2222"/>
                </a:lnTo>
                <a:lnTo>
                  <a:pt x="83" y="2223"/>
                </a:lnTo>
                <a:lnTo>
                  <a:pt x="80" y="2224"/>
                </a:lnTo>
                <a:lnTo>
                  <a:pt x="77" y="2225"/>
                </a:lnTo>
                <a:lnTo>
                  <a:pt x="74" y="2226"/>
                </a:lnTo>
                <a:lnTo>
                  <a:pt x="73" y="2228"/>
                </a:lnTo>
                <a:lnTo>
                  <a:pt x="70" y="2232"/>
                </a:lnTo>
                <a:lnTo>
                  <a:pt x="64" y="2237"/>
                </a:lnTo>
                <a:lnTo>
                  <a:pt x="59" y="2240"/>
                </a:lnTo>
                <a:lnTo>
                  <a:pt x="53" y="2242"/>
                </a:lnTo>
                <a:lnTo>
                  <a:pt x="46" y="2244"/>
                </a:lnTo>
                <a:lnTo>
                  <a:pt x="40" y="2249"/>
                </a:lnTo>
                <a:lnTo>
                  <a:pt x="36" y="2254"/>
                </a:lnTo>
                <a:lnTo>
                  <a:pt x="32" y="2261"/>
                </a:lnTo>
                <a:lnTo>
                  <a:pt x="29" y="2263"/>
                </a:lnTo>
                <a:lnTo>
                  <a:pt x="24" y="2263"/>
                </a:lnTo>
                <a:lnTo>
                  <a:pt x="19" y="2263"/>
                </a:lnTo>
                <a:lnTo>
                  <a:pt x="13" y="2263"/>
                </a:lnTo>
                <a:lnTo>
                  <a:pt x="8" y="2264"/>
                </a:lnTo>
                <a:lnTo>
                  <a:pt x="4" y="2265"/>
                </a:lnTo>
                <a:lnTo>
                  <a:pt x="2" y="2266"/>
                </a:lnTo>
                <a:lnTo>
                  <a:pt x="1" y="2268"/>
                </a:lnTo>
                <a:lnTo>
                  <a:pt x="0" y="2270"/>
                </a:lnTo>
                <a:lnTo>
                  <a:pt x="1" y="2273"/>
                </a:lnTo>
                <a:lnTo>
                  <a:pt x="2" y="2280"/>
                </a:lnTo>
                <a:lnTo>
                  <a:pt x="5" y="2285"/>
                </a:lnTo>
                <a:lnTo>
                  <a:pt x="7" y="2288"/>
                </a:lnTo>
                <a:lnTo>
                  <a:pt x="8" y="2290"/>
                </a:lnTo>
                <a:lnTo>
                  <a:pt x="10" y="2290"/>
                </a:lnTo>
                <a:lnTo>
                  <a:pt x="12" y="2290"/>
                </a:lnTo>
                <a:lnTo>
                  <a:pt x="14" y="2289"/>
                </a:lnTo>
                <a:lnTo>
                  <a:pt x="15" y="2287"/>
                </a:lnTo>
                <a:lnTo>
                  <a:pt x="19" y="2282"/>
                </a:lnTo>
                <a:lnTo>
                  <a:pt x="24" y="2274"/>
                </a:lnTo>
                <a:lnTo>
                  <a:pt x="27" y="2272"/>
                </a:lnTo>
                <a:lnTo>
                  <a:pt x="30" y="2270"/>
                </a:lnTo>
                <a:lnTo>
                  <a:pt x="32" y="2268"/>
                </a:lnTo>
                <a:lnTo>
                  <a:pt x="35" y="2268"/>
                </a:lnTo>
                <a:lnTo>
                  <a:pt x="41" y="2269"/>
                </a:lnTo>
                <a:lnTo>
                  <a:pt x="50" y="2267"/>
                </a:lnTo>
                <a:lnTo>
                  <a:pt x="55" y="2266"/>
                </a:lnTo>
                <a:lnTo>
                  <a:pt x="59" y="2264"/>
                </a:lnTo>
                <a:lnTo>
                  <a:pt x="64" y="2261"/>
                </a:lnTo>
                <a:lnTo>
                  <a:pt x="69" y="2258"/>
                </a:lnTo>
                <a:lnTo>
                  <a:pt x="73" y="2253"/>
                </a:lnTo>
                <a:lnTo>
                  <a:pt x="75" y="2248"/>
                </a:lnTo>
                <a:lnTo>
                  <a:pt x="76" y="2244"/>
                </a:lnTo>
                <a:lnTo>
                  <a:pt x="77" y="2240"/>
                </a:lnTo>
                <a:lnTo>
                  <a:pt x="79" y="2236"/>
                </a:lnTo>
                <a:lnTo>
                  <a:pt x="81" y="2232"/>
                </a:lnTo>
                <a:lnTo>
                  <a:pt x="85" y="2230"/>
                </a:lnTo>
                <a:lnTo>
                  <a:pt x="92" y="2230"/>
                </a:lnTo>
                <a:lnTo>
                  <a:pt x="103" y="2232"/>
                </a:lnTo>
                <a:lnTo>
                  <a:pt x="113" y="2233"/>
                </a:lnTo>
                <a:lnTo>
                  <a:pt x="116" y="2233"/>
                </a:lnTo>
                <a:lnTo>
                  <a:pt x="120" y="2231"/>
                </a:lnTo>
                <a:lnTo>
                  <a:pt x="124" y="2228"/>
                </a:lnTo>
                <a:lnTo>
                  <a:pt x="128" y="2223"/>
                </a:lnTo>
                <a:lnTo>
                  <a:pt x="137" y="2214"/>
                </a:lnTo>
                <a:lnTo>
                  <a:pt x="144" y="2206"/>
                </a:lnTo>
                <a:lnTo>
                  <a:pt x="147" y="2204"/>
                </a:lnTo>
                <a:lnTo>
                  <a:pt x="151" y="2203"/>
                </a:lnTo>
                <a:lnTo>
                  <a:pt x="155" y="2204"/>
                </a:lnTo>
                <a:lnTo>
                  <a:pt x="161" y="2205"/>
                </a:lnTo>
                <a:lnTo>
                  <a:pt x="167" y="2206"/>
                </a:lnTo>
                <a:lnTo>
                  <a:pt x="172" y="2206"/>
                </a:lnTo>
                <a:lnTo>
                  <a:pt x="176" y="2204"/>
                </a:lnTo>
                <a:lnTo>
                  <a:pt x="182" y="2203"/>
                </a:lnTo>
                <a:lnTo>
                  <a:pt x="187" y="2199"/>
                </a:lnTo>
                <a:lnTo>
                  <a:pt x="190" y="2197"/>
                </a:lnTo>
                <a:lnTo>
                  <a:pt x="191" y="2192"/>
                </a:lnTo>
                <a:lnTo>
                  <a:pt x="194" y="2183"/>
                </a:lnTo>
                <a:lnTo>
                  <a:pt x="196" y="2181"/>
                </a:lnTo>
                <a:lnTo>
                  <a:pt x="197" y="2180"/>
                </a:lnTo>
                <a:lnTo>
                  <a:pt x="199" y="2179"/>
                </a:lnTo>
                <a:lnTo>
                  <a:pt x="203" y="2178"/>
                </a:lnTo>
                <a:lnTo>
                  <a:pt x="205" y="2178"/>
                </a:lnTo>
                <a:lnTo>
                  <a:pt x="208" y="2179"/>
                </a:lnTo>
                <a:lnTo>
                  <a:pt x="212" y="2181"/>
                </a:lnTo>
                <a:lnTo>
                  <a:pt x="215" y="2184"/>
                </a:lnTo>
                <a:lnTo>
                  <a:pt x="224" y="2192"/>
                </a:lnTo>
                <a:lnTo>
                  <a:pt x="233" y="2197"/>
                </a:lnTo>
                <a:lnTo>
                  <a:pt x="242" y="2201"/>
                </a:lnTo>
                <a:lnTo>
                  <a:pt x="251" y="2203"/>
                </a:lnTo>
                <a:lnTo>
                  <a:pt x="257" y="2204"/>
                </a:lnTo>
                <a:lnTo>
                  <a:pt x="261" y="2204"/>
                </a:lnTo>
                <a:lnTo>
                  <a:pt x="262" y="2202"/>
                </a:lnTo>
                <a:lnTo>
                  <a:pt x="262" y="2201"/>
                </a:lnTo>
                <a:lnTo>
                  <a:pt x="261" y="2199"/>
                </a:lnTo>
                <a:lnTo>
                  <a:pt x="259" y="2196"/>
                </a:lnTo>
                <a:lnTo>
                  <a:pt x="248" y="2184"/>
                </a:lnTo>
                <a:lnTo>
                  <a:pt x="237" y="2174"/>
                </a:lnTo>
                <a:lnTo>
                  <a:pt x="232" y="2170"/>
                </a:lnTo>
                <a:lnTo>
                  <a:pt x="230" y="2165"/>
                </a:lnTo>
                <a:lnTo>
                  <a:pt x="229" y="2164"/>
                </a:lnTo>
                <a:lnTo>
                  <a:pt x="229" y="2163"/>
                </a:lnTo>
                <a:lnTo>
                  <a:pt x="230" y="2162"/>
                </a:lnTo>
                <a:lnTo>
                  <a:pt x="231" y="2162"/>
                </a:lnTo>
                <a:lnTo>
                  <a:pt x="239" y="2161"/>
                </a:lnTo>
                <a:lnTo>
                  <a:pt x="252" y="2160"/>
                </a:lnTo>
                <a:lnTo>
                  <a:pt x="258" y="2159"/>
                </a:lnTo>
                <a:lnTo>
                  <a:pt x="263" y="2158"/>
                </a:lnTo>
                <a:lnTo>
                  <a:pt x="268" y="2156"/>
                </a:lnTo>
                <a:lnTo>
                  <a:pt x="270" y="2153"/>
                </a:lnTo>
                <a:lnTo>
                  <a:pt x="274" y="2148"/>
                </a:lnTo>
                <a:lnTo>
                  <a:pt x="280" y="2140"/>
                </a:lnTo>
                <a:lnTo>
                  <a:pt x="290" y="2132"/>
                </a:lnTo>
                <a:lnTo>
                  <a:pt x="300" y="2122"/>
                </a:lnTo>
                <a:lnTo>
                  <a:pt x="311" y="2113"/>
                </a:lnTo>
                <a:lnTo>
                  <a:pt x="320" y="2104"/>
                </a:lnTo>
                <a:lnTo>
                  <a:pt x="326" y="2096"/>
                </a:lnTo>
                <a:lnTo>
                  <a:pt x="330" y="2089"/>
                </a:lnTo>
                <a:lnTo>
                  <a:pt x="333" y="2083"/>
                </a:lnTo>
                <a:lnTo>
                  <a:pt x="337" y="2075"/>
                </a:lnTo>
                <a:lnTo>
                  <a:pt x="342" y="2067"/>
                </a:lnTo>
                <a:lnTo>
                  <a:pt x="348" y="2059"/>
                </a:lnTo>
                <a:lnTo>
                  <a:pt x="360" y="2044"/>
                </a:lnTo>
                <a:lnTo>
                  <a:pt x="367" y="2034"/>
                </a:lnTo>
                <a:lnTo>
                  <a:pt x="374" y="2021"/>
                </a:lnTo>
                <a:lnTo>
                  <a:pt x="385" y="1996"/>
                </a:lnTo>
                <a:lnTo>
                  <a:pt x="394" y="1973"/>
                </a:lnTo>
                <a:lnTo>
                  <a:pt x="397" y="1963"/>
                </a:lnTo>
                <a:lnTo>
                  <a:pt x="406" y="1955"/>
                </a:lnTo>
                <a:lnTo>
                  <a:pt x="423" y="1939"/>
                </a:lnTo>
                <a:lnTo>
                  <a:pt x="432" y="1932"/>
                </a:lnTo>
                <a:lnTo>
                  <a:pt x="440" y="1925"/>
                </a:lnTo>
                <a:lnTo>
                  <a:pt x="444" y="1924"/>
                </a:lnTo>
                <a:lnTo>
                  <a:pt x="446" y="1923"/>
                </a:lnTo>
                <a:lnTo>
                  <a:pt x="448" y="1924"/>
                </a:lnTo>
                <a:lnTo>
                  <a:pt x="449" y="1926"/>
                </a:lnTo>
                <a:lnTo>
                  <a:pt x="450" y="1936"/>
                </a:lnTo>
                <a:lnTo>
                  <a:pt x="450" y="1942"/>
                </a:lnTo>
                <a:lnTo>
                  <a:pt x="449" y="1944"/>
                </a:lnTo>
                <a:lnTo>
                  <a:pt x="448" y="1945"/>
                </a:lnTo>
                <a:lnTo>
                  <a:pt x="446" y="1946"/>
                </a:lnTo>
                <a:lnTo>
                  <a:pt x="444" y="1946"/>
                </a:lnTo>
                <a:lnTo>
                  <a:pt x="438" y="1946"/>
                </a:lnTo>
                <a:lnTo>
                  <a:pt x="434" y="1946"/>
                </a:lnTo>
                <a:lnTo>
                  <a:pt x="432" y="1946"/>
                </a:lnTo>
                <a:lnTo>
                  <a:pt x="429" y="1948"/>
                </a:lnTo>
                <a:lnTo>
                  <a:pt x="427" y="1952"/>
                </a:lnTo>
                <a:lnTo>
                  <a:pt x="425" y="1956"/>
                </a:lnTo>
                <a:lnTo>
                  <a:pt x="419" y="1966"/>
                </a:lnTo>
                <a:lnTo>
                  <a:pt x="414" y="1977"/>
                </a:lnTo>
                <a:lnTo>
                  <a:pt x="411" y="1981"/>
                </a:lnTo>
                <a:lnTo>
                  <a:pt x="410" y="1985"/>
                </a:lnTo>
                <a:lnTo>
                  <a:pt x="409" y="1989"/>
                </a:lnTo>
                <a:lnTo>
                  <a:pt x="410" y="1993"/>
                </a:lnTo>
                <a:lnTo>
                  <a:pt x="410" y="1997"/>
                </a:lnTo>
                <a:lnTo>
                  <a:pt x="410" y="2001"/>
                </a:lnTo>
                <a:lnTo>
                  <a:pt x="409" y="2005"/>
                </a:lnTo>
                <a:lnTo>
                  <a:pt x="408" y="2010"/>
                </a:lnTo>
                <a:lnTo>
                  <a:pt x="404" y="2019"/>
                </a:lnTo>
                <a:lnTo>
                  <a:pt x="399" y="2024"/>
                </a:lnTo>
                <a:lnTo>
                  <a:pt x="395" y="2031"/>
                </a:lnTo>
                <a:lnTo>
                  <a:pt x="391" y="2044"/>
                </a:lnTo>
                <a:lnTo>
                  <a:pt x="388" y="2051"/>
                </a:lnTo>
                <a:lnTo>
                  <a:pt x="385" y="2059"/>
                </a:lnTo>
                <a:lnTo>
                  <a:pt x="381" y="2065"/>
                </a:lnTo>
                <a:lnTo>
                  <a:pt x="375" y="2070"/>
                </a:lnTo>
                <a:lnTo>
                  <a:pt x="363" y="2077"/>
                </a:lnTo>
                <a:lnTo>
                  <a:pt x="351" y="2081"/>
                </a:lnTo>
                <a:lnTo>
                  <a:pt x="347" y="2083"/>
                </a:lnTo>
                <a:lnTo>
                  <a:pt x="344" y="2085"/>
                </a:lnTo>
                <a:lnTo>
                  <a:pt x="342" y="2088"/>
                </a:lnTo>
                <a:lnTo>
                  <a:pt x="342" y="2092"/>
                </a:lnTo>
                <a:lnTo>
                  <a:pt x="343" y="2096"/>
                </a:lnTo>
                <a:lnTo>
                  <a:pt x="346" y="2100"/>
                </a:lnTo>
                <a:lnTo>
                  <a:pt x="349" y="2103"/>
                </a:lnTo>
                <a:lnTo>
                  <a:pt x="353" y="2105"/>
                </a:lnTo>
                <a:lnTo>
                  <a:pt x="357" y="2108"/>
                </a:lnTo>
                <a:lnTo>
                  <a:pt x="359" y="2110"/>
                </a:lnTo>
                <a:lnTo>
                  <a:pt x="360" y="2111"/>
                </a:lnTo>
                <a:lnTo>
                  <a:pt x="360" y="2113"/>
                </a:lnTo>
                <a:lnTo>
                  <a:pt x="359" y="2115"/>
                </a:lnTo>
                <a:lnTo>
                  <a:pt x="357" y="2117"/>
                </a:lnTo>
                <a:lnTo>
                  <a:pt x="353" y="2121"/>
                </a:lnTo>
                <a:lnTo>
                  <a:pt x="351" y="2126"/>
                </a:lnTo>
                <a:lnTo>
                  <a:pt x="349" y="2129"/>
                </a:lnTo>
                <a:lnTo>
                  <a:pt x="348" y="2133"/>
                </a:lnTo>
                <a:lnTo>
                  <a:pt x="348" y="2136"/>
                </a:lnTo>
                <a:lnTo>
                  <a:pt x="348" y="2139"/>
                </a:lnTo>
                <a:lnTo>
                  <a:pt x="349" y="2140"/>
                </a:lnTo>
                <a:lnTo>
                  <a:pt x="351" y="2141"/>
                </a:lnTo>
                <a:lnTo>
                  <a:pt x="355" y="2141"/>
                </a:lnTo>
                <a:lnTo>
                  <a:pt x="358" y="2139"/>
                </a:lnTo>
                <a:lnTo>
                  <a:pt x="362" y="2136"/>
                </a:lnTo>
                <a:lnTo>
                  <a:pt x="366" y="2133"/>
                </a:lnTo>
                <a:lnTo>
                  <a:pt x="372" y="2127"/>
                </a:lnTo>
                <a:lnTo>
                  <a:pt x="375" y="2123"/>
                </a:lnTo>
                <a:lnTo>
                  <a:pt x="387" y="2118"/>
                </a:lnTo>
                <a:lnTo>
                  <a:pt x="403" y="2108"/>
                </a:lnTo>
                <a:lnTo>
                  <a:pt x="405" y="2104"/>
                </a:lnTo>
                <a:lnTo>
                  <a:pt x="406" y="2098"/>
                </a:lnTo>
                <a:lnTo>
                  <a:pt x="407" y="2091"/>
                </a:lnTo>
                <a:lnTo>
                  <a:pt x="408" y="2084"/>
                </a:lnTo>
                <a:lnTo>
                  <a:pt x="408" y="2069"/>
                </a:lnTo>
                <a:lnTo>
                  <a:pt x="408" y="2064"/>
                </a:lnTo>
                <a:lnTo>
                  <a:pt x="407" y="2060"/>
                </a:lnTo>
                <a:lnTo>
                  <a:pt x="405" y="2049"/>
                </a:lnTo>
                <a:lnTo>
                  <a:pt x="406" y="2043"/>
                </a:lnTo>
                <a:lnTo>
                  <a:pt x="409" y="2035"/>
                </a:lnTo>
                <a:lnTo>
                  <a:pt x="411" y="2031"/>
                </a:lnTo>
                <a:lnTo>
                  <a:pt x="414" y="2028"/>
                </a:lnTo>
                <a:lnTo>
                  <a:pt x="418" y="2025"/>
                </a:lnTo>
                <a:lnTo>
                  <a:pt x="424" y="2022"/>
                </a:lnTo>
                <a:lnTo>
                  <a:pt x="443" y="2009"/>
                </a:lnTo>
                <a:lnTo>
                  <a:pt x="454" y="2001"/>
                </a:lnTo>
                <a:lnTo>
                  <a:pt x="462" y="1995"/>
                </a:lnTo>
                <a:lnTo>
                  <a:pt x="467" y="1993"/>
                </a:lnTo>
                <a:lnTo>
                  <a:pt x="471" y="1988"/>
                </a:lnTo>
                <a:lnTo>
                  <a:pt x="477" y="1982"/>
                </a:lnTo>
                <a:lnTo>
                  <a:pt x="480" y="1979"/>
                </a:lnTo>
                <a:lnTo>
                  <a:pt x="483" y="1978"/>
                </a:lnTo>
                <a:lnTo>
                  <a:pt x="486" y="1978"/>
                </a:lnTo>
                <a:lnTo>
                  <a:pt x="488" y="1978"/>
                </a:lnTo>
                <a:lnTo>
                  <a:pt x="490" y="1980"/>
                </a:lnTo>
                <a:lnTo>
                  <a:pt x="491" y="1981"/>
                </a:lnTo>
                <a:lnTo>
                  <a:pt x="493" y="1983"/>
                </a:lnTo>
                <a:lnTo>
                  <a:pt x="495" y="1984"/>
                </a:lnTo>
                <a:lnTo>
                  <a:pt x="497" y="1984"/>
                </a:lnTo>
                <a:lnTo>
                  <a:pt x="499" y="1984"/>
                </a:lnTo>
                <a:lnTo>
                  <a:pt x="503" y="1981"/>
                </a:lnTo>
                <a:lnTo>
                  <a:pt x="506" y="1977"/>
                </a:lnTo>
                <a:lnTo>
                  <a:pt x="509" y="1972"/>
                </a:lnTo>
                <a:lnTo>
                  <a:pt x="510" y="1966"/>
                </a:lnTo>
                <a:lnTo>
                  <a:pt x="510" y="1961"/>
                </a:lnTo>
                <a:lnTo>
                  <a:pt x="508" y="1958"/>
                </a:lnTo>
                <a:lnTo>
                  <a:pt x="505" y="1954"/>
                </a:lnTo>
                <a:lnTo>
                  <a:pt x="505" y="1950"/>
                </a:lnTo>
                <a:lnTo>
                  <a:pt x="505" y="1944"/>
                </a:lnTo>
                <a:lnTo>
                  <a:pt x="508" y="1939"/>
                </a:lnTo>
                <a:lnTo>
                  <a:pt x="510" y="1937"/>
                </a:lnTo>
                <a:lnTo>
                  <a:pt x="511" y="1936"/>
                </a:lnTo>
                <a:lnTo>
                  <a:pt x="513" y="1934"/>
                </a:lnTo>
                <a:lnTo>
                  <a:pt x="515" y="1934"/>
                </a:lnTo>
                <a:lnTo>
                  <a:pt x="517" y="1934"/>
                </a:lnTo>
                <a:lnTo>
                  <a:pt x="519" y="1935"/>
                </a:lnTo>
                <a:lnTo>
                  <a:pt x="521" y="1937"/>
                </a:lnTo>
                <a:lnTo>
                  <a:pt x="524" y="1940"/>
                </a:lnTo>
                <a:lnTo>
                  <a:pt x="530" y="1947"/>
                </a:lnTo>
                <a:lnTo>
                  <a:pt x="535" y="1953"/>
                </a:lnTo>
                <a:lnTo>
                  <a:pt x="540" y="1957"/>
                </a:lnTo>
                <a:lnTo>
                  <a:pt x="545" y="1960"/>
                </a:lnTo>
                <a:lnTo>
                  <a:pt x="553" y="1964"/>
                </a:lnTo>
                <a:lnTo>
                  <a:pt x="555" y="1966"/>
                </a:lnTo>
                <a:lnTo>
                  <a:pt x="564" y="1972"/>
                </a:lnTo>
                <a:lnTo>
                  <a:pt x="586" y="1981"/>
                </a:lnTo>
                <a:lnTo>
                  <a:pt x="590" y="1982"/>
                </a:lnTo>
                <a:lnTo>
                  <a:pt x="594" y="1982"/>
                </a:lnTo>
                <a:lnTo>
                  <a:pt x="598" y="1980"/>
                </a:lnTo>
                <a:lnTo>
                  <a:pt x="601" y="1978"/>
                </a:lnTo>
                <a:lnTo>
                  <a:pt x="606" y="1977"/>
                </a:lnTo>
                <a:lnTo>
                  <a:pt x="612" y="1978"/>
                </a:lnTo>
                <a:lnTo>
                  <a:pt x="622" y="1980"/>
                </a:lnTo>
                <a:lnTo>
                  <a:pt x="634" y="1986"/>
                </a:lnTo>
                <a:lnTo>
                  <a:pt x="657" y="2000"/>
                </a:lnTo>
                <a:lnTo>
                  <a:pt x="674" y="2010"/>
                </a:lnTo>
                <a:lnTo>
                  <a:pt x="687" y="2020"/>
                </a:lnTo>
                <a:lnTo>
                  <a:pt x="698" y="2028"/>
                </a:lnTo>
                <a:lnTo>
                  <a:pt x="706" y="2032"/>
                </a:lnTo>
                <a:lnTo>
                  <a:pt x="713" y="2034"/>
                </a:lnTo>
                <a:lnTo>
                  <a:pt x="721" y="2037"/>
                </a:lnTo>
                <a:lnTo>
                  <a:pt x="729" y="2038"/>
                </a:lnTo>
                <a:lnTo>
                  <a:pt x="733" y="2039"/>
                </a:lnTo>
                <a:lnTo>
                  <a:pt x="736" y="2041"/>
                </a:lnTo>
                <a:lnTo>
                  <a:pt x="739" y="2042"/>
                </a:lnTo>
                <a:lnTo>
                  <a:pt x="741" y="2045"/>
                </a:lnTo>
                <a:lnTo>
                  <a:pt x="744" y="2048"/>
                </a:lnTo>
                <a:lnTo>
                  <a:pt x="745" y="2052"/>
                </a:lnTo>
                <a:lnTo>
                  <a:pt x="747" y="2056"/>
                </a:lnTo>
                <a:lnTo>
                  <a:pt x="747" y="2063"/>
                </a:lnTo>
                <a:lnTo>
                  <a:pt x="750" y="2085"/>
                </a:lnTo>
                <a:lnTo>
                  <a:pt x="752" y="2103"/>
                </a:lnTo>
                <a:lnTo>
                  <a:pt x="754" y="2110"/>
                </a:lnTo>
                <a:lnTo>
                  <a:pt x="756" y="2116"/>
                </a:lnTo>
                <a:lnTo>
                  <a:pt x="760" y="2121"/>
                </a:lnTo>
                <a:lnTo>
                  <a:pt x="765" y="2126"/>
                </a:lnTo>
                <a:lnTo>
                  <a:pt x="783" y="2140"/>
                </a:lnTo>
                <a:lnTo>
                  <a:pt x="807" y="2163"/>
                </a:lnTo>
                <a:lnTo>
                  <a:pt x="832" y="2185"/>
                </a:lnTo>
                <a:lnTo>
                  <a:pt x="850" y="2201"/>
                </a:lnTo>
                <a:lnTo>
                  <a:pt x="857" y="2204"/>
                </a:lnTo>
                <a:lnTo>
                  <a:pt x="864" y="2206"/>
                </a:lnTo>
                <a:lnTo>
                  <a:pt x="872" y="2207"/>
                </a:lnTo>
                <a:lnTo>
                  <a:pt x="879" y="2209"/>
                </a:lnTo>
                <a:lnTo>
                  <a:pt x="886" y="2210"/>
                </a:lnTo>
                <a:lnTo>
                  <a:pt x="892" y="2214"/>
                </a:lnTo>
                <a:lnTo>
                  <a:pt x="895" y="2217"/>
                </a:lnTo>
                <a:lnTo>
                  <a:pt x="898" y="2219"/>
                </a:lnTo>
                <a:lnTo>
                  <a:pt x="900" y="2223"/>
                </a:lnTo>
                <a:lnTo>
                  <a:pt x="901" y="2227"/>
                </a:lnTo>
                <a:lnTo>
                  <a:pt x="906" y="2239"/>
                </a:lnTo>
                <a:lnTo>
                  <a:pt x="912" y="2250"/>
                </a:lnTo>
                <a:lnTo>
                  <a:pt x="918" y="2262"/>
                </a:lnTo>
                <a:lnTo>
                  <a:pt x="926" y="2272"/>
                </a:lnTo>
                <a:lnTo>
                  <a:pt x="937" y="2290"/>
                </a:lnTo>
                <a:lnTo>
                  <a:pt x="942" y="2297"/>
                </a:lnTo>
                <a:lnTo>
                  <a:pt x="944" y="2301"/>
                </a:lnTo>
                <a:lnTo>
                  <a:pt x="947" y="2309"/>
                </a:lnTo>
                <a:lnTo>
                  <a:pt x="948" y="2315"/>
                </a:lnTo>
                <a:lnTo>
                  <a:pt x="948" y="2324"/>
                </a:lnTo>
                <a:lnTo>
                  <a:pt x="945" y="2332"/>
                </a:lnTo>
                <a:lnTo>
                  <a:pt x="942" y="2342"/>
                </a:lnTo>
                <a:lnTo>
                  <a:pt x="941" y="2348"/>
                </a:lnTo>
                <a:lnTo>
                  <a:pt x="941" y="2352"/>
                </a:lnTo>
                <a:lnTo>
                  <a:pt x="943" y="2356"/>
                </a:lnTo>
                <a:lnTo>
                  <a:pt x="945" y="2360"/>
                </a:lnTo>
                <a:lnTo>
                  <a:pt x="952" y="2367"/>
                </a:lnTo>
                <a:lnTo>
                  <a:pt x="961" y="2374"/>
                </a:lnTo>
                <a:lnTo>
                  <a:pt x="972" y="2380"/>
                </a:lnTo>
                <a:lnTo>
                  <a:pt x="982" y="2389"/>
                </a:lnTo>
                <a:lnTo>
                  <a:pt x="987" y="2393"/>
                </a:lnTo>
                <a:lnTo>
                  <a:pt x="992" y="2398"/>
                </a:lnTo>
                <a:lnTo>
                  <a:pt x="995" y="2404"/>
                </a:lnTo>
                <a:lnTo>
                  <a:pt x="998" y="2411"/>
                </a:lnTo>
                <a:lnTo>
                  <a:pt x="1009" y="2436"/>
                </a:lnTo>
                <a:lnTo>
                  <a:pt x="1019" y="2460"/>
                </a:lnTo>
                <a:lnTo>
                  <a:pt x="1023" y="2472"/>
                </a:lnTo>
                <a:lnTo>
                  <a:pt x="1025" y="2485"/>
                </a:lnTo>
                <a:lnTo>
                  <a:pt x="1027" y="2500"/>
                </a:lnTo>
                <a:lnTo>
                  <a:pt x="1027" y="2515"/>
                </a:lnTo>
                <a:lnTo>
                  <a:pt x="1025" y="2532"/>
                </a:lnTo>
                <a:lnTo>
                  <a:pt x="1022" y="2547"/>
                </a:lnTo>
                <a:lnTo>
                  <a:pt x="1017" y="2562"/>
                </a:lnTo>
                <a:lnTo>
                  <a:pt x="1013" y="2576"/>
                </a:lnTo>
                <a:lnTo>
                  <a:pt x="1007" y="2590"/>
                </a:lnTo>
                <a:lnTo>
                  <a:pt x="1003" y="2602"/>
                </a:lnTo>
                <a:lnTo>
                  <a:pt x="1001" y="2614"/>
                </a:lnTo>
                <a:lnTo>
                  <a:pt x="1000" y="2626"/>
                </a:lnTo>
                <a:lnTo>
                  <a:pt x="1001" y="2632"/>
                </a:lnTo>
                <a:lnTo>
                  <a:pt x="1003" y="2639"/>
                </a:lnTo>
                <a:lnTo>
                  <a:pt x="1005" y="2645"/>
                </a:lnTo>
                <a:lnTo>
                  <a:pt x="1007" y="2653"/>
                </a:lnTo>
                <a:lnTo>
                  <a:pt x="1015" y="2667"/>
                </a:lnTo>
                <a:lnTo>
                  <a:pt x="1022" y="2683"/>
                </a:lnTo>
                <a:lnTo>
                  <a:pt x="1040" y="2713"/>
                </a:lnTo>
                <a:lnTo>
                  <a:pt x="1053" y="2742"/>
                </a:lnTo>
                <a:lnTo>
                  <a:pt x="1066" y="2768"/>
                </a:lnTo>
                <a:lnTo>
                  <a:pt x="1079" y="2794"/>
                </a:lnTo>
                <a:lnTo>
                  <a:pt x="1086" y="2806"/>
                </a:lnTo>
                <a:lnTo>
                  <a:pt x="1092" y="2816"/>
                </a:lnTo>
                <a:lnTo>
                  <a:pt x="1099" y="2824"/>
                </a:lnTo>
                <a:lnTo>
                  <a:pt x="1106" y="2831"/>
                </a:lnTo>
                <a:lnTo>
                  <a:pt x="1123" y="2837"/>
                </a:lnTo>
                <a:lnTo>
                  <a:pt x="1140" y="2843"/>
                </a:lnTo>
                <a:lnTo>
                  <a:pt x="1149" y="2845"/>
                </a:lnTo>
                <a:lnTo>
                  <a:pt x="1157" y="2850"/>
                </a:lnTo>
                <a:lnTo>
                  <a:pt x="1163" y="2854"/>
                </a:lnTo>
                <a:lnTo>
                  <a:pt x="1168" y="2858"/>
                </a:lnTo>
                <a:lnTo>
                  <a:pt x="1175" y="2872"/>
                </a:lnTo>
                <a:lnTo>
                  <a:pt x="1184" y="2886"/>
                </a:lnTo>
                <a:lnTo>
                  <a:pt x="1192" y="2900"/>
                </a:lnTo>
                <a:lnTo>
                  <a:pt x="1196" y="2910"/>
                </a:lnTo>
                <a:lnTo>
                  <a:pt x="1198" y="2920"/>
                </a:lnTo>
                <a:lnTo>
                  <a:pt x="1199" y="2931"/>
                </a:lnTo>
                <a:lnTo>
                  <a:pt x="1201" y="2938"/>
                </a:lnTo>
                <a:lnTo>
                  <a:pt x="1202" y="2943"/>
                </a:lnTo>
                <a:lnTo>
                  <a:pt x="1205" y="2949"/>
                </a:lnTo>
                <a:lnTo>
                  <a:pt x="1207" y="2953"/>
                </a:lnTo>
                <a:lnTo>
                  <a:pt x="1212" y="2957"/>
                </a:lnTo>
                <a:lnTo>
                  <a:pt x="1216" y="2960"/>
                </a:lnTo>
                <a:lnTo>
                  <a:pt x="1221" y="2962"/>
                </a:lnTo>
                <a:lnTo>
                  <a:pt x="1225" y="2964"/>
                </a:lnTo>
                <a:lnTo>
                  <a:pt x="1229" y="2966"/>
                </a:lnTo>
                <a:lnTo>
                  <a:pt x="1234" y="2968"/>
                </a:lnTo>
                <a:lnTo>
                  <a:pt x="1237" y="2970"/>
                </a:lnTo>
                <a:lnTo>
                  <a:pt x="1239" y="2974"/>
                </a:lnTo>
                <a:lnTo>
                  <a:pt x="1241" y="2989"/>
                </a:lnTo>
                <a:lnTo>
                  <a:pt x="1240" y="2996"/>
                </a:lnTo>
                <a:lnTo>
                  <a:pt x="1238" y="2997"/>
                </a:lnTo>
                <a:lnTo>
                  <a:pt x="1235" y="3000"/>
                </a:lnTo>
                <a:lnTo>
                  <a:pt x="1233" y="3003"/>
                </a:lnTo>
                <a:lnTo>
                  <a:pt x="1232" y="3005"/>
                </a:lnTo>
                <a:lnTo>
                  <a:pt x="1232" y="3008"/>
                </a:lnTo>
                <a:lnTo>
                  <a:pt x="1233" y="3010"/>
                </a:lnTo>
                <a:lnTo>
                  <a:pt x="1235" y="3013"/>
                </a:lnTo>
                <a:lnTo>
                  <a:pt x="1239" y="3015"/>
                </a:lnTo>
                <a:lnTo>
                  <a:pt x="1243" y="3017"/>
                </a:lnTo>
                <a:lnTo>
                  <a:pt x="1248" y="3019"/>
                </a:lnTo>
                <a:lnTo>
                  <a:pt x="1259" y="3023"/>
                </a:lnTo>
                <a:lnTo>
                  <a:pt x="1267" y="3028"/>
                </a:lnTo>
                <a:lnTo>
                  <a:pt x="1273" y="3035"/>
                </a:lnTo>
                <a:lnTo>
                  <a:pt x="1280" y="3044"/>
                </a:lnTo>
                <a:lnTo>
                  <a:pt x="1283" y="3050"/>
                </a:lnTo>
                <a:lnTo>
                  <a:pt x="1285" y="3055"/>
                </a:lnTo>
                <a:lnTo>
                  <a:pt x="1287" y="3060"/>
                </a:lnTo>
                <a:lnTo>
                  <a:pt x="1287" y="3065"/>
                </a:lnTo>
                <a:lnTo>
                  <a:pt x="1287" y="3074"/>
                </a:lnTo>
                <a:lnTo>
                  <a:pt x="1287" y="3079"/>
                </a:lnTo>
                <a:lnTo>
                  <a:pt x="1289" y="3082"/>
                </a:lnTo>
                <a:lnTo>
                  <a:pt x="1294" y="3087"/>
                </a:lnTo>
                <a:lnTo>
                  <a:pt x="1309" y="3092"/>
                </a:lnTo>
                <a:lnTo>
                  <a:pt x="1324" y="3097"/>
                </a:lnTo>
                <a:lnTo>
                  <a:pt x="1327" y="3100"/>
                </a:lnTo>
                <a:lnTo>
                  <a:pt x="1330" y="3101"/>
                </a:lnTo>
                <a:lnTo>
                  <a:pt x="1332" y="3101"/>
                </a:lnTo>
                <a:lnTo>
                  <a:pt x="1334" y="3102"/>
                </a:lnTo>
                <a:lnTo>
                  <a:pt x="1335" y="3102"/>
                </a:lnTo>
                <a:lnTo>
                  <a:pt x="1336" y="3103"/>
                </a:lnTo>
                <a:lnTo>
                  <a:pt x="1337" y="3105"/>
                </a:lnTo>
                <a:lnTo>
                  <a:pt x="1337" y="3108"/>
                </a:lnTo>
                <a:lnTo>
                  <a:pt x="1337" y="3116"/>
                </a:lnTo>
                <a:lnTo>
                  <a:pt x="1338" y="3121"/>
                </a:lnTo>
                <a:lnTo>
                  <a:pt x="1339" y="3124"/>
                </a:lnTo>
                <a:lnTo>
                  <a:pt x="1342" y="3125"/>
                </a:lnTo>
                <a:lnTo>
                  <a:pt x="1347" y="3124"/>
                </a:lnTo>
                <a:lnTo>
                  <a:pt x="1353" y="3122"/>
                </a:lnTo>
                <a:lnTo>
                  <a:pt x="1356" y="3120"/>
                </a:lnTo>
                <a:lnTo>
                  <a:pt x="1358" y="3118"/>
                </a:lnTo>
                <a:lnTo>
                  <a:pt x="1359" y="3115"/>
                </a:lnTo>
                <a:lnTo>
                  <a:pt x="1359" y="3110"/>
                </a:lnTo>
                <a:lnTo>
                  <a:pt x="1357" y="3104"/>
                </a:lnTo>
                <a:lnTo>
                  <a:pt x="1353" y="3098"/>
                </a:lnTo>
                <a:lnTo>
                  <a:pt x="1347" y="3091"/>
                </a:lnTo>
                <a:lnTo>
                  <a:pt x="1339" y="3083"/>
                </a:lnTo>
                <a:lnTo>
                  <a:pt x="1330" y="3072"/>
                </a:lnTo>
                <a:lnTo>
                  <a:pt x="1323" y="3060"/>
                </a:lnTo>
                <a:lnTo>
                  <a:pt x="1317" y="3050"/>
                </a:lnTo>
                <a:lnTo>
                  <a:pt x="1314" y="3041"/>
                </a:lnTo>
                <a:lnTo>
                  <a:pt x="1312" y="3036"/>
                </a:lnTo>
                <a:lnTo>
                  <a:pt x="1310" y="3032"/>
                </a:lnTo>
                <a:lnTo>
                  <a:pt x="1307" y="3029"/>
                </a:lnTo>
                <a:lnTo>
                  <a:pt x="1305" y="3027"/>
                </a:lnTo>
                <a:lnTo>
                  <a:pt x="1295" y="3015"/>
                </a:lnTo>
                <a:lnTo>
                  <a:pt x="1278" y="2992"/>
                </a:lnTo>
                <a:lnTo>
                  <a:pt x="1260" y="2969"/>
                </a:lnTo>
                <a:lnTo>
                  <a:pt x="1250" y="2957"/>
                </a:lnTo>
                <a:lnTo>
                  <a:pt x="1247" y="2951"/>
                </a:lnTo>
                <a:lnTo>
                  <a:pt x="1242" y="2941"/>
                </a:lnTo>
                <a:lnTo>
                  <a:pt x="1240" y="2934"/>
                </a:lnTo>
                <a:lnTo>
                  <a:pt x="1239" y="2929"/>
                </a:lnTo>
                <a:lnTo>
                  <a:pt x="1239" y="2926"/>
                </a:lnTo>
                <a:lnTo>
                  <a:pt x="1239" y="2924"/>
                </a:lnTo>
                <a:lnTo>
                  <a:pt x="1240" y="2923"/>
                </a:lnTo>
                <a:lnTo>
                  <a:pt x="1241" y="2921"/>
                </a:lnTo>
                <a:lnTo>
                  <a:pt x="1247" y="2917"/>
                </a:lnTo>
                <a:lnTo>
                  <a:pt x="1252" y="2915"/>
                </a:lnTo>
                <a:lnTo>
                  <a:pt x="1256" y="2915"/>
                </a:lnTo>
                <a:lnTo>
                  <a:pt x="1259" y="2915"/>
                </a:lnTo>
                <a:lnTo>
                  <a:pt x="1261" y="2917"/>
                </a:lnTo>
                <a:lnTo>
                  <a:pt x="1264" y="2921"/>
                </a:lnTo>
                <a:lnTo>
                  <a:pt x="1269" y="2933"/>
                </a:lnTo>
                <a:lnTo>
                  <a:pt x="1276" y="2944"/>
                </a:lnTo>
                <a:lnTo>
                  <a:pt x="1279" y="2948"/>
                </a:lnTo>
                <a:lnTo>
                  <a:pt x="1280" y="2952"/>
                </a:lnTo>
                <a:lnTo>
                  <a:pt x="1280" y="2956"/>
                </a:lnTo>
                <a:lnTo>
                  <a:pt x="1280" y="2962"/>
                </a:lnTo>
                <a:lnTo>
                  <a:pt x="1280" y="2966"/>
                </a:lnTo>
                <a:lnTo>
                  <a:pt x="1282" y="2971"/>
                </a:lnTo>
                <a:lnTo>
                  <a:pt x="1285" y="2975"/>
                </a:lnTo>
                <a:lnTo>
                  <a:pt x="1290" y="2981"/>
                </a:lnTo>
                <a:lnTo>
                  <a:pt x="1298" y="2986"/>
                </a:lnTo>
                <a:lnTo>
                  <a:pt x="1306" y="2994"/>
                </a:lnTo>
                <a:lnTo>
                  <a:pt x="1314" y="3004"/>
                </a:lnTo>
                <a:lnTo>
                  <a:pt x="1322" y="3013"/>
                </a:lnTo>
                <a:lnTo>
                  <a:pt x="1335" y="3032"/>
                </a:lnTo>
                <a:lnTo>
                  <a:pt x="1343" y="3042"/>
                </a:lnTo>
                <a:lnTo>
                  <a:pt x="1348" y="3049"/>
                </a:lnTo>
                <a:lnTo>
                  <a:pt x="1357" y="3055"/>
                </a:lnTo>
                <a:lnTo>
                  <a:pt x="1368" y="3063"/>
                </a:lnTo>
                <a:lnTo>
                  <a:pt x="1380" y="3074"/>
                </a:lnTo>
                <a:lnTo>
                  <a:pt x="1392" y="3084"/>
                </a:lnTo>
                <a:lnTo>
                  <a:pt x="1401" y="3093"/>
                </a:lnTo>
                <a:lnTo>
                  <a:pt x="1405" y="3097"/>
                </a:lnTo>
                <a:lnTo>
                  <a:pt x="1410" y="3101"/>
                </a:lnTo>
                <a:lnTo>
                  <a:pt x="1413" y="3106"/>
                </a:lnTo>
                <a:lnTo>
                  <a:pt x="1417" y="3113"/>
                </a:lnTo>
                <a:lnTo>
                  <a:pt x="1421" y="3119"/>
                </a:lnTo>
                <a:lnTo>
                  <a:pt x="1425" y="3124"/>
                </a:lnTo>
                <a:lnTo>
                  <a:pt x="1431" y="3129"/>
                </a:lnTo>
                <a:lnTo>
                  <a:pt x="1435" y="3134"/>
                </a:lnTo>
                <a:lnTo>
                  <a:pt x="1439" y="3138"/>
                </a:lnTo>
                <a:lnTo>
                  <a:pt x="1442" y="3142"/>
                </a:lnTo>
                <a:lnTo>
                  <a:pt x="1443" y="3146"/>
                </a:lnTo>
                <a:lnTo>
                  <a:pt x="1442" y="3152"/>
                </a:lnTo>
                <a:lnTo>
                  <a:pt x="1438" y="3162"/>
                </a:lnTo>
                <a:lnTo>
                  <a:pt x="1433" y="3168"/>
                </a:lnTo>
                <a:lnTo>
                  <a:pt x="1432" y="3171"/>
                </a:lnTo>
                <a:lnTo>
                  <a:pt x="1431" y="3173"/>
                </a:lnTo>
                <a:lnTo>
                  <a:pt x="1431" y="3175"/>
                </a:lnTo>
                <a:lnTo>
                  <a:pt x="1431" y="3178"/>
                </a:lnTo>
                <a:lnTo>
                  <a:pt x="1436" y="3185"/>
                </a:lnTo>
                <a:lnTo>
                  <a:pt x="1446" y="3196"/>
                </a:lnTo>
                <a:lnTo>
                  <a:pt x="1461" y="3209"/>
                </a:lnTo>
                <a:lnTo>
                  <a:pt x="1477" y="3222"/>
                </a:lnTo>
                <a:lnTo>
                  <a:pt x="1487" y="3227"/>
                </a:lnTo>
                <a:lnTo>
                  <a:pt x="1499" y="3233"/>
                </a:lnTo>
                <a:lnTo>
                  <a:pt x="1513" y="3238"/>
                </a:lnTo>
                <a:lnTo>
                  <a:pt x="1528" y="3245"/>
                </a:lnTo>
                <a:lnTo>
                  <a:pt x="1555" y="3254"/>
                </a:lnTo>
                <a:lnTo>
                  <a:pt x="1577" y="3262"/>
                </a:lnTo>
                <a:lnTo>
                  <a:pt x="1596" y="3273"/>
                </a:lnTo>
                <a:lnTo>
                  <a:pt x="1617" y="3284"/>
                </a:lnTo>
                <a:lnTo>
                  <a:pt x="1628" y="3290"/>
                </a:lnTo>
                <a:lnTo>
                  <a:pt x="1636" y="3294"/>
                </a:lnTo>
                <a:lnTo>
                  <a:pt x="1639" y="3294"/>
                </a:lnTo>
                <a:lnTo>
                  <a:pt x="1642" y="3295"/>
                </a:lnTo>
                <a:lnTo>
                  <a:pt x="1645" y="3294"/>
                </a:lnTo>
                <a:lnTo>
                  <a:pt x="1647" y="3292"/>
                </a:lnTo>
                <a:lnTo>
                  <a:pt x="1656" y="3282"/>
                </a:lnTo>
                <a:lnTo>
                  <a:pt x="1666" y="3273"/>
                </a:lnTo>
                <a:lnTo>
                  <a:pt x="1672" y="3269"/>
                </a:lnTo>
                <a:lnTo>
                  <a:pt x="1677" y="3267"/>
                </a:lnTo>
                <a:lnTo>
                  <a:pt x="1681" y="3264"/>
                </a:lnTo>
                <a:lnTo>
                  <a:pt x="1684" y="3266"/>
                </a:lnTo>
                <a:lnTo>
                  <a:pt x="1688" y="3270"/>
                </a:lnTo>
                <a:lnTo>
                  <a:pt x="1693" y="3277"/>
                </a:lnTo>
                <a:lnTo>
                  <a:pt x="1695" y="3280"/>
                </a:lnTo>
                <a:lnTo>
                  <a:pt x="1698" y="3282"/>
                </a:lnTo>
                <a:lnTo>
                  <a:pt x="1703" y="3284"/>
                </a:lnTo>
                <a:lnTo>
                  <a:pt x="1708" y="3284"/>
                </a:lnTo>
                <a:lnTo>
                  <a:pt x="1716" y="3285"/>
                </a:lnTo>
                <a:lnTo>
                  <a:pt x="1722" y="3289"/>
                </a:lnTo>
                <a:lnTo>
                  <a:pt x="1728" y="3292"/>
                </a:lnTo>
                <a:lnTo>
                  <a:pt x="1734" y="3297"/>
                </a:lnTo>
                <a:lnTo>
                  <a:pt x="1745" y="3306"/>
                </a:lnTo>
                <a:lnTo>
                  <a:pt x="1753" y="3315"/>
                </a:lnTo>
                <a:lnTo>
                  <a:pt x="1764" y="3321"/>
                </a:lnTo>
                <a:lnTo>
                  <a:pt x="1778" y="3329"/>
                </a:lnTo>
                <a:lnTo>
                  <a:pt x="1793" y="3336"/>
                </a:lnTo>
                <a:lnTo>
                  <a:pt x="1803" y="3341"/>
                </a:lnTo>
                <a:lnTo>
                  <a:pt x="1806" y="3342"/>
                </a:lnTo>
                <a:lnTo>
                  <a:pt x="1810" y="3341"/>
                </a:lnTo>
                <a:lnTo>
                  <a:pt x="1813" y="3338"/>
                </a:lnTo>
                <a:lnTo>
                  <a:pt x="1818" y="3337"/>
                </a:lnTo>
                <a:lnTo>
                  <a:pt x="1820" y="3336"/>
                </a:lnTo>
                <a:lnTo>
                  <a:pt x="1822" y="3336"/>
                </a:lnTo>
                <a:lnTo>
                  <a:pt x="1826" y="3337"/>
                </a:lnTo>
                <a:lnTo>
                  <a:pt x="1828" y="3338"/>
                </a:lnTo>
                <a:lnTo>
                  <a:pt x="1831" y="3340"/>
                </a:lnTo>
                <a:lnTo>
                  <a:pt x="1833" y="3343"/>
                </a:lnTo>
                <a:lnTo>
                  <a:pt x="1836" y="3348"/>
                </a:lnTo>
                <a:lnTo>
                  <a:pt x="1839" y="3354"/>
                </a:lnTo>
                <a:lnTo>
                  <a:pt x="1849" y="3374"/>
                </a:lnTo>
                <a:lnTo>
                  <a:pt x="1856" y="3387"/>
                </a:lnTo>
                <a:lnTo>
                  <a:pt x="1862" y="3396"/>
                </a:lnTo>
                <a:lnTo>
                  <a:pt x="1870" y="3407"/>
                </a:lnTo>
                <a:lnTo>
                  <a:pt x="1876" y="3413"/>
                </a:lnTo>
                <a:lnTo>
                  <a:pt x="1884" y="3421"/>
                </a:lnTo>
                <a:lnTo>
                  <a:pt x="1895" y="3429"/>
                </a:lnTo>
                <a:lnTo>
                  <a:pt x="1905" y="3436"/>
                </a:lnTo>
                <a:lnTo>
                  <a:pt x="1925" y="3450"/>
                </a:lnTo>
                <a:lnTo>
                  <a:pt x="1936" y="3458"/>
                </a:lnTo>
                <a:lnTo>
                  <a:pt x="1938" y="3460"/>
                </a:lnTo>
                <a:lnTo>
                  <a:pt x="1942" y="3465"/>
                </a:lnTo>
                <a:lnTo>
                  <a:pt x="1947" y="3468"/>
                </a:lnTo>
                <a:lnTo>
                  <a:pt x="1953" y="3472"/>
                </a:lnTo>
                <a:lnTo>
                  <a:pt x="1962" y="3474"/>
                </a:lnTo>
                <a:lnTo>
                  <a:pt x="1969" y="3476"/>
                </a:lnTo>
                <a:lnTo>
                  <a:pt x="1973" y="3476"/>
                </a:lnTo>
                <a:lnTo>
                  <a:pt x="1978" y="3476"/>
                </a:lnTo>
                <a:lnTo>
                  <a:pt x="1982" y="3476"/>
                </a:lnTo>
                <a:lnTo>
                  <a:pt x="1986" y="3475"/>
                </a:lnTo>
                <a:lnTo>
                  <a:pt x="1998" y="3467"/>
                </a:lnTo>
                <a:lnTo>
                  <a:pt x="2007" y="3459"/>
                </a:lnTo>
                <a:lnTo>
                  <a:pt x="2011" y="3457"/>
                </a:lnTo>
                <a:lnTo>
                  <a:pt x="2015" y="3456"/>
                </a:lnTo>
                <a:lnTo>
                  <a:pt x="2020" y="3457"/>
                </a:lnTo>
                <a:lnTo>
                  <a:pt x="2027" y="3460"/>
                </a:lnTo>
                <a:lnTo>
                  <a:pt x="2033" y="3464"/>
                </a:lnTo>
                <a:lnTo>
                  <a:pt x="2039" y="3466"/>
                </a:lnTo>
                <a:lnTo>
                  <a:pt x="2045" y="3467"/>
                </a:lnTo>
                <a:lnTo>
                  <a:pt x="2049" y="3468"/>
                </a:lnTo>
                <a:lnTo>
                  <a:pt x="2053" y="3469"/>
                </a:lnTo>
                <a:lnTo>
                  <a:pt x="2055" y="3471"/>
                </a:lnTo>
                <a:lnTo>
                  <a:pt x="2057" y="3474"/>
                </a:lnTo>
                <a:lnTo>
                  <a:pt x="2057" y="3478"/>
                </a:lnTo>
                <a:lnTo>
                  <a:pt x="2058" y="3485"/>
                </a:lnTo>
                <a:lnTo>
                  <a:pt x="2061" y="3491"/>
                </a:lnTo>
                <a:lnTo>
                  <a:pt x="2064" y="3497"/>
                </a:lnTo>
                <a:lnTo>
                  <a:pt x="2068" y="3504"/>
                </a:lnTo>
                <a:lnTo>
                  <a:pt x="2070" y="3512"/>
                </a:lnTo>
                <a:lnTo>
                  <a:pt x="2070" y="3520"/>
                </a:lnTo>
                <a:lnTo>
                  <a:pt x="2069" y="3524"/>
                </a:lnTo>
                <a:lnTo>
                  <a:pt x="2068" y="3530"/>
                </a:lnTo>
                <a:lnTo>
                  <a:pt x="2064" y="3534"/>
                </a:lnTo>
                <a:lnTo>
                  <a:pt x="2060" y="3539"/>
                </a:lnTo>
                <a:lnTo>
                  <a:pt x="2039" y="3564"/>
                </a:lnTo>
                <a:lnTo>
                  <a:pt x="2016" y="3591"/>
                </a:lnTo>
                <a:lnTo>
                  <a:pt x="2006" y="3604"/>
                </a:lnTo>
                <a:lnTo>
                  <a:pt x="1996" y="3615"/>
                </a:lnTo>
                <a:lnTo>
                  <a:pt x="1989" y="3626"/>
                </a:lnTo>
                <a:lnTo>
                  <a:pt x="1986" y="3633"/>
                </a:lnTo>
                <a:lnTo>
                  <a:pt x="1985" y="3641"/>
                </a:lnTo>
                <a:lnTo>
                  <a:pt x="1985" y="3651"/>
                </a:lnTo>
                <a:lnTo>
                  <a:pt x="1986" y="3662"/>
                </a:lnTo>
                <a:lnTo>
                  <a:pt x="1987" y="3672"/>
                </a:lnTo>
                <a:lnTo>
                  <a:pt x="1991" y="3691"/>
                </a:lnTo>
                <a:lnTo>
                  <a:pt x="1992" y="3698"/>
                </a:lnTo>
                <a:lnTo>
                  <a:pt x="1987" y="3703"/>
                </a:lnTo>
                <a:lnTo>
                  <a:pt x="1978" y="3717"/>
                </a:lnTo>
                <a:lnTo>
                  <a:pt x="1972" y="3727"/>
                </a:lnTo>
                <a:lnTo>
                  <a:pt x="1968" y="3736"/>
                </a:lnTo>
                <a:lnTo>
                  <a:pt x="1967" y="3740"/>
                </a:lnTo>
                <a:lnTo>
                  <a:pt x="1966" y="3745"/>
                </a:lnTo>
                <a:lnTo>
                  <a:pt x="1967" y="3750"/>
                </a:lnTo>
                <a:lnTo>
                  <a:pt x="1968" y="3754"/>
                </a:lnTo>
                <a:lnTo>
                  <a:pt x="1972" y="3762"/>
                </a:lnTo>
                <a:lnTo>
                  <a:pt x="1981" y="3772"/>
                </a:lnTo>
                <a:lnTo>
                  <a:pt x="1990" y="3782"/>
                </a:lnTo>
                <a:lnTo>
                  <a:pt x="2001" y="3794"/>
                </a:lnTo>
                <a:lnTo>
                  <a:pt x="2012" y="3807"/>
                </a:lnTo>
                <a:lnTo>
                  <a:pt x="2023" y="3824"/>
                </a:lnTo>
                <a:lnTo>
                  <a:pt x="2028" y="3832"/>
                </a:lnTo>
                <a:lnTo>
                  <a:pt x="2032" y="3843"/>
                </a:lnTo>
                <a:lnTo>
                  <a:pt x="2036" y="3853"/>
                </a:lnTo>
                <a:lnTo>
                  <a:pt x="2039" y="3865"/>
                </a:lnTo>
                <a:lnTo>
                  <a:pt x="2046" y="3886"/>
                </a:lnTo>
                <a:lnTo>
                  <a:pt x="2050" y="3903"/>
                </a:lnTo>
                <a:lnTo>
                  <a:pt x="2054" y="3915"/>
                </a:lnTo>
                <a:lnTo>
                  <a:pt x="2058" y="3925"/>
                </a:lnTo>
                <a:lnTo>
                  <a:pt x="2063" y="3934"/>
                </a:lnTo>
                <a:lnTo>
                  <a:pt x="2070" y="3942"/>
                </a:lnTo>
                <a:lnTo>
                  <a:pt x="2077" y="3952"/>
                </a:lnTo>
                <a:lnTo>
                  <a:pt x="2086" y="3963"/>
                </a:lnTo>
                <a:lnTo>
                  <a:pt x="2093" y="3970"/>
                </a:lnTo>
                <a:lnTo>
                  <a:pt x="2101" y="3976"/>
                </a:lnTo>
                <a:lnTo>
                  <a:pt x="2110" y="3982"/>
                </a:lnTo>
                <a:lnTo>
                  <a:pt x="2119" y="3987"/>
                </a:lnTo>
                <a:lnTo>
                  <a:pt x="2140" y="3998"/>
                </a:lnTo>
                <a:lnTo>
                  <a:pt x="2162" y="4008"/>
                </a:lnTo>
                <a:lnTo>
                  <a:pt x="2182" y="4018"/>
                </a:lnTo>
                <a:lnTo>
                  <a:pt x="2199" y="4028"/>
                </a:lnTo>
                <a:lnTo>
                  <a:pt x="2205" y="4032"/>
                </a:lnTo>
                <a:lnTo>
                  <a:pt x="2209" y="4038"/>
                </a:lnTo>
                <a:lnTo>
                  <a:pt x="2211" y="4040"/>
                </a:lnTo>
                <a:lnTo>
                  <a:pt x="2212" y="4043"/>
                </a:lnTo>
                <a:lnTo>
                  <a:pt x="2212" y="4045"/>
                </a:lnTo>
                <a:lnTo>
                  <a:pt x="2212" y="4047"/>
                </a:lnTo>
                <a:lnTo>
                  <a:pt x="2210" y="4067"/>
                </a:lnTo>
                <a:lnTo>
                  <a:pt x="2209" y="4086"/>
                </a:lnTo>
                <a:lnTo>
                  <a:pt x="2209" y="4103"/>
                </a:lnTo>
                <a:lnTo>
                  <a:pt x="2211" y="4116"/>
                </a:lnTo>
                <a:lnTo>
                  <a:pt x="2213" y="4127"/>
                </a:lnTo>
                <a:lnTo>
                  <a:pt x="2214" y="4132"/>
                </a:lnTo>
                <a:lnTo>
                  <a:pt x="2214" y="4136"/>
                </a:lnTo>
                <a:lnTo>
                  <a:pt x="2213" y="4139"/>
                </a:lnTo>
                <a:lnTo>
                  <a:pt x="2211" y="4146"/>
                </a:lnTo>
                <a:lnTo>
                  <a:pt x="2209" y="4155"/>
                </a:lnTo>
                <a:lnTo>
                  <a:pt x="2207" y="4166"/>
                </a:lnTo>
                <a:lnTo>
                  <a:pt x="2206" y="4175"/>
                </a:lnTo>
                <a:lnTo>
                  <a:pt x="2205" y="4185"/>
                </a:lnTo>
                <a:lnTo>
                  <a:pt x="2204" y="4196"/>
                </a:lnTo>
                <a:lnTo>
                  <a:pt x="2202" y="4204"/>
                </a:lnTo>
                <a:lnTo>
                  <a:pt x="2201" y="4210"/>
                </a:lnTo>
                <a:lnTo>
                  <a:pt x="2199" y="4221"/>
                </a:lnTo>
                <a:lnTo>
                  <a:pt x="2195" y="4243"/>
                </a:lnTo>
                <a:lnTo>
                  <a:pt x="2193" y="4263"/>
                </a:lnTo>
                <a:lnTo>
                  <a:pt x="2192" y="4272"/>
                </a:lnTo>
                <a:lnTo>
                  <a:pt x="2188" y="4271"/>
                </a:lnTo>
                <a:lnTo>
                  <a:pt x="2179" y="4270"/>
                </a:lnTo>
                <a:lnTo>
                  <a:pt x="2173" y="4270"/>
                </a:lnTo>
                <a:lnTo>
                  <a:pt x="2170" y="4271"/>
                </a:lnTo>
                <a:lnTo>
                  <a:pt x="2168" y="4272"/>
                </a:lnTo>
                <a:lnTo>
                  <a:pt x="2167" y="4273"/>
                </a:lnTo>
                <a:lnTo>
                  <a:pt x="2167" y="4276"/>
                </a:lnTo>
                <a:lnTo>
                  <a:pt x="2167" y="4278"/>
                </a:lnTo>
                <a:lnTo>
                  <a:pt x="2179" y="4288"/>
                </a:lnTo>
                <a:lnTo>
                  <a:pt x="2190" y="4298"/>
                </a:lnTo>
                <a:lnTo>
                  <a:pt x="2190" y="4306"/>
                </a:lnTo>
                <a:lnTo>
                  <a:pt x="2189" y="4315"/>
                </a:lnTo>
                <a:lnTo>
                  <a:pt x="2187" y="4324"/>
                </a:lnTo>
                <a:lnTo>
                  <a:pt x="2187" y="4329"/>
                </a:lnTo>
                <a:lnTo>
                  <a:pt x="2181" y="4337"/>
                </a:lnTo>
                <a:lnTo>
                  <a:pt x="2173" y="4346"/>
                </a:lnTo>
                <a:lnTo>
                  <a:pt x="2173" y="4351"/>
                </a:lnTo>
                <a:lnTo>
                  <a:pt x="2173" y="4361"/>
                </a:lnTo>
                <a:lnTo>
                  <a:pt x="2174" y="4373"/>
                </a:lnTo>
                <a:lnTo>
                  <a:pt x="2176" y="4382"/>
                </a:lnTo>
                <a:lnTo>
                  <a:pt x="2178" y="4388"/>
                </a:lnTo>
                <a:lnTo>
                  <a:pt x="2179" y="4393"/>
                </a:lnTo>
                <a:lnTo>
                  <a:pt x="2179" y="4397"/>
                </a:lnTo>
                <a:lnTo>
                  <a:pt x="2178" y="4401"/>
                </a:lnTo>
                <a:lnTo>
                  <a:pt x="2174" y="4415"/>
                </a:lnTo>
                <a:lnTo>
                  <a:pt x="2171" y="4430"/>
                </a:lnTo>
                <a:lnTo>
                  <a:pt x="2168" y="4439"/>
                </a:lnTo>
                <a:lnTo>
                  <a:pt x="2164" y="4453"/>
                </a:lnTo>
                <a:lnTo>
                  <a:pt x="2158" y="4468"/>
                </a:lnTo>
                <a:lnTo>
                  <a:pt x="2150" y="4484"/>
                </a:lnTo>
                <a:lnTo>
                  <a:pt x="2143" y="4498"/>
                </a:lnTo>
                <a:lnTo>
                  <a:pt x="2138" y="4507"/>
                </a:lnTo>
                <a:lnTo>
                  <a:pt x="2136" y="4510"/>
                </a:lnTo>
                <a:lnTo>
                  <a:pt x="2136" y="4513"/>
                </a:lnTo>
                <a:lnTo>
                  <a:pt x="2135" y="4517"/>
                </a:lnTo>
                <a:lnTo>
                  <a:pt x="2136" y="4519"/>
                </a:lnTo>
                <a:lnTo>
                  <a:pt x="2138" y="4523"/>
                </a:lnTo>
                <a:lnTo>
                  <a:pt x="2141" y="4526"/>
                </a:lnTo>
                <a:lnTo>
                  <a:pt x="2142" y="4527"/>
                </a:lnTo>
                <a:lnTo>
                  <a:pt x="2143" y="4528"/>
                </a:lnTo>
                <a:lnTo>
                  <a:pt x="2143" y="4530"/>
                </a:lnTo>
                <a:lnTo>
                  <a:pt x="2142" y="4532"/>
                </a:lnTo>
                <a:lnTo>
                  <a:pt x="2139" y="4535"/>
                </a:lnTo>
                <a:lnTo>
                  <a:pt x="2137" y="4536"/>
                </a:lnTo>
                <a:lnTo>
                  <a:pt x="2136" y="4537"/>
                </a:lnTo>
                <a:lnTo>
                  <a:pt x="2136" y="4539"/>
                </a:lnTo>
                <a:lnTo>
                  <a:pt x="2136" y="4541"/>
                </a:lnTo>
                <a:lnTo>
                  <a:pt x="2136" y="4543"/>
                </a:lnTo>
                <a:lnTo>
                  <a:pt x="2141" y="4556"/>
                </a:lnTo>
                <a:lnTo>
                  <a:pt x="2145" y="4571"/>
                </a:lnTo>
                <a:lnTo>
                  <a:pt x="2138" y="4583"/>
                </a:lnTo>
                <a:lnTo>
                  <a:pt x="2130" y="4594"/>
                </a:lnTo>
                <a:lnTo>
                  <a:pt x="2130" y="4600"/>
                </a:lnTo>
                <a:lnTo>
                  <a:pt x="2129" y="4607"/>
                </a:lnTo>
                <a:lnTo>
                  <a:pt x="2129" y="4616"/>
                </a:lnTo>
                <a:lnTo>
                  <a:pt x="2129" y="4630"/>
                </a:lnTo>
                <a:lnTo>
                  <a:pt x="2129" y="4645"/>
                </a:lnTo>
                <a:lnTo>
                  <a:pt x="2129" y="4661"/>
                </a:lnTo>
                <a:lnTo>
                  <a:pt x="2129" y="4667"/>
                </a:lnTo>
                <a:lnTo>
                  <a:pt x="2128" y="4674"/>
                </a:lnTo>
                <a:lnTo>
                  <a:pt x="2126" y="4680"/>
                </a:lnTo>
                <a:lnTo>
                  <a:pt x="2124" y="4685"/>
                </a:lnTo>
                <a:lnTo>
                  <a:pt x="2117" y="4693"/>
                </a:lnTo>
                <a:lnTo>
                  <a:pt x="2110" y="4698"/>
                </a:lnTo>
                <a:lnTo>
                  <a:pt x="2106" y="4702"/>
                </a:lnTo>
                <a:lnTo>
                  <a:pt x="2105" y="4705"/>
                </a:lnTo>
                <a:lnTo>
                  <a:pt x="2105" y="4710"/>
                </a:lnTo>
                <a:lnTo>
                  <a:pt x="2107" y="4718"/>
                </a:lnTo>
                <a:lnTo>
                  <a:pt x="2113" y="4730"/>
                </a:lnTo>
                <a:lnTo>
                  <a:pt x="2116" y="4739"/>
                </a:lnTo>
                <a:lnTo>
                  <a:pt x="2116" y="4741"/>
                </a:lnTo>
                <a:lnTo>
                  <a:pt x="2116" y="4744"/>
                </a:lnTo>
                <a:lnTo>
                  <a:pt x="2115" y="4746"/>
                </a:lnTo>
                <a:lnTo>
                  <a:pt x="2114" y="4747"/>
                </a:lnTo>
                <a:lnTo>
                  <a:pt x="2111" y="4749"/>
                </a:lnTo>
                <a:lnTo>
                  <a:pt x="2107" y="4750"/>
                </a:lnTo>
                <a:lnTo>
                  <a:pt x="2106" y="4750"/>
                </a:lnTo>
                <a:lnTo>
                  <a:pt x="2105" y="4752"/>
                </a:lnTo>
                <a:lnTo>
                  <a:pt x="2104" y="4755"/>
                </a:lnTo>
                <a:lnTo>
                  <a:pt x="2104" y="4760"/>
                </a:lnTo>
                <a:lnTo>
                  <a:pt x="2105" y="4765"/>
                </a:lnTo>
                <a:lnTo>
                  <a:pt x="2106" y="4768"/>
                </a:lnTo>
                <a:lnTo>
                  <a:pt x="2107" y="4770"/>
                </a:lnTo>
                <a:lnTo>
                  <a:pt x="2108" y="4771"/>
                </a:lnTo>
                <a:lnTo>
                  <a:pt x="2110" y="4773"/>
                </a:lnTo>
                <a:lnTo>
                  <a:pt x="2110" y="4775"/>
                </a:lnTo>
                <a:lnTo>
                  <a:pt x="2108" y="4778"/>
                </a:lnTo>
                <a:lnTo>
                  <a:pt x="2106" y="4784"/>
                </a:lnTo>
                <a:lnTo>
                  <a:pt x="2099" y="4793"/>
                </a:lnTo>
                <a:lnTo>
                  <a:pt x="2090" y="4802"/>
                </a:lnTo>
                <a:lnTo>
                  <a:pt x="2086" y="4807"/>
                </a:lnTo>
                <a:lnTo>
                  <a:pt x="2084" y="4813"/>
                </a:lnTo>
                <a:lnTo>
                  <a:pt x="2084" y="4816"/>
                </a:lnTo>
                <a:lnTo>
                  <a:pt x="2085" y="4820"/>
                </a:lnTo>
                <a:lnTo>
                  <a:pt x="2086" y="4825"/>
                </a:lnTo>
                <a:lnTo>
                  <a:pt x="2089" y="4830"/>
                </a:lnTo>
                <a:lnTo>
                  <a:pt x="2092" y="4837"/>
                </a:lnTo>
                <a:lnTo>
                  <a:pt x="2094" y="4841"/>
                </a:lnTo>
                <a:lnTo>
                  <a:pt x="2095" y="4841"/>
                </a:lnTo>
                <a:lnTo>
                  <a:pt x="2096" y="4840"/>
                </a:lnTo>
                <a:lnTo>
                  <a:pt x="2096" y="4839"/>
                </a:lnTo>
                <a:lnTo>
                  <a:pt x="2097" y="4838"/>
                </a:lnTo>
                <a:lnTo>
                  <a:pt x="2097" y="4833"/>
                </a:lnTo>
                <a:lnTo>
                  <a:pt x="2098" y="4827"/>
                </a:lnTo>
                <a:lnTo>
                  <a:pt x="2100" y="4820"/>
                </a:lnTo>
                <a:lnTo>
                  <a:pt x="2102" y="4814"/>
                </a:lnTo>
                <a:lnTo>
                  <a:pt x="2105" y="4809"/>
                </a:lnTo>
                <a:lnTo>
                  <a:pt x="2108" y="4806"/>
                </a:lnTo>
                <a:lnTo>
                  <a:pt x="2112" y="4804"/>
                </a:lnTo>
                <a:lnTo>
                  <a:pt x="2114" y="4804"/>
                </a:lnTo>
                <a:lnTo>
                  <a:pt x="2115" y="4806"/>
                </a:lnTo>
                <a:lnTo>
                  <a:pt x="2116" y="4809"/>
                </a:lnTo>
                <a:lnTo>
                  <a:pt x="2116" y="4813"/>
                </a:lnTo>
                <a:lnTo>
                  <a:pt x="2115" y="4819"/>
                </a:lnTo>
                <a:lnTo>
                  <a:pt x="2106" y="4837"/>
                </a:lnTo>
                <a:lnTo>
                  <a:pt x="2101" y="4849"/>
                </a:lnTo>
                <a:lnTo>
                  <a:pt x="2103" y="4859"/>
                </a:lnTo>
                <a:lnTo>
                  <a:pt x="2105" y="4871"/>
                </a:lnTo>
                <a:lnTo>
                  <a:pt x="2107" y="4883"/>
                </a:lnTo>
                <a:lnTo>
                  <a:pt x="2107" y="4893"/>
                </a:lnTo>
                <a:lnTo>
                  <a:pt x="2105" y="4898"/>
                </a:lnTo>
                <a:lnTo>
                  <a:pt x="2102" y="4902"/>
                </a:lnTo>
                <a:lnTo>
                  <a:pt x="2100" y="4905"/>
                </a:lnTo>
                <a:lnTo>
                  <a:pt x="2099" y="4907"/>
                </a:lnTo>
                <a:lnTo>
                  <a:pt x="2098" y="4912"/>
                </a:lnTo>
                <a:lnTo>
                  <a:pt x="2097" y="4917"/>
                </a:lnTo>
                <a:lnTo>
                  <a:pt x="2100" y="4932"/>
                </a:lnTo>
                <a:lnTo>
                  <a:pt x="2103" y="4943"/>
                </a:lnTo>
                <a:lnTo>
                  <a:pt x="2100" y="4954"/>
                </a:lnTo>
                <a:lnTo>
                  <a:pt x="2096" y="4965"/>
                </a:lnTo>
                <a:lnTo>
                  <a:pt x="2099" y="4971"/>
                </a:lnTo>
                <a:lnTo>
                  <a:pt x="2104" y="4979"/>
                </a:lnTo>
                <a:lnTo>
                  <a:pt x="2114" y="4994"/>
                </a:lnTo>
                <a:lnTo>
                  <a:pt x="2134" y="5025"/>
                </a:lnTo>
                <a:lnTo>
                  <a:pt x="2145" y="5040"/>
                </a:lnTo>
                <a:lnTo>
                  <a:pt x="2155" y="5055"/>
                </a:lnTo>
                <a:lnTo>
                  <a:pt x="2164" y="5067"/>
                </a:lnTo>
                <a:lnTo>
                  <a:pt x="2169" y="5073"/>
                </a:lnTo>
                <a:lnTo>
                  <a:pt x="2173" y="5076"/>
                </a:lnTo>
                <a:lnTo>
                  <a:pt x="2176" y="5079"/>
                </a:lnTo>
                <a:lnTo>
                  <a:pt x="2178" y="5081"/>
                </a:lnTo>
                <a:lnTo>
                  <a:pt x="2179" y="5084"/>
                </a:lnTo>
                <a:lnTo>
                  <a:pt x="2179" y="5090"/>
                </a:lnTo>
                <a:lnTo>
                  <a:pt x="2179" y="5093"/>
                </a:lnTo>
                <a:lnTo>
                  <a:pt x="2181" y="5096"/>
                </a:lnTo>
                <a:lnTo>
                  <a:pt x="2181" y="5097"/>
                </a:lnTo>
                <a:lnTo>
                  <a:pt x="2183" y="5099"/>
                </a:lnTo>
                <a:lnTo>
                  <a:pt x="2188" y="5103"/>
                </a:lnTo>
                <a:lnTo>
                  <a:pt x="2196" y="5104"/>
                </a:lnTo>
                <a:lnTo>
                  <a:pt x="2216" y="5110"/>
                </a:lnTo>
                <a:lnTo>
                  <a:pt x="2229" y="5114"/>
                </a:lnTo>
                <a:lnTo>
                  <a:pt x="2239" y="5116"/>
                </a:lnTo>
                <a:lnTo>
                  <a:pt x="2244" y="5117"/>
                </a:lnTo>
                <a:lnTo>
                  <a:pt x="2249" y="5118"/>
                </a:lnTo>
                <a:lnTo>
                  <a:pt x="2254" y="5120"/>
                </a:lnTo>
                <a:lnTo>
                  <a:pt x="2258" y="5123"/>
                </a:lnTo>
                <a:lnTo>
                  <a:pt x="2268" y="5132"/>
                </a:lnTo>
                <a:lnTo>
                  <a:pt x="2274" y="5138"/>
                </a:lnTo>
                <a:lnTo>
                  <a:pt x="2277" y="5141"/>
                </a:lnTo>
                <a:lnTo>
                  <a:pt x="2279" y="5142"/>
                </a:lnTo>
                <a:lnTo>
                  <a:pt x="2281" y="5142"/>
                </a:lnTo>
                <a:lnTo>
                  <a:pt x="2283" y="5140"/>
                </a:lnTo>
                <a:lnTo>
                  <a:pt x="2287" y="5134"/>
                </a:lnTo>
                <a:lnTo>
                  <a:pt x="2289" y="5128"/>
                </a:lnTo>
                <a:lnTo>
                  <a:pt x="2291" y="5125"/>
                </a:lnTo>
                <a:lnTo>
                  <a:pt x="2295" y="5122"/>
                </a:lnTo>
                <a:lnTo>
                  <a:pt x="2300" y="5115"/>
                </a:lnTo>
                <a:lnTo>
                  <a:pt x="2309" y="5103"/>
                </a:lnTo>
                <a:lnTo>
                  <a:pt x="2313" y="5097"/>
                </a:lnTo>
                <a:lnTo>
                  <a:pt x="2317" y="5092"/>
                </a:lnTo>
                <a:lnTo>
                  <a:pt x="2322" y="5089"/>
                </a:lnTo>
                <a:lnTo>
                  <a:pt x="2326" y="5088"/>
                </a:lnTo>
                <a:lnTo>
                  <a:pt x="2334" y="5089"/>
                </a:lnTo>
                <a:lnTo>
                  <a:pt x="2339" y="5090"/>
                </a:lnTo>
                <a:lnTo>
                  <a:pt x="2342" y="5092"/>
                </a:lnTo>
                <a:lnTo>
                  <a:pt x="2344" y="5093"/>
                </a:lnTo>
                <a:lnTo>
                  <a:pt x="2348" y="5094"/>
                </a:lnTo>
                <a:lnTo>
                  <a:pt x="2353" y="5094"/>
                </a:lnTo>
                <a:lnTo>
                  <a:pt x="2357" y="5094"/>
                </a:lnTo>
                <a:lnTo>
                  <a:pt x="2361" y="5093"/>
                </a:lnTo>
                <a:lnTo>
                  <a:pt x="2366" y="5090"/>
                </a:lnTo>
                <a:lnTo>
                  <a:pt x="2367" y="5089"/>
                </a:lnTo>
                <a:close/>
                <a:moveTo>
                  <a:pt x="7702" y="1402"/>
                </a:moveTo>
                <a:lnTo>
                  <a:pt x="7724" y="1392"/>
                </a:lnTo>
                <a:lnTo>
                  <a:pt x="7743" y="1399"/>
                </a:lnTo>
                <a:lnTo>
                  <a:pt x="7759" y="1385"/>
                </a:lnTo>
                <a:lnTo>
                  <a:pt x="7762" y="1384"/>
                </a:lnTo>
                <a:lnTo>
                  <a:pt x="7771" y="1382"/>
                </a:lnTo>
                <a:lnTo>
                  <a:pt x="7775" y="1381"/>
                </a:lnTo>
                <a:lnTo>
                  <a:pt x="7778" y="1379"/>
                </a:lnTo>
                <a:lnTo>
                  <a:pt x="7780" y="1376"/>
                </a:lnTo>
                <a:lnTo>
                  <a:pt x="7781" y="1374"/>
                </a:lnTo>
                <a:lnTo>
                  <a:pt x="7783" y="1368"/>
                </a:lnTo>
                <a:lnTo>
                  <a:pt x="7785" y="1361"/>
                </a:lnTo>
                <a:lnTo>
                  <a:pt x="7785" y="1358"/>
                </a:lnTo>
                <a:lnTo>
                  <a:pt x="7783" y="1353"/>
                </a:lnTo>
                <a:lnTo>
                  <a:pt x="7778" y="1351"/>
                </a:lnTo>
                <a:lnTo>
                  <a:pt x="7769" y="1349"/>
                </a:lnTo>
                <a:lnTo>
                  <a:pt x="7760" y="1348"/>
                </a:lnTo>
                <a:lnTo>
                  <a:pt x="7753" y="1345"/>
                </a:lnTo>
                <a:lnTo>
                  <a:pt x="7746" y="1342"/>
                </a:lnTo>
                <a:lnTo>
                  <a:pt x="7741" y="1340"/>
                </a:lnTo>
                <a:lnTo>
                  <a:pt x="7737" y="1338"/>
                </a:lnTo>
                <a:lnTo>
                  <a:pt x="7732" y="1338"/>
                </a:lnTo>
                <a:lnTo>
                  <a:pt x="7727" y="1341"/>
                </a:lnTo>
                <a:lnTo>
                  <a:pt x="7720" y="1346"/>
                </a:lnTo>
                <a:lnTo>
                  <a:pt x="7708" y="1358"/>
                </a:lnTo>
                <a:lnTo>
                  <a:pt x="7698" y="1365"/>
                </a:lnTo>
                <a:lnTo>
                  <a:pt x="7692" y="1369"/>
                </a:lnTo>
                <a:lnTo>
                  <a:pt x="7687" y="1373"/>
                </a:lnTo>
                <a:lnTo>
                  <a:pt x="7684" y="1376"/>
                </a:lnTo>
                <a:lnTo>
                  <a:pt x="7681" y="1380"/>
                </a:lnTo>
                <a:lnTo>
                  <a:pt x="7681" y="1384"/>
                </a:lnTo>
                <a:lnTo>
                  <a:pt x="7685" y="1388"/>
                </a:lnTo>
                <a:lnTo>
                  <a:pt x="7692" y="1395"/>
                </a:lnTo>
                <a:lnTo>
                  <a:pt x="7696" y="1399"/>
                </a:lnTo>
                <a:lnTo>
                  <a:pt x="7702" y="1402"/>
                </a:lnTo>
                <a:close/>
                <a:moveTo>
                  <a:pt x="6968" y="1025"/>
                </a:moveTo>
                <a:lnTo>
                  <a:pt x="7013" y="1101"/>
                </a:lnTo>
                <a:lnTo>
                  <a:pt x="7017" y="1104"/>
                </a:lnTo>
                <a:lnTo>
                  <a:pt x="7029" y="1111"/>
                </a:lnTo>
                <a:lnTo>
                  <a:pt x="7036" y="1114"/>
                </a:lnTo>
                <a:lnTo>
                  <a:pt x="7042" y="1118"/>
                </a:lnTo>
                <a:lnTo>
                  <a:pt x="7049" y="1119"/>
                </a:lnTo>
                <a:lnTo>
                  <a:pt x="7055" y="1118"/>
                </a:lnTo>
                <a:lnTo>
                  <a:pt x="7063" y="1114"/>
                </a:lnTo>
                <a:lnTo>
                  <a:pt x="7072" y="1112"/>
                </a:lnTo>
                <a:lnTo>
                  <a:pt x="7075" y="1110"/>
                </a:lnTo>
                <a:lnTo>
                  <a:pt x="7077" y="1108"/>
                </a:lnTo>
                <a:lnTo>
                  <a:pt x="7078" y="1105"/>
                </a:lnTo>
                <a:lnTo>
                  <a:pt x="7079" y="1101"/>
                </a:lnTo>
                <a:lnTo>
                  <a:pt x="7082" y="1091"/>
                </a:lnTo>
                <a:lnTo>
                  <a:pt x="7087" y="1082"/>
                </a:lnTo>
                <a:lnTo>
                  <a:pt x="7088" y="1080"/>
                </a:lnTo>
                <a:lnTo>
                  <a:pt x="7088" y="1079"/>
                </a:lnTo>
                <a:lnTo>
                  <a:pt x="7088" y="1077"/>
                </a:lnTo>
                <a:lnTo>
                  <a:pt x="7087" y="1075"/>
                </a:lnTo>
                <a:lnTo>
                  <a:pt x="7084" y="1072"/>
                </a:lnTo>
                <a:lnTo>
                  <a:pt x="7076" y="1068"/>
                </a:lnTo>
                <a:lnTo>
                  <a:pt x="7055" y="1061"/>
                </a:lnTo>
                <a:lnTo>
                  <a:pt x="7036" y="1053"/>
                </a:lnTo>
                <a:lnTo>
                  <a:pt x="7019" y="1046"/>
                </a:lnTo>
                <a:lnTo>
                  <a:pt x="7009" y="1044"/>
                </a:lnTo>
                <a:lnTo>
                  <a:pt x="7003" y="1043"/>
                </a:lnTo>
                <a:lnTo>
                  <a:pt x="6996" y="1040"/>
                </a:lnTo>
                <a:lnTo>
                  <a:pt x="6993" y="1038"/>
                </a:lnTo>
                <a:lnTo>
                  <a:pt x="6990" y="1035"/>
                </a:lnTo>
                <a:lnTo>
                  <a:pt x="6988" y="1033"/>
                </a:lnTo>
                <a:lnTo>
                  <a:pt x="6986" y="1029"/>
                </a:lnTo>
                <a:lnTo>
                  <a:pt x="6984" y="1025"/>
                </a:lnTo>
                <a:lnTo>
                  <a:pt x="6982" y="1024"/>
                </a:lnTo>
                <a:lnTo>
                  <a:pt x="6981" y="1023"/>
                </a:lnTo>
                <a:lnTo>
                  <a:pt x="6978" y="1023"/>
                </a:lnTo>
                <a:lnTo>
                  <a:pt x="6976" y="1024"/>
                </a:lnTo>
                <a:lnTo>
                  <a:pt x="6976" y="1025"/>
                </a:lnTo>
                <a:lnTo>
                  <a:pt x="6972" y="1025"/>
                </a:lnTo>
                <a:lnTo>
                  <a:pt x="6968" y="1025"/>
                </a:lnTo>
                <a:close/>
                <a:moveTo>
                  <a:pt x="6823" y="1091"/>
                </a:moveTo>
                <a:lnTo>
                  <a:pt x="6857" y="1098"/>
                </a:lnTo>
                <a:lnTo>
                  <a:pt x="6861" y="1094"/>
                </a:lnTo>
                <a:lnTo>
                  <a:pt x="6869" y="1085"/>
                </a:lnTo>
                <a:lnTo>
                  <a:pt x="6875" y="1082"/>
                </a:lnTo>
                <a:lnTo>
                  <a:pt x="6880" y="1079"/>
                </a:lnTo>
                <a:lnTo>
                  <a:pt x="6882" y="1078"/>
                </a:lnTo>
                <a:lnTo>
                  <a:pt x="6883" y="1078"/>
                </a:lnTo>
                <a:lnTo>
                  <a:pt x="6885" y="1079"/>
                </a:lnTo>
                <a:lnTo>
                  <a:pt x="6886" y="1080"/>
                </a:lnTo>
                <a:lnTo>
                  <a:pt x="6891" y="1087"/>
                </a:lnTo>
                <a:lnTo>
                  <a:pt x="6898" y="1094"/>
                </a:lnTo>
                <a:lnTo>
                  <a:pt x="6901" y="1097"/>
                </a:lnTo>
                <a:lnTo>
                  <a:pt x="6904" y="1099"/>
                </a:lnTo>
                <a:lnTo>
                  <a:pt x="6906" y="1100"/>
                </a:lnTo>
                <a:lnTo>
                  <a:pt x="6908" y="1099"/>
                </a:lnTo>
                <a:lnTo>
                  <a:pt x="6915" y="1095"/>
                </a:lnTo>
                <a:lnTo>
                  <a:pt x="6924" y="1085"/>
                </a:lnTo>
                <a:lnTo>
                  <a:pt x="6933" y="1075"/>
                </a:lnTo>
                <a:lnTo>
                  <a:pt x="6940" y="1065"/>
                </a:lnTo>
                <a:lnTo>
                  <a:pt x="6940" y="1060"/>
                </a:lnTo>
                <a:lnTo>
                  <a:pt x="6938" y="1053"/>
                </a:lnTo>
                <a:lnTo>
                  <a:pt x="6933" y="1043"/>
                </a:lnTo>
                <a:lnTo>
                  <a:pt x="6928" y="1034"/>
                </a:lnTo>
                <a:lnTo>
                  <a:pt x="6923" y="1025"/>
                </a:lnTo>
                <a:lnTo>
                  <a:pt x="6917" y="1017"/>
                </a:lnTo>
                <a:lnTo>
                  <a:pt x="6911" y="1012"/>
                </a:lnTo>
                <a:lnTo>
                  <a:pt x="6908" y="1009"/>
                </a:lnTo>
                <a:lnTo>
                  <a:pt x="6898" y="1001"/>
                </a:lnTo>
                <a:lnTo>
                  <a:pt x="6883" y="993"/>
                </a:lnTo>
                <a:lnTo>
                  <a:pt x="6876" y="990"/>
                </a:lnTo>
                <a:lnTo>
                  <a:pt x="6869" y="989"/>
                </a:lnTo>
                <a:lnTo>
                  <a:pt x="6867" y="989"/>
                </a:lnTo>
                <a:lnTo>
                  <a:pt x="6864" y="991"/>
                </a:lnTo>
                <a:lnTo>
                  <a:pt x="6863" y="993"/>
                </a:lnTo>
                <a:lnTo>
                  <a:pt x="6862" y="996"/>
                </a:lnTo>
                <a:lnTo>
                  <a:pt x="6858" y="1012"/>
                </a:lnTo>
                <a:lnTo>
                  <a:pt x="6854" y="1022"/>
                </a:lnTo>
                <a:lnTo>
                  <a:pt x="6852" y="1025"/>
                </a:lnTo>
                <a:lnTo>
                  <a:pt x="6850" y="1026"/>
                </a:lnTo>
                <a:lnTo>
                  <a:pt x="6846" y="1025"/>
                </a:lnTo>
                <a:lnTo>
                  <a:pt x="6844" y="1022"/>
                </a:lnTo>
                <a:lnTo>
                  <a:pt x="6840" y="1018"/>
                </a:lnTo>
                <a:lnTo>
                  <a:pt x="6834" y="1012"/>
                </a:lnTo>
                <a:lnTo>
                  <a:pt x="6826" y="1006"/>
                </a:lnTo>
                <a:lnTo>
                  <a:pt x="6818" y="1000"/>
                </a:lnTo>
                <a:lnTo>
                  <a:pt x="6810" y="996"/>
                </a:lnTo>
                <a:lnTo>
                  <a:pt x="6802" y="993"/>
                </a:lnTo>
                <a:lnTo>
                  <a:pt x="6799" y="992"/>
                </a:lnTo>
                <a:lnTo>
                  <a:pt x="6796" y="992"/>
                </a:lnTo>
                <a:lnTo>
                  <a:pt x="6794" y="992"/>
                </a:lnTo>
                <a:lnTo>
                  <a:pt x="6792" y="993"/>
                </a:lnTo>
                <a:lnTo>
                  <a:pt x="6784" y="1001"/>
                </a:lnTo>
                <a:lnTo>
                  <a:pt x="6775" y="1013"/>
                </a:lnTo>
                <a:lnTo>
                  <a:pt x="6771" y="1019"/>
                </a:lnTo>
                <a:lnTo>
                  <a:pt x="6769" y="1024"/>
                </a:lnTo>
                <a:lnTo>
                  <a:pt x="6767" y="1030"/>
                </a:lnTo>
                <a:lnTo>
                  <a:pt x="6767" y="1034"/>
                </a:lnTo>
                <a:lnTo>
                  <a:pt x="6769" y="1040"/>
                </a:lnTo>
                <a:lnTo>
                  <a:pt x="6772" y="1047"/>
                </a:lnTo>
                <a:lnTo>
                  <a:pt x="6775" y="1057"/>
                </a:lnTo>
                <a:lnTo>
                  <a:pt x="6778" y="1074"/>
                </a:lnTo>
                <a:lnTo>
                  <a:pt x="6780" y="1084"/>
                </a:lnTo>
                <a:lnTo>
                  <a:pt x="6784" y="1095"/>
                </a:lnTo>
                <a:lnTo>
                  <a:pt x="6787" y="1105"/>
                </a:lnTo>
                <a:lnTo>
                  <a:pt x="6791" y="1113"/>
                </a:lnTo>
                <a:lnTo>
                  <a:pt x="6795" y="1121"/>
                </a:lnTo>
                <a:lnTo>
                  <a:pt x="6799" y="1125"/>
                </a:lnTo>
                <a:lnTo>
                  <a:pt x="6801" y="1126"/>
                </a:lnTo>
                <a:lnTo>
                  <a:pt x="6802" y="1127"/>
                </a:lnTo>
                <a:lnTo>
                  <a:pt x="6804" y="1126"/>
                </a:lnTo>
                <a:lnTo>
                  <a:pt x="6806" y="1125"/>
                </a:lnTo>
                <a:lnTo>
                  <a:pt x="6815" y="1107"/>
                </a:lnTo>
                <a:lnTo>
                  <a:pt x="6818" y="1098"/>
                </a:lnTo>
                <a:lnTo>
                  <a:pt x="6823" y="1091"/>
                </a:lnTo>
                <a:close/>
                <a:moveTo>
                  <a:pt x="6844" y="1161"/>
                </a:moveTo>
                <a:lnTo>
                  <a:pt x="6845" y="1167"/>
                </a:lnTo>
                <a:lnTo>
                  <a:pt x="6846" y="1173"/>
                </a:lnTo>
                <a:lnTo>
                  <a:pt x="6848" y="1180"/>
                </a:lnTo>
                <a:lnTo>
                  <a:pt x="6851" y="1187"/>
                </a:lnTo>
                <a:lnTo>
                  <a:pt x="6854" y="1198"/>
                </a:lnTo>
                <a:lnTo>
                  <a:pt x="6854" y="1205"/>
                </a:lnTo>
                <a:lnTo>
                  <a:pt x="6847" y="1206"/>
                </a:lnTo>
                <a:lnTo>
                  <a:pt x="6839" y="1208"/>
                </a:lnTo>
                <a:lnTo>
                  <a:pt x="6836" y="1209"/>
                </a:lnTo>
                <a:lnTo>
                  <a:pt x="6835" y="1211"/>
                </a:lnTo>
                <a:lnTo>
                  <a:pt x="6837" y="1213"/>
                </a:lnTo>
                <a:lnTo>
                  <a:pt x="6843" y="1217"/>
                </a:lnTo>
                <a:lnTo>
                  <a:pt x="6852" y="1221"/>
                </a:lnTo>
                <a:lnTo>
                  <a:pt x="6858" y="1223"/>
                </a:lnTo>
                <a:lnTo>
                  <a:pt x="6864" y="1226"/>
                </a:lnTo>
                <a:lnTo>
                  <a:pt x="6869" y="1227"/>
                </a:lnTo>
                <a:lnTo>
                  <a:pt x="6879" y="1228"/>
                </a:lnTo>
                <a:lnTo>
                  <a:pt x="6888" y="1231"/>
                </a:lnTo>
                <a:lnTo>
                  <a:pt x="6894" y="1233"/>
                </a:lnTo>
                <a:lnTo>
                  <a:pt x="6900" y="1235"/>
                </a:lnTo>
                <a:lnTo>
                  <a:pt x="6906" y="1235"/>
                </a:lnTo>
                <a:lnTo>
                  <a:pt x="6912" y="1234"/>
                </a:lnTo>
                <a:lnTo>
                  <a:pt x="6918" y="1232"/>
                </a:lnTo>
                <a:lnTo>
                  <a:pt x="6921" y="1229"/>
                </a:lnTo>
                <a:lnTo>
                  <a:pt x="6922" y="1227"/>
                </a:lnTo>
                <a:lnTo>
                  <a:pt x="6923" y="1225"/>
                </a:lnTo>
                <a:lnTo>
                  <a:pt x="6923" y="1221"/>
                </a:lnTo>
                <a:lnTo>
                  <a:pt x="6922" y="1219"/>
                </a:lnTo>
                <a:lnTo>
                  <a:pt x="6919" y="1213"/>
                </a:lnTo>
                <a:lnTo>
                  <a:pt x="6916" y="1208"/>
                </a:lnTo>
                <a:lnTo>
                  <a:pt x="6911" y="1203"/>
                </a:lnTo>
                <a:lnTo>
                  <a:pt x="6906" y="1197"/>
                </a:lnTo>
                <a:lnTo>
                  <a:pt x="6897" y="1189"/>
                </a:lnTo>
                <a:lnTo>
                  <a:pt x="6885" y="1180"/>
                </a:lnTo>
                <a:lnTo>
                  <a:pt x="6879" y="1175"/>
                </a:lnTo>
                <a:lnTo>
                  <a:pt x="6875" y="1168"/>
                </a:lnTo>
                <a:lnTo>
                  <a:pt x="6871" y="1161"/>
                </a:lnTo>
                <a:lnTo>
                  <a:pt x="6867" y="1152"/>
                </a:lnTo>
                <a:lnTo>
                  <a:pt x="6863" y="1138"/>
                </a:lnTo>
                <a:lnTo>
                  <a:pt x="6860" y="1132"/>
                </a:lnTo>
                <a:lnTo>
                  <a:pt x="6857" y="1133"/>
                </a:lnTo>
                <a:lnTo>
                  <a:pt x="6854" y="1135"/>
                </a:lnTo>
                <a:lnTo>
                  <a:pt x="6850" y="1139"/>
                </a:lnTo>
                <a:lnTo>
                  <a:pt x="6847" y="1142"/>
                </a:lnTo>
                <a:lnTo>
                  <a:pt x="6845" y="1152"/>
                </a:lnTo>
                <a:lnTo>
                  <a:pt x="6844" y="1161"/>
                </a:lnTo>
                <a:close/>
                <a:moveTo>
                  <a:pt x="5969" y="723"/>
                </a:moveTo>
                <a:lnTo>
                  <a:pt x="5964" y="730"/>
                </a:lnTo>
                <a:lnTo>
                  <a:pt x="5956" y="738"/>
                </a:lnTo>
                <a:lnTo>
                  <a:pt x="5946" y="747"/>
                </a:lnTo>
                <a:lnTo>
                  <a:pt x="5937" y="757"/>
                </a:lnTo>
                <a:lnTo>
                  <a:pt x="5933" y="761"/>
                </a:lnTo>
                <a:lnTo>
                  <a:pt x="5930" y="767"/>
                </a:lnTo>
                <a:lnTo>
                  <a:pt x="5928" y="772"/>
                </a:lnTo>
                <a:lnTo>
                  <a:pt x="5925" y="778"/>
                </a:lnTo>
                <a:lnTo>
                  <a:pt x="5925" y="783"/>
                </a:lnTo>
                <a:lnTo>
                  <a:pt x="5926" y="790"/>
                </a:lnTo>
                <a:lnTo>
                  <a:pt x="5930" y="796"/>
                </a:lnTo>
                <a:lnTo>
                  <a:pt x="5935" y="802"/>
                </a:lnTo>
                <a:lnTo>
                  <a:pt x="5941" y="807"/>
                </a:lnTo>
                <a:lnTo>
                  <a:pt x="5947" y="811"/>
                </a:lnTo>
                <a:lnTo>
                  <a:pt x="5953" y="813"/>
                </a:lnTo>
                <a:lnTo>
                  <a:pt x="5958" y="814"/>
                </a:lnTo>
                <a:lnTo>
                  <a:pt x="5963" y="814"/>
                </a:lnTo>
                <a:lnTo>
                  <a:pt x="5968" y="812"/>
                </a:lnTo>
                <a:lnTo>
                  <a:pt x="5974" y="810"/>
                </a:lnTo>
                <a:lnTo>
                  <a:pt x="5978" y="807"/>
                </a:lnTo>
                <a:lnTo>
                  <a:pt x="5986" y="801"/>
                </a:lnTo>
                <a:lnTo>
                  <a:pt x="5994" y="795"/>
                </a:lnTo>
                <a:lnTo>
                  <a:pt x="5997" y="793"/>
                </a:lnTo>
                <a:lnTo>
                  <a:pt x="6000" y="791"/>
                </a:lnTo>
                <a:lnTo>
                  <a:pt x="6003" y="791"/>
                </a:lnTo>
                <a:lnTo>
                  <a:pt x="6005" y="791"/>
                </a:lnTo>
                <a:lnTo>
                  <a:pt x="6007" y="791"/>
                </a:lnTo>
                <a:lnTo>
                  <a:pt x="6010" y="791"/>
                </a:lnTo>
                <a:lnTo>
                  <a:pt x="6014" y="791"/>
                </a:lnTo>
                <a:lnTo>
                  <a:pt x="6019" y="789"/>
                </a:lnTo>
                <a:lnTo>
                  <a:pt x="6027" y="785"/>
                </a:lnTo>
                <a:lnTo>
                  <a:pt x="6038" y="779"/>
                </a:lnTo>
                <a:lnTo>
                  <a:pt x="6046" y="774"/>
                </a:lnTo>
                <a:lnTo>
                  <a:pt x="6054" y="768"/>
                </a:lnTo>
                <a:lnTo>
                  <a:pt x="6060" y="762"/>
                </a:lnTo>
                <a:lnTo>
                  <a:pt x="6063" y="758"/>
                </a:lnTo>
                <a:lnTo>
                  <a:pt x="6062" y="752"/>
                </a:lnTo>
                <a:lnTo>
                  <a:pt x="6058" y="741"/>
                </a:lnTo>
                <a:lnTo>
                  <a:pt x="6054" y="728"/>
                </a:lnTo>
                <a:lnTo>
                  <a:pt x="6048" y="714"/>
                </a:lnTo>
                <a:lnTo>
                  <a:pt x="6038" y="688"/>
                </a:lnTo>
                <a:lnTo>
                  <a:pt x="6032" y="677"/>
                </a:lnTo>
                <a:lnTo>
                  <a:pt x="6029" y="669"/>
                </a:lnTo>
                <a:lnTo>
                  <a:pt x="6022" y="653"/>
                </a:lnTo>
                <a:lnTo>
                  <a:pt x="6017" y="646"/>
                </a:lnTo>
                <a:lnTo>
                  <a:pt x="6011" y="642"/>
                </a:lnTo>
                <a:lnTo>
                  <a:pt x="6009" y="641"/>
                </a:lnTo>
                <a:lnTo>
                  <a:pt x="6006" y="642"/>
                </a:lnTo>
                <a:lnTo>
                  <a:pt x="6004" y="644"/>
                </a:lnTo>
                <a:lnTo>
                  <a:pt x="6002" y="647"/>
                </a:lnTo>
                <a:lnTo>
                  <a:pt x="5995" y="662"/>
                </a:lnTo>
                <a:lnTo>
                  <a:pt x="5987" y="672"/>
                </a:lnTo>
                <a:lnTo>
                  <a:pt x="5981" y="680"/>
                </a:lnTo>
                <a:lnTo>
                  <a:pt x="5976" y="684"/>
                </a:lnTo>
                <a:lnTo>
                  <a:pt x="5970" y="689"/>
                </a:lnTo>
                <a:lnTo>
                  <a:pt x="5967" y="693"/>
                </a:lnTo>
                <a:lnTo>
                  <a:pt x="5965" y="697"/>
                </a:lnTo>
                <a:lnTo>
                  <a:pt x="5964" y="701"/>
                </a:lnTo>
                <a:lnTo>
                  <a:pt x="5967" y="707"/>
                </a:lnTo>
                <a:lnTo>
                  <a:pt x="5972" y="712"/>
                </a:lnTo>
                <a:lnTo>
                  <a:pt x="5969" y="723"/>
                </a:lnTo>
                <a:close/>
                <a:moveTo>
                  <a:pt x="5802" y="468"/>
                </a:moveTo>
                <a:lnTo>
                  <a:pt x="5799" y="476"/>
                </a:lnTo>
                <a:lnTo>
                  <a:pt x="5793" y="485"/>
                </a:lnTo>
                <a:lnTo>
                  <a:pt x="5787" y="493"/>
                </a:lnTo>
                <a:lnTo>
                  <a:pt x="5782" y="501"/>
                </a:lnTo>
                <a:lnTo>
                  <a:pt x="5778" y="508"/>
                </a:lnTo>
                <a:lnTo>
                  <a:pt x="5775" y="515"/>
                </a:lnTo>
                <a:lnTo>
                  <a:pt x="5775" y="518"/>
                </a:lnTo>
                <a:lnTo>
                  <a:pt x="5775" y="521"/>
                </a:lnTo>
                <a:lnTo>
                  <a:pt x="5776" y="526"/>
                </a:lnTo>
                <a:lnTo>
                  <a:pt x="5777" y="530"/>
                </a:lnTo>
                <a:lnTo>
                  <a:pt x="5783" y="537"/>
                </a:lnTo>
                <a:lnTo>
                  <a:pt x="5789" y="545"/>
                </a:lnTo>
                <a:lnTo>
                  <a:pt x="5797" y="551"/>
                </a:lnTo>
                <a:lnTo>
                  <a:pt x="5803" y="556"/>
                </a:lnTo>
                <a:lnTo>
                  <a:pt x="5808" y="560"/>
                </a:lnTo>
                <a:lnTo>
                  <a:pt x="5812" y="563"/>
                </a:lnTo>
                <a:lnTo>
                  <a:pt x="5813" y="565"/>
                </a:lnTo>
                <a:lnTo>
                  <a:pt x="5813" y="567"/>
                </a:lnTo>
                <a:lnTo>
                  <a:pt x="5813" y="567"/>
                </a:lnTo>
                <a:lnTo>
                  <a:pt x="5811" y="567"/>
                </a:lnTo>
                <a:lnTo>
                  <a:pt x="5799" y="563"/>
                </a:lnTo>
                <a:lnTo>
                  <a:pt x="5781" y="557"/>
                </a:lnTo>
                <a:lnTo>
                  <a:pt x="5777" y="556"/>
                </a:lnTo>
                <a:lnTo>
                  <a:pt x="5772" y="556"/>
                </a:lnTo>
                <a:lnTo>
                  <a:pt x="5769" y="556"/>
                </a:lnTo>
                <a:lnTo>
                  <a:pt x="5766" y="557"/>
                </a:lnTo>
                <a:lnTo>
                  <a:pt x="5764" y="559"/>
                </a:lnTo>
                <a:lnTo>
                  <a:pt x="5762" y="562"/>
                </a:lnTo>
                <a:lnTo>
                  <a:pt x="5762" y="567"/>
                </a:lnTo>
                <a:lnTo>
                  <a:pt x="5763" y="572"/>
                </a:lnTo>
                <a:lnTo>
                  <a:pt x="5764" y="577"/>
                </a:lnTo>
                <a:lnTo>
                  <a:pt x="5766" y="582"/>
                </a:lnTo>
                <a:lnTo>
                  <a:pt x="5768" y="587"/>
                </a:lnTo>
                <a:lnTo>
                  <a:pt x="5771" y="592"/>
                </a:lnTo>
                <a:lnTo>
                  <a:pt x="5777" y="599"/>
                </a:lnTo>
                <a:lnTo>
                  <a:pt x="5783" y="604"/>
                </a:lnTo>
                <a:lnTo>
                  <a:pt x="5790" y="607"/>
                </a:lnTo>
                <a:lnTo>
                  <a:pt x="5796" y="608"/>
                </a:lnTo>
                <a:lnTo>
                  <a:pt x="5799" y="608"/>
                </a:lnTo>
                <a:lnTo>
                  <a:pt x="5801" y="607"/>
                </a:lnTo>
                <a:lnTo>
                  <a:pt x="5803" y="606"/>
                </a:lnTo>
                <a:lnTo>
                  <a:pt x="5804" y="605"/>
                </a:lnTo>
                <a:lnTo>
                  <a:pt x="5810" y="594"/>
                </a:lnTo>
                <a:lnTo>
                  <a:pt x="5818" y="582"/>
                </a:lnTo>
                <a:lnTo>
                  <a:pt x="5821" y="577"/>
                </a:lnTo>
                <a:lnTo>
                  <a:pt x="5824" y="574"/>
                </a:lnTo>
                <a:lnTo>
                  <a:pt x="5825" y="574"/>
                </a:lnTo>
                <a:lnTo>
                  <a:pt x="5826" y="573"/>
                </a:lnTo>
                <a:lnTo>
                  <a:pt x="5826" y="574"/>
                </a:lnTo>
                <a:lnTo>
                  <a:pt x="5827" y="575"/>
                </a:lnTo>
                <a:lnTo>
                  <a:pt x="5829" y="582"/>
                </a:lnTo>
                <a:lnTo>
                  <a:pt x="5831" y="591"/>
                </a:lnTo>
                <a:lnTo>
                  <a:pt x="5832" y="595"/>
                </a:lnTo>
                <a:lnTo>
                  <a:pt x="5831" y="599"/>
                </a:lnTo>
                <a:lnTo>
                  <a:pt x="5828" y="603"/>
                </a:lnTo>
                <a:lnTo>
                  <a:pt x="5824" y="608"/>
                </a:lnTo>
                <a:lnTo>
                  <a:pt x="5811" y="616"/>
                </a:lnTo>
                <a:lnTo>
                  <a:pt x="5803" y="621"/>
                </a:lnTo>
                <a:lnTo>
                  <a:pt x="5802" y="623"/>
                </a:lnTo>
                <a:lnTo>
                  <a:pt x="5801" y="624"/>
                </a:lnTo>
                <a:lnTo>
                  <a:pt x="5801" y="626"/>
                </a:lnTo>
                <a:lnTo>
                  <a:pt x="5802" y="627"/>
                </a:lnTo>
                <a:lnTo>
                  <a:pt x="5805" y="633"/>
                </a:lnTo>
                <a:lnTo>
                  <a:pt x="5813" y="638"/>
                </a:lnTo>
                <a:lnTo>
                  <a:pt x="5835" y="656"/>
                </a:lnTo>
                <a:lnTo>
                  <a:pt x="5860" y="678"/>
                </a:lnTo>
                <a:lnTo>
                  <a:pt x="5880" y="695"/>
                </a:lnTo>
                <a:lnTo>
                  <a:pt x="5889" y="703"/>
                </a:lnTo>
                <a:lnTo>
                  <a:pt x="5897" y="705"/>
                </a:lnTo>
                <a:lnTo>
                  <a:pt x="5916" y="708"/>
                </a:lnTo>
                <a:lnTo>
                  <a:pt x="5926" y="709"/>
                </a:lnTo>
                <a:lnTo>
                  <a:pt x="5936" y="710"/>
                </a:lnTo>
                <a:lnTo>
                  <a:pt x="5939" y="710"/>
                </a:lnTo>
                <a:lnTo>
                  <a:pt x="5942" y="709"/>
                </a:lnTo>
                <a:lnTo>
                  <a:pt x="5944" y="708"/>
                </a:lnTo>
                <a:lnTo>
                  <a:pt x="5945" y="707"/>
                </a:lnTo>
                <a:lnTo>
                  <a:pt x="5946" y="693"/>
                </a:lnTo>
                <a:lnTo>
                  <a:pt x="5945" y="670"/>
                </a:lnTo>
                <a:lnTo>
                  <a:pt x="5944" y="648"/>
                </a:lnTo>
                <a:lnTo>
                  <a:pt x="5943" y="639"/>
                </a:lnTo>
                <a:lnTo>
                  <a:pt x="5947" y="637"/>
                </a:lnTo>
                <a:lnTo>
                  <a:pt x="5957" y="629"/>
                </a:lnTo>
                <a:lnTo>
                  <a:pt x="5961" y="623"/>
                </a:lnTo>
                <a:lnTo>
                  <a:pt x="5963" y="617"/>
                </a:lnTo>
                <a:lnTo>
                  <a:pt x="5963" y="613"/>
                </a:lnTo>
                <a:lnTo>
                  <a:pt x="5963" y="609"/>
                </a:lnTo>
                <a:lnTo>
                  <a:pt x="5961" y="604"/>
                </a:lnTo>
                <a:lnTo>
                  <a:pt x="5959" y="600"/>
                </a:lnTo>
                <a:lnTo>
                  <a:pt x="5948" y="582"/>
                </a:lnTo>
                <a:lnTo>
                  <a:pt x="5940" y="570"/>
                </a:lnTo>
                <a:lnTo>
                  <a:pt x="5937" y="565"/>
                </a:lnTo>
                <a:lnTo>
                  <a:pt x="5933" y="562"/>
                </a:lnTo>
                <a:lnTo>
                  <a:pt x="5931" y="562"/>
                </a:lnTo>
                <a:lnTo>
                  <a:pt x="5930" y="562"/>
                </a:lnTo>
                <a:lnTo>
                  <a:pt x="5928" y="563"/>
                </a:lnTo>
                <a:lnTo>
                  <a:pt x="5925" y="564"/>
                </a:lnTo>
                <a:lnTo>
                  <a:pt x="5918" y="577"/>
                </a:lnTo>
                <a:lnTo>
                  <a:pt x="5909" y="594"/>
                </a:lnTo>
                <a:lnTo>
                  <a:pt x="5904" y="601"/>
                </a:lnTo>
                <a:lnTo>
                  <a:pt x="5901" y="605"/>
                </a:lnTo>
                <a:lnTo>
                  <a:pt x="5900" y="606"/>
                </a:lnTo>
                <a:lnTo>
                  <a:pt x="5900" y="606"/>
                </a:lnTo>
                <a:lnTo>
                  <a:pt x="5899" y="604"/>
                </a:lnTo>
                <a:lnTo>
                  <a:pt x="5900" y="602"/>
                </a:lnTo>
                <a:lnTo>
                  <a:pt x="5902" y="587"/>
                </a:lnTo>
                <a:lnTo>
                  <a:pt x="5907" y="574"/>
                </a:lnTo>
                <a:lnTo>
                  <a:pt x="5908" y="568"/>
                </a:lnTo>
                <a:lnTo>
                  <a:pt x="5909" y="562"/>
                </a:lnTo>
                <a:lnTo>
                  <a:pt x="5909" y="558"/>
                </a:lnTo>
                <a:lnTo>
                  <a:pt x="5907" y="555"/>
                </a:lnTo>
                <a:lnTo>
                  <a:pt x="5900" y="550"/>
                </a:lnTo>
                <a:lnTo>
                  <a:pt x="5894" y="546"/>
                </a:lnTo>
                <a:lnTo>
                  <a:pt x="5890" y="543"/>
                </a:lnTo>
                <a:lnTo>
                  <a:pt x="5886" y="543"/>
                </a:lnTo>
                <a:lnTo>
                  <a:pt x="5882" y="545"/>
                </a:lnTo>
                <a:lnTo>
                  <a:pt x="5878" y="548"/>
                </a:lnTo>
                <a:lnTo>
                  <a:pt x="5873" y="553"/>
                </a:lnTo>
                <a:lnTo>
                  <a:pt x="5867" y="557"/>
                </a:lnTo>
                <a:lnTo>
                  <a:pt x="5858" y="562"/>
                </a:lnTo>
                <a:lnTo>
                  <a:pt x="5851" y="567"/>
                </a:lnTo>
                <a:lnTo>
                  <a:pt x="5844" y="570"/>
                </a:lnTo>
                <a:lnTo>
                  <a:pt x="5837" y="572"/>
                </a:lnTo>
                <a:lnTo>
                  <a:pt x="5834" y="572"/>
                </a:lnTo>
                <a:lnTo>
                  <a:pt x="5832" y="572"/>
                </a:lnTo>
                <a:lnTo>
                  <a:pt x="5831" y="572"/>
                </a:lnTo>
                <a:lnTo>
                  <a:pt x="5831" y="571"/>
                </a:lnTo>
                <a:lnTo>
                  <a:pt x="5833" y="565"/>
                </a:lnTo>
                <a:lnTo>
                  <a:pt x="5838" y="558"/>
                </a:lnTo>
                <a:lnTo>
                  <a:pt x="5844" y="552"/>
                </a:lnTo>
                <a:lnTo>
                  <a:pt x="5848" y="548"/>
                </a:lnTo>
                <a:lnTo>
                  <a:pt x="5852" y="545"/>
                </a:lnTo>
                <a:lnTo>
                  <a:pt x="5859" y="538"/>
                </a:lnTo>
                <a:lnTo>
                  <a:pt x="5864" y="535"/>
                </a:lnTo>
                <a:lnTo>
                  <a:pt x="5868" y="533"/>
                </a:lnTo>
                <a:lnTo>
                  <a:pt x="5873" y="532"/>
                </a:lnTo>
                <a:lnTo>
                  <a:pt x="5878" y="533"/>
                </a:lnTo>
                <a:lnTo>
                  <a:pt x="5882" y="533"/>
                </a:lnTo>
                <a:lnTo>
                  <a:pt x="5887" y="534"/>
                </a:lnTo>
                <a:lnTo>
                  <a:pt x="5891" y="533"/>
                </a:lnTo>
                <a:lnTo>
                  <a:pt x="5894" y="533"/>
                </a:lnTo>
                <a:lnTo>
                  <a:pt x="5896" y="532"/>
                </a:lnTo>
                <a:lnTo>
                  <a:pt x="5897" y="530"/>
                </a:lnTo>
                <a:lnTo>
                  <a:pt x="5898" y="529"/>
                </a:lnTo>
                <a:lnTo>
                  <a:pt x="5898" y="527"/>
                </a:lnTo>
                <a:lnTo>
                  <a:pt x="5897" y="519"/>
                </a:lnTo>
                <a:lnTo>
                  <a:pt x="5898" y="507"/>
                </a:lnTo>
                <a:lnTo>
                  <a:pt x="5898" y="496"/>
                </a:lnTo>
                <a:lnTo>
                  <a:pt x="5898" y="491"/>
                </a:lnTo>
                <a:lnTo>
                  <a:pt x="5900" y="490"/>
                </a:lnTo>
                <a:lnTo>
                  <a:pt x="5906" y="486"/>
                </a:lnTo>
                <a:lnTo>
                  <a:pt x="5907" y="483"/>
                </a:lnTo>
                <a:lnTo>
                  <a:pt x="5908" y="480"/>
                </a:lnTo>
                <a:lnTo>
                  <a:pt x="5908" y="476"/>
                </a:lnTo>
                <a:lnTo>
                  <a:pt x="5906" y="473"/>
                </a:lnTo>
                <a:lnTo>
                  <a:pt x="5896" y="463"/>
                </a:lnTo>
                <a:lnTo>
                  <a:pt x="5886" y="447"/>
                </a:lnTo>
                <a:lnTo>
                  <a:pt x="5875" y="432"/>
                </a:lnTo>
                <a:lnTo>
                  <a:pt x="5870" y="423"/>
                </a:lnTo>
                <a:lnTo>
                  <a:pt x="5866" y="419"/>
                </a:lnTo>
                <a:lnTo>
                  <a:pt x="5860" y="416"/>
                </a:lnTo>
                <a:lnTo>
                  <a:pt x="5857" y="415"/>
                </a:lnTo>
                <a:lnTo>
                  <a:pt x="5855" y="415"/>
                </a:lnTo>
                <a:lnTo>
                  <a:pt x="5852" y="416"/>
                </a:lnTo>
                <a:lnTo>
                  <a:pt x="5849" y="417"/>
                </a:lnTo>
                <a:lnTo>
                  <a:pt x="5834" y="430"/>
                </a:lnTo>
                <a:lnTo>
                  <a:pt x="5824" y="439"/>
                </a:lnTo>
                <a:lnTo>
                  <a:pt x="5807" y="449"/>
                </a:lnTo>
                <a:lnTo>
                  <a:pt x="5802" y="468"/>
                </a:lnTo>
                <a:close/>
                <a:moveTo>
                  <a:pt x="5133" y="336"/>
                </a:moveTo>
                <a:lnTo>
                  <a:pt x="5135" y="340"/>
                </a:lnTo>
                <a:lnTo>
                  <a:pt x="5139" y="342"/>
                </a:lnTo>
                <a:lnTo>
                  <a:pt x="5142" y="343"/>
                </a:lnTo>
                <a:lnTo>
                  <a:pt x="5146" y="343"/>
                </a:lnTo>
                <a:lnTo>
                  <a:pt x="5151" y="342"/>
                </a:lnTo>
                <a:lnTo>
                  <a:pt x="5153" y="340"/>
                </a:lnTo>
                <a:lnTo>
                  <a:pt x="5153" y="337"/>
                </a:lnTo>
                <a:lnTo>
                  <a:pt x="5150" y="332"/>
                </a:lnTo>
                <a:lnTo>
                  <a:pt x="5147" y="327"/>
                </a:lnTo>
                <a:lnTo>
                  <a:pt x="5143" y="323"/>
                </a:lnTo>
                <a:lnTo>
                  <a:pt x="5139" y="320"/>
                </a:lnTo>
                <a:lnTo>
                  <a:pt x="5132" y="317"/>
                </a:lnTo>
                <a:lnTo>
                  <a:pt x="5130" y="316"/>
                </a:lnTo>
                <a:lnTo>
                  <a:pt x="5127" y="316"/>
                </a:lnTo>
                <a:lnTo>
                  <a:pt x="5125" y="316"/>
                </a:lnTo>
                <a:lnTo>
                  <a:pt x="5124" y="317"/>
                </a:lnTo>
                <a:lnTo>
                  <a:pt x="5123" y="321"/>
                </a:lnTo>
                <a:lnTo>
                  <a:pt x="5124" y="327"/>
                </a:lnTo>
                <a:lnTo>
                  <a:pt x="5125" y="331"/>
                </a:lnTo>
                <a:lnTo>
                  <a:pt x="5126" y="332"/>
                </a:lnTo>
                <a:lnTo>
                  <a:pt x="5133" y="336"/>
                </a:lnTo>
                <a:close/>
                <a:moveTo>
                  <a:pt x="5132" y="417"/>
                </a:moveTo>
                <a:lnTo>
                  <a:pt x="5131" y="423"/>
                </a:lnTo>
                <a:lnTo>
                  <a:pt x="5130" y="430"/>
                </a:lnTo>
                <a:lnTo>
                  <a:pt x="5131" y="435"/>
                </a:lnTo>
                <a:lnTo>
                  <a:pt x="5132" y="439"/>
                </a:lnTo>
                <a:lnTo>
                  <a:pt x="5135" y="445"/>
                </a:lnTo>
                <a:lnTo>
                  <a:pt x="5139" y="451"/>
                </a:lnTo>
                <a:lnTo>
                  <a:pt x="5146" y="462"/>
                </a:lnTo>
                <a:lnTo>
                  <a:pt x="5149" y="467"/>
                </a:lnTo>
                <a:lnTo>
                  <a:pt x="5151" y="466"/>
                </a:lnTo>
                <a:lnTo>
                  <a:pt x="5153" y="465"/>
                </a:lnTo>
                <a:lnTo>
                  <a:pt x="5156" y="461"/>
                </a:lnTo>
                <a:lnTo>
                  <a:pt x="5161" y="455"/>
                </a:lnTo>
                <a:lnTo>
                  <a:pt x="5166" y="449"/>
                </a:lnTo>
                <a:lnTo>
                  <a:pt x="5171" y="446"/>
                </a:lnTo>
                <a:lnTo>
                  <a:pt x="5176" y="444"/>
                </a:lnTo>
                <a:lnTo>
                  <a:pt x="5182" y="442"/>
                </a:lnTo>
                <a:lnTo>
                  <a:pt x="5186" y="441"/>
                </a:lnTo>
                <a:lnTo>
                  <a:pt x="5189" y="438"/>
                </a:lnTo>
                <a:lnTo>
                  <a:pt x="5190" y="437"/>
                </a:lnTo>
                <a:lnTo>
                  <a:pt x="5190" y="435"/>
                </a:lnTo>
                <a:lnTo>
                  <a:pt x="5190" y="431"/>
                </a:lnTo>
                <a:lnTo>
                  <a:pt x="5189" y="428"/>
                </a:lnTo>
                <a:lnTo>
                  <a:pt x="5185" y="411"/>
                </a:lnTo>
                <a:lnTo>
                  <a:pt x="5182" y="397"/>
                </a:lnTo>
                <a:lnTo>
                  <a:pt x="5178" y="384"/>
                </a:lnTo>
                <a:lnTo>
                  <a:pt x="5176" y="378"/>
                </a:lnTo>
                <a:lnTo>
                  <a:pt x="5171" y="378"/>
                </a:lnTo>
                <a:lnTo>
                  <a:pt x="5164" y="380"/>
                </a:lnTo>
                <a:lnTo>
                  <a:pt x="5157" y="383"/>
                </a:lnTo>
                <a:lnTo>
                  <a:pt x="5154" y="385"/>
                </a:lnTo>
                <a:lnTo>
                  <a:pt x="5151" y="387"/>
                </a:lnTo>
                <a:lnTo>
                  <a:pt x="5147" y="390"/>
                </a:lnTo>
                <a:lnTo>
                  <a:pt x="5141" y="401"/>
                </a:lnTo>
                <a:lnTo>
                  <a:pt x="5134" y="408"/>
                </a:lnTo>
                <a:lnTo>
                  <a:pt x="5132" y="417"/>
                </a:lnTo>
                <a:close/>
                <a:moveTo>
                  <a:pt x="4895" y="531"/>
                </a:moveTo>
                <a:lnTo>
                  <a:pt x="4897" y="535"/>
                </a:lnTo>
                <a:lnTo>
                  <a:pt x="4899" y="540"/>
                </a:lnTo>
                <a:lnTo>
                  <a:pt x="4902" y="545"/>
                </a:lnTo>
                <a:lnTo>
                  <a:pt x="4906" y="548"/>
                </a:lnTo>
                <a:lnTo>
                  <a:pt x="4908" y="550"/>
                </a:lnTo>
                <a:lnTo>
                  <a:pt x="4910" y="550"/>
                </a:lnTo>
                <a:lnTo>
                  <a:pt x="4913" y="551"/>
                </a:lnTo>
                <a:lnTo>
                  <a:pt x="4916" y="550"/>
                </a:lnTo>
                <a:lnTo>
                  <a:pt x="4920" y="549"/>
                </a:lnTo>
                <a:lnTo>
                  <a:pt x="4923" y="548"/>
                </a:lnTo>
                <a:lnTo>
                  <a:pt x="4927" y="546"/>
                </a:lnTo>
                <a:lnTo>
                  <a:pt x="4931" y="541"/>
                </a:lnTo>
                <a:lnTo>
                  <a:pt x="4937" y="535"/>
                </a:lnTo>
                <a:lnTo>
                  <a:pt x="4944" y="531"/>
                </a:lnTo>
                <a:lnTo>
                  <a:pt x="4949" y="528"/>
                </a:lnTo>
                <a:lnTo>
                  <a:pt x="4953" y="526"/>
                </a:lnTo>
                <a:lnTo>
                  <a:pt x="4957" y="526"/>
                </a:lnTo>
                <a:lnTo>
                  <a:pt x="4960" y="528"/>
                </a:lnTo>
                <a:lnTo>
                  <a:pt x="4965" y="530"/>
                </a:lnTo>
                <a:lnTo>
                  <a:pt x="4968" y="534"/>
                </a:lnTo>
                <a:lnTo>
                  <a:pt x="4976" y="543"/>
                </a:lnTo>
                <a:lnTo>
                  <a:pt x="4982" y="552"/>
                </a:lnTo>
                <a:lnTo>
                  <a:pt x="4987" y="556"/>
                </a:lnTo>
                <a:lnTo>
                  <a:pt x="4990" y="558"/>
                </a:lnTo>
                <a:lnTo>
                  <a:pt x="4994" y="560"/>
                </a:lnTo>
                <a:lnTo>
                  <a:pt x="4998" y="560"/>
                </a:lnTo>
                <a:lnTo>
                  <a:pt x="5003" y="558"/>
                </a:lnTo>
                <a:lnTo>
                  <a:pt x="5012" y="552"/>
                </a:lnTo>
                <a:lnTo>
                  <a:pt x="5021" y="545"/>
                </a:lnTo>
                <a:lnTo>
                  <a:pt x="5032" y="536"/>
                </a:lnTo>
                <a:lnTo>
                  <a:pt x="5041" y="529"/>
                </a:lnTo>
                <a:lnTo>
                  <a:pt x="5050" y="524"/>
                </a:lnTo>
                <a:lnTo>
                  <a:pt x="5053" y="521"/>
                </a:lnTo>
                <a:lnTo>
                  <a:pt x="5055" y="520"/>
                </a:lnTo>
                <a:lnTo>
                  <a:pt x="5057" y="520"/>
                </a:lnTo>
                <a:lnTo>
                  <a:pt x="5058" y="520"/>
                </a:lnTo>
                <a:lnTo>
                  <a:pt x="5056" y="532"/>
                </a:lnTo>
                <a:lnTo>
                  <a:pt x="5053" y="548"/>
                </a:lnTo>
                <a:lnTo>
                  <a:pt x="5050" y="556"/>
                </a:lnTo>
                <a:lnTo>
                  <a:pt x="5046" y="563"/>
                </a:lnTo>
                <a:lnTo>
                  <a:pt x="5043" y="569"/>
                </a:lnTo>
                <a:lnTo>
                  <a:pt x="5041" y="572"/>
                </a:lnTo>
                <a:lnTo>
                  <a:pt x="5033" y="575"/>
                </a:lnTo>
                <a:lnTo>
                  <a:pt x="5025" y="578"/>
                </a:lnTo>
                <a:lnTo>
                  <a:pt x="5022" y="579"/>
                </a:lnTo>
                <a:lnTo>
                  <a:pt x="5022" y="581"/>
                </a:lnTo>
                <a:lnTo>
                  <a:pt x="5024" y="583"/>
                </a:lnTo>
                <a:lnTo>
                  <a:pt x="5029" y="586"/>
                </a:lnTo>
                <a:lnTo>
                  <a:pt x="5033" y="587"/>
                </a:lnTo>
                <a:lnTo>
                  <a:pt x="5036" y="589"/>
                </a:lnTo>
                <a:lnTo>
                  <a:pt x="5040" y="587"/>
                </a:lnTo>
                <a:lnTo>
                  <a:pt x="5044" y="587"/>
                </a:lnTo>
                <a:lnTo>
                  <a:pt x="5052" y="583"/>
                </a:lnTo>
                <a:lnTo>
                  <a:pt x="5060" y="577"/>
                </a:lnTo>
                <a:lnTo>
                  <a:pt x="5066" y="571"/>
                </a:lnTo>
                <a:lnTo>
                  <a:pt x="5070" y="562"/>
                </a:lnTo>
                <a:lnTo>
                  <a:pt x="5072" y="559"/>
                </a:lnTo>
                <a:lnTo>
                  <a:pt x="5073" y="555"/>
                </a:lnTo>
                <a:lnTo>
                  <a:pt x="5073" y="551"/>
                </a:lnTo>
                <a:lnTo>
                  <a:pt x="5072" y="548"/>
                </a:lnTo>
                <a:lnTo>
                  <a:pt x="5067" y="536"/>
                </a:lnTo>
                <a:lnTo>
                  <a:pt x="5064" y="530"/>
                </a:lnTo>
                <a:lnTo>
                  <a:pt x="5064" y="528"/>
                </a:lnTo>
                <a:lnTo>
                  <a:pt x="5064" y="527"/>
                </a:lnTo>
                <a:lnTo>
                  <a:pt x="5065" y="525"/>
                </a:lnTo>
                <a:lnTo>
                  <a:pt x="5066" y="524"/>
                </a:lnTo>
                <a:lnTo>
                  <a:pt x="5074" y="520"/>
                </a:lnTo>
                <a:lnTo>
                  <a:pt x="5082" y="516"/>
                </a:lnTo>
                <a:lnTo>
                  <a:pt x="5091" y="513"/>
                </a:lnTo>
                <a:lnTo>
                  <a:pt x="5098" y="513"/>
                </a:lnTo>
                <a:lnTo>
                  <a:pt x="5100" y="511"/>
                </a:lnTo>
                <a:lnTo>
                  <a:pt x="5103" y="506"/>
                </a:lnTo>
                <a:lnTo>
                  <a:pt x="5107" y="498"/>
                </a:lnTo>
                <a:lnTo>
                  <a:pt x="5110" y="489"/>
                </a:lnTo>
                <a:lnTo>
                  <a:pt x="5117" y="473"/>
                </a:lnTo>
                <a:lnTo>
                  <a:pt x="5119" y="465"/>
                </a:lnTo>
                <a:lnTo>
                  <a:pt x="5118" y="457"/>
                </a:lnTo>
                <a:lnTo>
                  <a:pt x="5113" y="438"/>
                </a:lnTo>
                <a:lnTo>
                  <a:pt x="5111" y="433"/>
                </a:lnTo>
                <a:lnTo>
                  <a:pt x="5109" y="429"/>
                </a:lnTo>
                <a:lnTo>
                  <a:pt x="5107" y="426"/>
                </a:lnTo>
                <a:lnTo>
                  <a:pt x="5105" y="424"/>
                </a:lnTo>
                <a:lnTo>
                  <a:pt x="5103" y="422"/>
                </a:lnTo>
                <a:lnTo>
                  <a:pt x="5100" y="422"/>
                </a:lnTo>
                <a:lnTo>
                  <a:pt x="5097" y="423"/>
                </a:lnTo>
                <a:lnTo>
                  <a:pt x="5092" y="426"/>
                </a:lnTo>
                <a:lnTo>
                  <a:pt x="5086" y="436"/>
                </a:lnTo>
                <a:lnTo>
                  <a:pt x="5080" y="445"/>
                </a:lnTo>
                <a:lnTo>
                  <a:pt x="5075" y="457"/>
                </a:lnTo>
                <a:lnTo>
                  <a:pt x="5069" y="467"/>
                </a:lnTo>
                <a:lnTo>
                  <a:pt x="5065" y="476"/>
                </a:lnTo>
                <a:lnTo>
                  <a:pt x="5061" y="484"/>
                </a:lnTo>
                <a:lnTo>
                  <a:pt x="5059" y="486"/>
                </a:lnTo>
                <a:lnTo>
                  <a:pt x="5057" y="487"/>
                </a:lnTo>
                <a:lnTo>
                  <a:pt x="5056" y="488"/>
                </a:lnTo>
                <a:lnTo>
                  <a:pt x="5054" y="487"/>
                </a:lnTo>
                <a:lnTo>
                  <a:pt x="5050" y="486"/>
                </a:lnTo>
                <a:lnTo>
                  <a:pt x="5044" y="485"/>
                </a:lnTo>
                <a:lnTo>
                  <a:pt x="5038" y="485"/>
                </a:lnTo>
                <a:lnTo>
                  <a:pt x="5032" y="485"/>
                </a:lnTo>
                <a:lnTo>
                  <a:pt x="5026" y="484"/>
                </a:lnTo>
                <a:lnTo>
                  <a:pt x="5022" y="482"/>
                </a:lnTo>
                <a:lnTo>
                  <a:pt x="5021" y="481"/>
                </a:lnTo>
                <a:lnTo>
                  <a:pt x="5021" y="479"/>
                </a:lnTo>
                <a:lnTo>
                  <a:pt x="5021" y="476"/>
                </a:lnTo>
                <a:lnTo>
                  <a:pt x="5021" y="474"/>
                </a:lnTo>
                <a:lnTo>
                  <a:pt x="5028" y="461"/>
                </a:lnTo>
                <a:lnTo>
                  <a:pt x="5033" y="446"/>
                </a:lnTo>
                <a:lnTo>
                  <a:pt x="5035" y="440"/>
                </a:lnTo>
                <a:lnTo>
                  <a:pt x="5036" y="433"/>
                </a:lnTo>
                <a:lnTo>
                  <a:pt x="5036" y="428"/>
                </a:lnTo>
                <a:lnTo>
                  <a:pt x="5035" y="425"/>
                </a:lnTo>
                <a:lnTo>
                  <a:pt x="5030" y="417"/>
                </a:lnTo>
                <a:lnTo>
                  <a:pt x="5025" y="408"/>
                </a:lnTo>
                <a:lnTo>
                  <a:pt x="5023" y="404"/>
                </a:lnTo>
                <a:lnTo>
                  <a:pt x="5023" y="401"/>
                </a:lnTo>
                <a:lnTo>
                  <a:pt x="5024" y="398"/>
                </a:lnTo>
                <a:lnTo>
                  <a:pt x="5028" y="396"/>
                </a:lnTo>
                <a:lnTo>
                  <a:pt x="5037" y="393"/>
                </a:lnTo>
                <a:lnTo>
                  <a:pt x="5047" y="386"/>
                </a:lnTo>
                <a:lnTo>
                  <a:pt x="5052" y="383"/>
                </a:lnTo>
                <a:lnTo>
                  <a:pt x="5054" y="380"/>
                </a:lnTo>
                <a:lnTo>
                  <a:pt x="5054" y="379"/>
                </a:lnTo>
                <a:lnTo>
                  <a:pt x="5053" y="377"/>
                </a:lnTo>
                <a:lnTo>
                  <a:pt x="5052" y="376"/>
                </a:lnTo>
                <a:lnTo>
                  <a:pt x="5050" y="375"/>
                </a:lnTo>
                <a:lnTo>
                  <a:pt x="5039" y="372"/>
                </a:lnTo>
                <a:lnTo>
                  <a:pt x="5028" y="371"/>
                </a:lnTo>
                <a:lnTo>
                  <a:pt x="5023" y="370"/>
                </a:lnTo>
                <a:lnTo>
                  <a:pt x="5021" y="368"/>
                </a:lnTo>
                <a:lnTo>
                  <a:pt x="5021" y="366"/>
                </a:lnTo>
                <a:lnTo>
                  <a:pt x="5024" y="363"/>
                </a:lnTo>
                <a:lnTo>
                  <a:pt x="5034" y="357"/>
                </a:lnTo>
                <a:lnTo>
                  <a:pt x="5043" y="352"/>
                </a:lnTo>
                <a:lnTo>
                  <a:pt x="5047" y="349"/>
                </a:lnTo>
                <a:lnTo>
                  <a:pt x="5051" y="346"/>
                </a:lnTo>
                <a:lnTo>
                  <a:pt x="5053" y="343"/>
                </a:lnTo>
                <a:lnTo>
                  <a:pt x="5053" y="341"/>
                </a:lnTo>
                <a:lnTo>
                  <a:pt x="5052" y="333"/>
                </a:lnTo>
                <a:lnTo>
                  <a:pt x="5050" y="321"/>
                </a:lnTo>
                <a:lnTo>
                  <a:pt x="5048" y="316"/>
                </a:lnTo>
                <a:lnTo>
                  <a:pt x="5046" y="313"/>
                </a:lnTo>
                <a:lnTo>
                  <a:pt x="5045" y="312"/>
                </a:lnTo>
                <a:lnTo>
                  <a:pt x="5043" y="312"/>
                </a:lnTo>
                <a:lnTo>
                  <a:pt x="5041" y="312"/>
                </a:lnTo>
                <a:lnTo>
                  <a:pt x="5039" y="314"/>
                </a:lnTo>
                <a:lnTo>
                  <a:pt x="5034" y="318"/>
                </a:lnTo>
                <a:lnTo>
                  <a:pt x="5030" y="324"/>
                </a:lnTo>
                <a:lnTo>
                  <a:pt x="5025" y="331"/>
                </a:lnTo>
                <a:lnTo>
                  <a:pt x="5021" y="338"/>
                </a:lnTo>
                <a:lnTo>
                  <a:pt x="5013" y="352"/>
                </a:lnTo>
                <a:lnTo>
                  <a:pt x="5004" y="362"/>
                </a:lnTo>
                <a:lnTo>
                  <a:pt x="4995" y="370"/>
                </a:lnTo>
                <a:lnTo>
                  <a:pt x="4986" y="379"/>
                </a:lnTo>
                <a:lnTo>
                  <a:pt x="4981" y="384"/>
                </a:lnTo>
                <a:lnTo>
                  <a:pt x="4979" y="389"/>
                </a:lnTo>
                <a:lnTo>
                  <a:pt x="4978" y="395"/>
                </a:lnTo>
                <a:lnTo>
                  <a:pt x="4979" y="401"/>
                </a:lnTo>
                <a:lnTo>
                  <a:pt x="4980" y="404"/>
                </a:lnTo>
                <a:lnTo>
                  <a:pt x="4982" y="407"/>
                </a:lnTo>
                <a:lnTo>
                  <a:pt x="4986" y="409"/>
                </a:lnTo>
                <a:lnTo>
                  <a:pt x="4988" y="410"/>
                </a:lnTo>
                <a:lnTo>
                  <a:pt x="4995" y="414"/>
                </a:lnTo>
                <a:lnTo>
                  <a:pt x="5001" y="416"/>
                </a:lnTo>
                <a:lnTo>
                  <a:pt x="5008" y="417"/>
                </a:lnTo>
                <a:lnTo>
                  <a:pt x="5011" y="419"/>
                </a:lnTo>
                <a:lnTo>
                  <a:pt x="5011" y="420"/>
                </a:lnTo>
                <a:lnTo>
                  <a:pt x="5011" y="421"/>
                </a:lnTo>
                <a:lnTo>
                  <a:pt x="5010" y="423"/>
                </a:lnTo>
                <a:lnTo>
                  <a:pt x="5007" y="425"/>
                </a:lnTo>
                <a:lnTo>
                  <a:pt x="5000" y="429"/>
                </a:lnTo>
                <a:lnTo>
                  <a:pt x="4994" y="432"/>
                </a:lnTo>
                <a:lnTo>
                  <a:pt x="4989" y="435"/>
                </a:lnTo>
                <a:lnTo>
                  <a:pt x="4984" y="436"/>
                </a:lnTo>
                <a:lnTo>
                  <a:pt x="4979" y="437"/>
                </a:lnTo>
                <a:lnTo>
                  <a:pt x="4975" y="437"/>
                </a:lnTo>
                <a:lnTo>
                  <a:pt x="4972" y="435"/>
                </a:lnTo>
                <a:lnTo>
                  <a:pt x="4971" y="432"/>
                </a:lnTo>
                <a:lnTo>
                  <a:pt x="4968" y="418"/>
                </a:lnTo>
                <a:lnTo>
                  <a:pt x="4963" y="398"/>
                </a:lnTo>
                <a:lnTo>
                  <a:pt x="4961" y="394"/>
                </a:lnTo>
                <a:lnTo>
                  <a:pt x="4959" y="390"/>
                </a:lnTo>
                <a:lnTo>
                  <a:pt x="4957" y="387"/>
                </a:lnTo>
                <a:lnTo>
                  <a:pt x="4955" y="385"/>
                </a:lnTo>
                <a:lnTo>
                  <a:pt x="4953" y="384"/>
                </a:lnTo>
                <a:lnTo>
                  <a:pt x="4951" y="384"/>
                </a:lnTo>
                <a:lnTo>
                  <a:pt x="4948" y="387"/>
                </a:lnTo>
                <a:lnTo>
                  <a:pt x="4945" y="390"/>
                </a:lnTo>
                <a:lnTo>
                  <a:pt x="4939" y="400"/>
                </a:lnTo>
                <a:lnTo>
                  <a:pt x="4935" y="407"/>
                </a:lnTo>
                <a:lnTo>
                  <a:pt x="4934" y="415"/>
                </a:lnTo>
                <a:lnTo>
                  <a:pt x="4934" y="420"/>
                </a:lnTo>
                <a:lnTo>
                  <a:pt x="4934" y="425"/>
                </a:lnTo>
                <a:lnTo>
                  <a:pt x="4936" y="429"/>
                </a:lnTo>
                <a:lnTo>
                  <a:pt x="4938" y="433"/>
                </a:lnTo>
                <a:lnTo>
                  <a:pt x="4941" y="438"/>
                </a:lnTo>
                <a:lnTo>
                  <a:pt x="4943" y="440"/>
                </a:lnTo>
                <a:lnTo>
                  <a:pt x="4945" y="441"/>
                </a:lnTo>
                <a:lnTo>
                  <a:pt x="4947" y="441"/>
                </a:lnTo>
                <a:lnTo>
                  <a:pt x="4949" y="442"/>
                </a:lnTo>
                <a:lnTo>
                  <a:pt x="4954" y="442"/>
                </a:lnTo>
                <a:lnTo>
                  <a:pt x="4959" y="441"/>
                </a:lnTo>
                <a:lnTo>
                  <a:pt x="4964" y="441"/>
                </a:lnTo>
                <a:lnTo>
                  <a:pt x="4966" y="441"/>
                </a:lnTo>
                <a:lnTo>
                  <a:pt x="4965" y="443"/>
                </a:lnTo>
                <a:lnTo>
                  <a:pt x="4960" y="446"/>
                </a:lnTo>
                <a:lnTo>
                  <a:pt x="4949" y="452"/>
                </a:lnTo>
                <a:lnTo>
                  <a:pt x="4944" y="455"/>
                </a:lnTo>
                <a:lnTo>
                  <a:pt x="4944" y="457"/>
                </a:lnTo>
                <a:lnTo>
                  <a:pt x="4944" y="458"/>
                </a:lnTo>
                <a:lnTo>
                  <a:pt x="4945" y="460"/>
                </a:lnTo>
                <a:lnTo>
                  <a:pt x="4948" y="463"/>
                </a:lnTo>
                <a:lnTo>
                  <a:pt x="4955" y="470"/>
                </a:lnTo>
                <a:lnTo>
                  <a:pt x="4966" y="476"/>
                </a:lnTo>
                <a:lnTo>
                  <a:pt x="4970" y="480"/>
                </a:lnTo>
                <a:lnTo>
                  <a:pt x="4974" y="482"/>
                </a:lnTo>
                <a:lnTo>
                  <a:pt x="4976" y="484"/>
                </a:lnTo>
                <a:lnTo>
                  <a:pt x="4976" y="486"/>
                </a:lnTo>
                <a:lnTo>
                  <a:pt x="4974" y="491"/>
                </a:lnTo>
                <a:lnTo>
                  <a:pt x="4973" y="497"/>
                </a:lnTo>
                <a:lnTo>
                  <a:pt x="4971" y="499"/>
                </a:lnTo>
                <a:lnTo>
                  <a:pt x="4969" y="501"/>
                </a:lnTo>
                <a:lnTo>
                  <a:pt x="4965" y="499"/>
                </a:lnTo>
                <a:lnTo>
                  <a:pt x="4958" y="496"/>
                </a:lnTo>
                <a:lnTo>
                  <a:pt x="4951" y="492"/>
                </a:lnTo>
                <a:lnTo>
                  <a:pt x="4944" y="489"/>
                </a:lnTo>
                <a:lnTo>
                  <a:pt x="4937" y="489"/>
                </a:lnTo>
                <a:lnTo>
                  <a:pt x="4930" y="489"/>
                </a:lnTo>
                <a:lnTo>
                  <a:pt x="4925" y="490"/>
                </a:lnTo>
                <a:lnTo>
                  <a:pt x="4920" y="492"/>
                </a:lnTo>
                <a:lnTo>
                  <a:pt x="4916" y="495"/>
                </a:lnTo>
                <a:lnTo>
                  <a:pt x="4914" y="497"/>
                </a:lnTo>
                <a:lnTo>
                  <a:pt x="4914" y="507"/>
                </a:lnTo>
                <a:lnTo>
                  <a:pt x="4913" y="512"/>
                </a:lnTo>
                <a:lnTo>
                  <a:pt x="4907" y="515"/>
                </a:lnTo>
                <a:lnTo>
                  <a:pt x="4902" y="516"/>
                </a:lnTo>
                <a:lnTo>
                  <a:pt x="4898" y="520"/>
                </a:lnTo>
                <a:lnTo>
                  <a:pt x="4894" y="524"/>
                </a:lnTo>
                <a:lnTo>
                  <a:pt x="4895" y="528"/>
                </a:lnTo>
                <a:lnTo>
                  <a:pt x="4895" y="531"/>
                </a:lnTo>
                <a:close/>
                <a:moveTo>
                  <a:pt x="4725" y="487"/>
                </a:moveTo>
                <a:lnTo>
                  <a:pt x="4727" y="490"/>
                </a:lnTo>
                <a:lnTo>
                  <a:pt x="4730" y="492"/>
                </a:lnTo>
                <a:lnTo>
                  <a:pt x="4734" y="494"/>
                </a:lnTo>
                <a:lnTo>
                  <a:pt x="4739" y="495"/>
                </a:lnTo>
                <a:lnTo>
                  <a:pt x="4750" y="497"/>
                </a:lnTo>
                <a:lnTo>
                  <a:pt x="4761" y="498"/>
                </a:lnTo>
                <a:lnTo>
                  <a:pt x="4772" y="499"/>
                </a:lnTo>
                <a:lnTo>
                  <a:pt x="4780" y="499"/>
                </a:lnTo>
                <a:lnTo>
                  <a:pt x="4784" y="501"/>
                </a:lnTo>
                <a:lnTo>
                  <a:pt x="4787" y="502"/>
                </a:lnTo>
                <a:lnTo>
                  <a:pt x="4788" y="503"/>
                </a:lnTo>
                <a:lnTo>
                  <a:pt x="4788" y="505"/>
                </a:lnTo>
                <a:lnTo>
                  <a:pt x="4783" y="514"/>
                </a:lnTo>
                <a:lnTo>
                  <a:pt x="4780" y="524"/>
                </a:lnTo>
                <a:lnTo>
                  <a:pt x="4779" y="529"/>
                </a:lnTo>
                <a:lnTo>
                  <a:pt x="4778" y="534"/>
                </a:lnTo>
                <a:lnTo>
                  <a:pt x="4779" y="538"/>
                </a:lnTo>
                <a:lnTo>
                  <a:pt x="4780" y="541"/>
                </a:lnTo>
                <a:lnTo>
                  <a:pt x="4789" y="550"/>
                </a:lnTo>
                <a:lnTo>
                  <a:pt x="4801" y="561"/>
                </a:lnTo>
                <a:lnTo>
                  <a:pt x="4815" y="572"/>
                </a:lnTo>
                <a:lnTo>
                  <a:pt x="4824" y="579"/>
                </a:lnTo>
                <a:lnTo>
                  <a:pt x="4826" y="580"/>
                </a:lnTo>
                <a:lnTo>
                  <a:pt x="4828" y="580"/>
                </a:lnTo>
                <a:lnTo>
                  <a:pt x="4832" y="579"/>
                </a:lnTo>
                <a:lnTo>
                  <a:pt x="4836" y="577"/>
                </a:lnTo>
                <a:lnTo>
                  <a:pt x="4843" y="574"/>
                </a:lnTo>
                <a:lnTo>
                  <a:pt x="4851" y="569"/>
                </a:lnTo>
                <a:lnTo>
                  <a:pt x="4865" y="558"/>
                </a:lnTo>
                <a:lnTo>
                  <a:pt x="4871" y="553"/>
                </a:lnTo>
                <a:lnTo>
                  <a:pt x="4863" y="552"/>
                </a:lnTo>
                <a:lnTo>
                  <a:pt x="4844" y="548"/>
                </a:lnTo>
                <a:lnTo>
                  <a:pt x="4835" y="545"/>
                </a:lnTo>
                <a:lnTo>
                  <a:pt x="4828" y="541"/>
                </a:lnTo>
                <a:lnTo>
                  <a:pt x="4826" y="539"/>
                </a:lnTo>
                <a:lnTo>
                  <a:pt x="4825" y="538"/>
                </a:lnTo>
                <a:lnTo>
                  <a:pt x="4826" y="536"/>
                </a:lnTo>
                <a:lnTo>
                  <a:pt x="4827" y="534"/>
                </a:lnTo>
                <a:lnTo>
                  <a:pt x="4838" y="526"/>
                </a:lnTo>
                <a:lnTo>
                  <a:pt x="4845" y="517"/>
                </a:lnTo>
                <a:lnTo>
                  <a:pt x="4849" y="510"/>
                </a:lnTo>
                <a:lnTo>
                  <a:pt x="4851" y="506"/>
                </a:lnTo>
                <a:lnTo>
                  <a:pt x="4857" y="501"/>
                </a:lnTo>
                <a:lnTo>
                  <a:pt x="4868" y="494"/>
                </a:lnTo>
                <a:lnTo>
                  <a:pt x="4872" y="492"/>
                </a:lnTo>
                <a:lnTo>
                  <a:pt x="4878" y="491"/>
                </a:lnTo>
                <a:lnTo>
                  <a:pt x="4884" y="490"/>
                </a:lnTo>
                <a:lnTo>
                  <a:pt x="4889" y="490"/>
                </a:lnTo>
                <a:lnTo>
                  <a:pt x="4894" y="489"/>
                </a:lnTo>
                <a:lnTo>
                  <a:pt x="4898" y="488"/>
                </a:lnTo>
                <a:lnTo>
                  <a:pt x="4898" y="487"/>
                </a:lnTo>
                <a:lnTo>
                  <a:pt x="4898" y="486"/>
                </a:lnTo>
                <a:lnTo>
                  <a:pt x="4898" y="485"/>
                </a:lnTo>
                <a:lnTo>
                  <a:pt x="4895" y="483"/>
                </a:lnTo>
                <a:lnTo>
                  <a:pt x="4886" y="474"/>
                </a:lnTo>
                <a:lnTo>
                  <a:pt x="4877" y="466"/>
                </a:lnTo>
                <a:lnTo>
                  <a:pt x="4869" y="458"/>
                </a:lnTo>
                <a:lnTo>
                  <a:pt x="4866" y="451"/>
                </a:lnTo>
                <a:lnTo>
                  <a:pt x="4867" y="448"/>
                </a:lnTo>
                <a:lnTo>
                  <a:pt x="4870" y="443"/>
                </a:lnTo>
                <a:lnTo>
                  <a:pt x="4876" y="438"/>
                </a:lnTo>
                <a:lnTo>
                  <a:pt x="4881" y="432"/>
                </a:lnTo>
                <a:lnTo>
                  <a:pt x="4885" y="427"/>
                </a:lnTo>
                <a:lnTo>
                  <a:pt x="4886" y="423"/>
                </a:lnTo>
                <a:lnTo>
                  <a:pt x="4886" y="422"/>
                </a:lnTo>
                <a:lnTo>
                  <a:pt x="4885" y="422"/>
                </a:lnTo>
                <a:lnTo>
                  <a:pt x="4882" y="422"/>
                </a:lnTo>
                <a:lnTo>
                  <a:pt x="4878" y="423"/>
                </a:lnTo>
                <a:lnTo>
                  <a:pt x="4870" y="426"/>
                </a:lnTo>
                <a:lnTo>
                  <a:pt x="4865" y="428"/>
                </a:lnTo>
                <a:lnTo>
                  <a:pt x="4861" y="431"/>
                </a:lnTo>
                <a:lnTo>
                  <a:pt x="4860" y="433"/>
                </a:lnTo>
                <a:lnTo>
                  <a:pt x="4859" y="438"/>
                </a:lnTo>
                <a:lnTo>
                  <a:pt x="4860" y="442"/>
                </a:lnTo>
                <a:lnTo>
                  <a:pt x="4859" y="445"/>
                </a:lnTo>
                <a:lnTo>
                  <a:pt x="4858" y="447"/>
                </a:lnTo>
                <a:lnTo>
                  <a:pt x="4856" y="449"/>
                </a:lnTo>
                <a:lnTo>
                  <a:pt x="4854" y="450"/>
                </a:lnTo>
                <a:lnTo>
                  <a:pt x="4848" y="452"/>
                </a:lnTo>
                <a:lnTo>
                  <a:pt x="4843" y="453"/>
                </a:lnTo>
                <a:lnTo>
                  <a:pt x="4839" y="458"/>
                </a:lnTo>
                <a:lnTo>
                  <a:pt x="4834" y="467"/>
                </a:lnTo>
                <a:lnTo>
                  <a:pt x="4831" y="471"/>
                </a:lnTo>
                <a:lnTo>
                  <a:pt x="4827" y="474"/>
                </a:lnTo>
                <a:lnTo>
                  <a:pt x="4826" y="475"/>
                </a:lnTo>
                <a:lnTo>
                  <a:pt x="4824" y="475"/>
                </a:lnTo>
                <a:lnTo>
                  <a:pt x="4822" y="474"/>
                </a:lnTo>
                <a:lnTo>
                  <a:pt x="4820" y="473"/>
                </a:lnTo>
                <a:lnTo>
                  <a:pt x="4817" y="468"/>
                </a:lnTo>
                <a:lnTo>
                  <a:pt x="4814" y="463"/>
                </a:lnTo>
                <a:lnTo>
                  <a:pt x="4812" y="458"/>
                </a:lnTo>
                <a:lnTo>
                  <a:pt x="4811" y="452"/>
                </a:lnTo>
                <a:lnTo>
                  <a:pt x="4809" y="448"/>
                </a:lnTo>
                <a:lnTo>
                  <a:pt x="4806" y="445"/>
                </a:lnTo>
                <a:lnTo>
                  <a:pt x="4803" y="443"/>
                </a:lnTo>
                <a:lnTo>
                  <a:pt x="4800" y="442"/>
                </a:lnTo>
                <a:lnTo>
                  <a:pt x="4787" y="443"/>
                </a:lnTo>
                <a:lnTo>
                  <a:pt x="4767" y="444"/>
                </a:lnTo>
                <a:lnTo>
                  <a:pt x="4757" y="445"/>
                </a:lnTo>
                <a:lnTo>
                  <a:pt x="4750" y="446"/>
                </a:lnTo>
                <a:lnTo>
                  <a:pt x="4747" y="447"/>
                </a:lnTo>
                <a:lnTo>
                  <a:pt x="4744" y="449"/>
                </a:lnTo>
                <a:lnTo>
                  <a:pt x="4743" y="450"/>
                </a:lnTo>
                <a:lnTo>
                  <a:pt x="4741" y="452"/>
                </a:lnTo>
                <a:lnTo>
                  <a:pt x="4738" y="463"/>
                </a:lnTo>
                <a:lnTo>
                  <a:pt x="4733" y="474"/>
                </a:lnTo>
                <a:lnTo>
                  <a:pt x="4728" y="484"/>
                </a:lnTo>
                <a:lnTo>
                  <a:pt x="4725" y="487"/>
                </a:lnTo>
                <a:close/>
                <a:moveTo>
                  <a:pt x="3991" y="712"/>
                </a:moveTo>
                <a:lnTo>
                  <a:pt x="3993" y="724"/>
                </a:lnTo>
                <a:lnTo>
                  <a:pt x="3995" y="735"/>
                </a:lnTo>
                <a:lnTo>
                  <a:pt x="3999" y="747"/>
                </a:lnTo>
                <a:lnTo>
                  <a:pt x="4002" y="756"/>
                </a:lnTo>
                <a:lnTo>
                  <a:pt x="4005" y="763"/>
                </a:lnTo>
                <a:lnTo>
                  <a:pt x="4008" y="769"/>
                </a:lnTo>
                <a:lnTo>
                  <a:pt x="4009" y="770"/>
                </a:lnTo>
                <a:lnTo>
                  <a:pt x="4010" y="770"/>
                </a:lnTo>
                <a:lnTo>
                  <a:pt x="4011" y="769"/>
                </a:lnTo>
                <a:lnTo>
                  <a:pt x="4012" y="766"/>
                </a:lnTo>
                <a:lnTo>
                  <a:pt x="4014" y="753"/>
                </a:lnTo>
                <a:lnTo>
                  <a:pt x="4016" y="741"/>
                </a:lnTo>
                <a:lnTo>
                  <a:pt x="4017" y="738"/>
                </a:lnTo>
                <a:lnTo>
                  <a:pt x="4020" y="735"/>
                </a:lnTo>
                <a:lnTo>
                  <a:pt x="4021" y="735"/>
                </a:lnTo>
                <a:lnTo>
                  <a:pt x="4022" y="738"/>
                </a:lnTo>
                <a:lnTo>
                  <a:pt x="4025" y="748"/>
                </a:lnTo>
                <a:lnTo>
                  <a:pt x="4030" y="757"/>
                </a:lnTo>
                <a:lnTo>
                  <a:pt x="4033" y="761"/>
                </a:lnTo>
                <a:lnTo>
                  <a:pt x="4037" y="765"/>
                </a:lnTo>
                <a:lnTo>
                  <a:pt x="4041" y="767"/>
                </a:lnTo>
                <a:lnTo>
                  <a:pt x="4044" y="767"/>
                </a:lnTo>
                <a:lnTo>
                  <a:pt x="4049" y="765"/>
                </a:lnTo>
                <a:lnTo>
                  <a:pt x="4056" y="760"/>
                </a:lnTo>
                <a:lnTo>
                  <a:pt x="4066" y="753"/>
                </a:lnTo>
                <a:lnTo>
                  <a:pt x="4075" y="746"/>
                </a:lnTo>
                <a:lnTo>
                  <a:pt x="4085" y="739"/>
                </a:lnTo>
                <a:lnTo>
                  <a:pt x="4092" y="734"/>
                </a:lnTo>
                <a:lnTo>
                  <a:pt x="4094" y="734"/>
                </a:lnTo>
                <a:lnTo>
                  <a:pt x="4097" y="734"/>
                </a:lnTo>
                <a:lnTo>
                  <a:pt x="4098" y="735"/>
                </a:lnTo>
                <a:lnTo>
                  <a:pt x="4098" y="738"/>
                </a:lnTo>
                <a:lnTo>
                  <a:pt x="4097" y="745"/>
                </a:lnTo>
                <a:lnTo>
                  <a:pt x="4094" y="750"/>
                </a:lnTo>
                <a:lnTo>
                  <a:pt x="4090" y="754"/>
                </a:lnTo>
                <a:lnTo>
                  <a:pt x="4086" y="758"/>
                </a:lnTo>
                <a:lnTo>
                  <a:pt x="4076" y="763"/>
                </a:lnTo>
                <a:lnTo>
                  <a:pt x="4070" y="769"/>
                </a:lnTo>
                <a:lnTo>
                  <a:pt x="4065" y="774"/>
                </a:lnTo>
                <a:lnTo>
                  <a:pt x="4057" y="778"/>
                </a:lnTo>
                <a:lnTo>
                  <a:pt x="4054" y="780"/>
                </a:lnTo>
                <a:lnTo>
                  <a:pt x="4052" y="784"/>
                </a:lnTo>
                <a:lnTo>
                  <a:pt x="4051" y="790"/>
                </a:lnTo>
                <a:lnTo>
                  <a:pt x="4051" y="798"/>
                </a:lnTo>
                <a:lnTo>
                  <a:pt x="4052" y="802"/>
                </a:lnTo>
                <a:lnTo>
                  <a:pt x="4054" y="804"/>
                </a:lnTo>
                <a:lnTo>
                  <a:pt x="4056" y="807"/>
                </a:lnTo>
                <a:lnTo>
                  <a:pt x="4058" y="809"/>
                </a:lnTo>
                <a:lnTo>
                  <a:pt x="4065" y="811"/>
                </a:lnTo>
                <a:lnTo>
                  <a:pt x="4071" y="812"/>
                </a:lnTo>
                <a:lnTo>
                  <a:pt x="4076" y="812"/>
                </a:lnTo>
                <a:lnTo>
                  <a:pt x="4081" y="814"/>
                </a:lnTo>
                <a:lnTo>
                  <a:pt x="4082" y="815"/>
                </a:lnTo>
                <a:lnTo>
                  <a:pt x="4083" y="817"/>
                </a:lnTo>
                <a:lnTo>
                  <a:pt x="4082" y="819"/>
                </a:lnTo>
                <a:lnTo>
                  <a:pt x="4082" y="822"/>
                </a:lnTo>
                <a:lnTo>
                  <a:pt x="4080" y="826"/>
                </a:lnTo>
                <a:lnTo>
                  <a:pt x="4078" y="830"/>
                </a:lnTo>
                <a:lnTo>
                  <a:pt x="4075" y="833"/>
                </a:lnTo>
                <a:lnTo>
                  <a:pt x="4072" y="835"/>
                </a:lnTo>
                <a:lnTo>
                  <a:pt x="4066" y="839"/>
                </a:lnTo>
                <a:lnTo>
                  <a:pt x="4058" y="843"/>
                </a:lnTo>
                <a:lnTo>
                  <a:pt x="4052" y="847"/>
                </a:lnTo>
                <a:lnTo>
                  <a:pt x="4048" y="850"/>
                </a:lnTo>
                <a:lnTo>
                  <a:pt x="4047" y="853"/>
                </a:lnTo>
                <a:lnTo>
                  <a:pt x="4047" y="855"/>
                </a:lnTo>
                <a:lnTo>
                  <a:pt x="4047" y="857"/>
                </a:lnTo>
                <a:lnTo>
                  <a:pt x="4048" y="860"/>
                </a:lnTo>
                <a:lnTo>
                  <a:pt x="4059" y="876"/>
                </a:lnTo>
                <a:lnTo>
                  <a:pt x="4078" y="899"/>
                </a:lnTo>
                <a:lnTo>
                  <a:pt x="4088" y="910"/>
                </a:lnTo>
                <a:lnTo>
                  <a:pt x="4096" y="921"/>
                </a:lnTo>
                <a:lnTo>
                  <a:pt x="4104" y="929"/>
                </a:lnTo>
                <a:lnTo>
                  <a:pt x="4111" y="934"/>
                </a:lnTo>
                <a:lnTo>
                  <a:pt x="4113" y="935"/>
                </a:lnTo>
                <a:lnTo>
                  <a:pt x="4116" y="936"/>
                </a:lnTo>
                <a:lnTo>
                  <a:pt x="4118" y="936"/>
                </a:lnTo>
                <a:lnTo>
                  <a:pt x="4120" y="935"/>
                </a:lnTo>
                <a:lnTo>
                  <a:pt x="4125" y="933"/>
                </a:lnTo>
                <a:lnTo>
                  <a:pt x="4130" y="929"/>
                </a:lnTo>
                <a:lnTo>
                  <a:pt x="4133" y="924"/>
                </a:lnTo>
                <a:lnTo>
                  <a:pt x="4136" y="918"/>
                </a:lnTo>
                <a:lnTo>
                  <a:pt x="4138" y="911"/>
                </a:lnTo>
                <a:lnTo>
                  <a:pt x="4139" y="906"/>
                </a:lnTo>
                <a:lnTo>
                  <a:pt x="4142" y="893"/>
                </a:lnTo>
                <a:lnTo>
                  <a:pt x="4148" y="871"/>
                </a:lnTo>
                <a:lnTo>
                  <a:pt x="4157" y="843"/>
                </a:lnTo>
                <a:lnTo>
                  <a:pt x="4167" y="813"/>
                </a:lnTo>
                <a:lnTo>
                  <a:pt x="4177" y="783"/>
                </a:lnTo>
                <a:lnTo>
                  <a:pt x="4185" y="759"/>
                </a:lnTo>
                <a:lnTo>
                  <a:pt x="4188" y="751"/>
                </a:lnTo>
                <a:lnTo>
                  <a:pt x="4191" y="745"/>
                </a:lnTo>
                <a:lnTo>
                  <a:pt x="4192" y="744"/>
                </a:lnTo>
                <a:lnTo>
                  <a:pt x="4192" y="743"/>
                </a:lnTo>
                <a:lnTo>
                  <a:pt x="4193" y="743"/>
                </a:lnTo>
                <a:lnTo>
                  <a:pt x="4193" y="744"/>
                </a:lnTo>
                <a:lnTo>
                  <a:pt x="4197" y="756"/>
                </a:lnTo>
                <a:lnTo>
                  <a:pt x="4201" y="770"/>
                </a:lnTo>
                <a:lnTo>
                  <a:pt x="4202" y="775"/>
                </a:lnTo>
                <a:lnTo>
                  <a:pt x="4204" y="781"/>
                </a:lnTo>
                <a:lnTo>
                  <a:pt x="4204" y="785"/>
                </a:lnTo>
                <a:lnTo>
                  <a:pt x="4204" y="790"/>
                </a:lnTo>
                <a:lnTo>
                  <a:pt x="4204" y="791"/>
                </a:lnTo>
                <a:lnTo>
                  <a:pt x="4204" y="792"/>
                </a:lnTo>
                <a:lnTo>
                  <a:pt x="4205" y="793"/>
                </a:lnTo>
                <a:lnTo>
                  <a:pt x="4207" y="793"/>
                </a:lnTo>
                <a:lnTo>
                  <a:pt x="4210" y="794"/>
                </a:lnTo>
                <a:lnTo>
                  <a:pt x="4214" y="794"/>
                </a:lnTo>
                <a:lnTo>
                  <a:pt x="4219" y="795"/>
                </a:lnTo>
                <a:lnTo>
                  <a:pt x="4221" y="797"/>
                </a:lnTo>
                <a:lnTo>
                  <a:pt x="4222" y="799"/>
                </a:lnTo>
                <a:lnTo>
                  <a:pt x="4221" y="802"/>
                </a:lnTo>
                <a:lnTo>
                  <a:pt x="4220" y="805"/>
                </a:lnTo>
                <a:lnTo>
                  <a:pt x="4219" y="811"/>
                </a:lnTo>
                <a:lnTo>
                  <a:pt x="4209" y="826"/>
                </a:lnTo>
                <a:lnTo>
                  <a:pt x="4204" y="838"/>
                </a:lnTo>
                <a:lnTo>
                  <a:pt x="4202" y="843"/>
                </a:lnTo>
                <a:lnTo>
                  <a:pt x="4202" y="847"/>
                </a:lnTo>
                <a:lnTo>
                  <a:pt x="4204" y="852"/>
                </a:lnTo>
                <a:lnTo>
                  <a:pt x="4208" y="857"/>
                </a:lnTo>
                <a:lnTo>
                  <a:pt x="4211" y="858"/>
                </a:lnTo>
                <a:lnTo>
                  <a:pt x="4214" y="859"/>
                </a:lnTo>
                <a:lnTo>
                  <a:pt x="4219" y="859"/>
                </a:lnTo>
                <a:lnTo>
                  <a:pt x="4223" y="859"/>
                </a:lnTo>
                <a:lnTo>
                  <a:pt x="4232" y="855"/>
                </a:lnTo>
                <a:lnTo>
                  <a:pt x="4242" y="850"/>
                </a:lnTo>
                <a:lnTo>
                  <a:pt x="4251" y="846"/>
                </a:lnTo>
                <a:lnTo>
                  <a:pt x="4258" y="843"/>
                </a:lnTo>
                <a:lnTo>
                  <a:pt x="4261" y="843"/>
                </a:lnTo>
                <a:lnTo>
                  <a:pt x="4263" y="843"/>
                </a:lnTo>
                <a:lnTo>
                  <a:pt x="4264" y="844"/>
                </a:lnTo>
                <a:lnTo>
                  <a:pt x="4264" y="846"/>
                </a:lnTo>
                <a:lnTo>
                  <a:pt x="4258" y="860"/>
                </a:lnTo>
                <a:lnTo>
                  <a:pt x="4250" y="876"/>
                </a:lnTo>
                <a:lnTo>
                  <a:pt x="4247" y="882"/>
                </a:lnTo>
                <a:lnTo>
                  <a:pt x="4245" y="887"/>
                </a:lnTo>
                <a:lnTo>
                  <a:pt x="4245" y="889"/>
                </a:lnTo>
                <a:lnTo>
                  <a:pt x="4246" y="890"/>
                </a:lnTo>
                <a:lnTo>
                  <a:pt x="4246" y="891"/>
                </a:lnTo>
                <a:lnTo>
                  <a:pt x="4248" y="891"/>
                </a:lnTo>
                <a:lnTo>
                  <a:pt x="4253" y="889"/>
                </a:lnTo>
                <a:lnTo>
                  <a:pt x="4258" y="884"/>
                </a:lnTo>
                <a:lnTo>
                  <a:pt x="4265" y="878"/>
                </a:lnTo>
                <a:lnTo>
                  <a:pt x="4270" y="870"/>
                </a:lnTo>
                <a:lnTo>
                  <a:pt x="4275" y="863"/>
                </a:lnTo>
                <a:lnTo>
                  <a:pt x="4280" y="856"/>
                </a:lnTo>
                <a:lnTo>
                  <a:pt x="4284" y="848"/>
                </a:lnTo>
                <a:lnTo>
                  <a:pt x="4286" y="842"/>
                </a:lnTo>
                <a:lnTo>
                  <a:pt x="4290" y="831"/>
                </a:lnTo>
                <a:lnTo>
                  <a:pt x="4296" y="819"/>
                </a:lnTo>
                <a:lnTo>
                  <a:pt x="4298" y="814"/>
                </a:lnTo>
                <a:lnTo>
                  <a:pt x="4299" y="809"/>
                </a:lnTo>
                <a:lnTo>
                  <a:pt x="4299" y="806"/>
                </a:lnTo>
                <a:lnTo>
                  <a:pt x="4298" y="804"/>
                </a:lnTo>
                <a:lnTo>
                  <a:pt x="4297" y="802"/>
                </a:lnTo>
                <a:lnTo>
                  <a:pt x="4295" y="801"/>
                </a:lnTo>
                <a:lnTo>
                  <a:pt x="4291" y="799"/>
                </a:lnTo>
                <a:lnTo>
                  <a:pt x="4285" y="797"/>
                </a:lnTo>
                <a:lnTo>
                  <a:pt x="4279" y="797"/>
                </a:lnTo>
                <a:lnTo>
                  <a:pt x="4273" y="796"/>
                </a:lnTo>
                <a:lnTo>
                  <a:pt x="4268" y="795"/>
                </a:lnTo>
                <a:lnTo>
                  <a:pt x="4264" y="794"/>
                </a:lnTo>
                <a:lnTo>
                  <a:pt x="4262" y="793"/>
                </a:lnTo>
                <a:lnTo>
                  <a:pt x="4261" y="792"/>
                </a:lnTo>
                <a:lnTo>
                  <a:pt x="4260" y="791"/>
                </a:lnTo>
                <a:lnTo>
                  <a:pt x="4260" y="789"/>
                </a:lnTo>
                <a:lnTo>
                  <a:pt x="4261" y="781"/>
                </a:lnTo>
                <a:lnTo>
                  <a:pt x="4263" y="774"/>
                </a:lnTo>
                <a:lnTo>
                  <a:pt x="4263" y="770"/>
                </a:lnTo>
                <a:lnTo>
                  <a:pt x="4263" y="767"/>
                </a:lnTo>
                <a:lnTo>
                  <a:pt x="4262" y="763"/>
                </a:lnTo>
                <a:lnTo>
                  <a:pt x="4260" y="760"/>
                </a:lnTo>
                <a:lnTo>
                  <a:pt x="4253" y="750"/>
                </a:lnTo>
                <a:lnTo>
                  <a:pt x="4246" y="733"/>
                </a:lnTo>
                <a:lnTo>
                  <a:pt x="4242" y="725"/>
                </a:lnTo>
                <a:lnTo>
                  <a:pt x="4238" y="716"/>
                </a:lnTo>
                <a:lnTo>
                  <a:pt x="4233" y="709"/>
                </a:lnTo>
                <a:lnTo>
                  <a:pt x="4228" y="704"/>
                </a:lnTo>
                <a:lnTo>
                  <a:pt x="4217" y="694"/>
                </a:lnTo>
                <a:lnTo>
                  <a:pt x="4202" y="685"/>
                </a:lnTo>
                <a:lnTo>
                  <a:pt x="4196" y="680"/>
                </a:lnTo>
                <a:lnTo>
                  <a:pt x="4191" y="674"/>
                </a:lnTo>
                <a:lnTo>
                  <a:pt x="4190" y="672"/>
                </a:lnTo>
                <a:lnTo>
                  <a:pt x="4189" y="669"/>
                </a:lnTo>
                <a:lnTo>
                  <a:pt x="4190" y="667"/>
                </a:lnTo>
                <a:lnTo>
                  <a:pt x="4191" y="665"/>
                </a:lnTo>
                <a:lnTo>
                  <a:pt x="4196" y="660"/>
                </a:lnTo>
                <a:lnTo>
                  <a:pt x="4200" y="656"/>
                </a:lnTo>
                <a:lnTo>
                  <a:pt x="4205" y="652"/>
                </a:lnTo>
                <a:lnTo>
                  <a:pt x="4210" y="649"/>
                </a:lnTo>
                <a:lnTo>
                  <a:pt x="4217" y="648"/>
                </a:lnTo>
                <a:lnTo>
                  <a:pt x="4224" y="646"/>
                </a:lnTo>
                <a:lnTo>
                  <a:pt x="4231" y="646"/>
                </a:lnTo>
                <a:lnTo>
                  <a:pt x="4240" y="647"/>
                </a:lnTo>
                <a:lnTo>
                  <a:pt x="4258" y="649"/>
                </a:lnTo>
                <a:lnTo>
                  <a:pt x="4276" y="650"/>
                </a:lnTo>
                <a:lnTo>
                  <a:pt x="4285" y="650"/>
                </a:lnTo>
                <a:lnTo>
                  <a:pt x="4292" y="650"/>
                </a:lnTo>
                <a:lnTo>
                  <a:pt x="4298" y="648"/>
                </a:lnTo>
                <a:lnTo>
                  <a:pt x="4304" y="646"/>
                </a:lnTo>
                <a:lnTo>
                  <a:pt x="4309" y="640"/>
                </a:lnTo>
                <a:lnTo>
                  <a:pt x="4316" y="629"/>
                </a:lnTo>
                <a:lnTo>
                  <a:pt x="4326" y="616"/>
                </a:lnTo>
                <a:lnTo>
                  <a:pt x="4334" y="601"/>
                </a:lnTo>
                <a:lnTo>
                  <a:pt x="4350" y="575"/>
                </a:lnTo>
                <a:lnTo>
                  <a:pt x="4357" y="563"/>
                </a:lnTo>
                <a:lnTo>
                  <a:pt x="4362" y="562"/>
                </a:lnTo>
                <a:lnTo>
                  <a:pt x="4373" y="560"/>
                </a:lnTo>
                <a:lnTo>
                  <a:pt x="4377" y="558"/>
                </a:lnTo>
                <a:lnTo>
                  <a:pt x="4380" y="555"/>
                </a:lnTo>
                <a:lnTo>
                  <a:pt x="4381" y="553"/>
                </a:lnTo>
                <a:lnTo>
                  <a:pt x="4381" y="551"/>
                </a:lnTo>
                <a:lnTo>
                  <a:pt x="4379" y="549"/>
                </a:lnTo>
                <a:lnTo>
                  <a:pt x="4377" y="546"/>
                </a:lnTo>
                <a:lnTo>
                  <a:pt x="4375" y="542"/>
                </a:lnTo>
                <a:lnTo>
                  <a:pt x="4371" y="541"/>
                </a:lnTo>
                <a:lnTo>
                  <a:pt x="4367" y="540"/>
                </a:lnTo>
                <a:lnTo>
                  <a:pt x="4363" y="539"/>
                </a:lnTo>
                <a:lnTo>
                  <a:pt x="4354" y="540"/>
                </a:lnTo>
                <a:lnTo>
                  <a:pt x="4344" y="541"/>
                </a:lnTo>
                <a:lnTo>
                  <a:pt x="4335" y="543"/>
                </a:lnTo>
                <a:lnTo>
                  <a:pt x="4326" y="546"/>
                </a:lnTo>
                <a:lnTo>
                  <a:pt x="4322" y="546"/>
                </a:lnTo>
                <a:lnTo>
                  <a:pt x="4319" y="546"/>
                </a:lnTo>
                <a:lnTo>
                  <a:pt x="4316" y="545"/>
                </a:lnTo>
                <a:lnTo>
                  <a:pt x="4314" y="543"/>
                </a:lnTo>
                <a:lnTo>
                  <a:pt x="4305" y="536"/>
                </a:lnTo>
                <a:lnTo>
                  <a:pt x="4292" y="528"/>
                </a:lnTo>
                <a:lnTo>
                  <a:pt x="4280" y="520"/>
                </a:lnTo>
                <a:lnTo>
                  <a:pt x="4270" y="514"/>
                </a:lnTo>
                <a:lnTo>
                  <a:pt x="4258" y="508"/>
                </a:lnTo>
                <a:lnTo>
                  <a:pt x="4247" y="503"/>
                </a:lnTo>
                <a:lnTo>
                  <a:pt x="4242" y="502"/>
                </a:lnTo>
                <a:lnTo>
                  <a:pt x="4238" y="504"/>
                </a:lnTo>
                <a:lnTo>
                  <a:pt x="4235" y="505"/>
                </a:lnTo>
                <a:lnTo>
                  <a:pt x="4234" y="507"/>
                </a:lnTo>
                <a:lnTo>
                  <a:pt x="4233" y="510"/>
                </a:lnTo>
                <a:lnTo>
                  <a:pt x="4232" y="514"/>
                </a:lnTo>
                <a:lnTo>
                  <a:pt x="4231" y="521"/>
                </a:lnTo>
                <a:lnTo>
                  <a:pt x="4229" y="527"/>
                </a:lnTo>
                <a:lnTo>
                  <a:pt x="4226" y="530"/>
                </a:lnTo>
                <a:lnTo>
                  <a:pt x="4223" y="531"/>
                </a:lnTo>
                <a:lnTo>
                  <a:pt x="4220" y="531"/>
                </a:lnTo>
                <a:lnTo>
                  <a:pt x="4216" y="530"/>
                </a:lnTo>
                <a:lnTo>
                  <a:pt x="4212" y="527"/>
                </a:lnTo>
                <a:lnTo>
                  <a:pt x="4209" y="521"/>
                </a:lnTo>
                <a:lnTo>
                  <a:pt x="4205" y="511"/>
                </a:lnTo>
                <a:lnTo>
                  <a:pt x="4203" y="502"/>
                </a:lnTo>
                <a:lnTo>
                  <a:pt x="4201" y="498"/>
                </a:lnTo>
                <a:lnTo>
                  <a:pt x="4199" y="496"/>
                </a:lnTo>
                <a:lnTo>
                  <a:pt x="4195" y="495"/>
                </a:lnTo>
                <a:lnTo>
                  <a:pt x="4189" y="497"/>
                </a:lnTo>
                <a:lnTo>
                  <a:pt x="4183" y="499"/>
                </a:lnTo>
                <a:lnTo>
                  <a:pt x="4176" y="498"/>
                </a:lnTo>
                <a:lnTo>
                  <a:pt x="4168" y="497"/>
                </a:lnTo>
                <a:lnTo>
                  <a:pt x="4161" y="496"/>
                </a:lnTo>
                <a:lnTo>
                  <a:pt x="4158" y="496"/>
                </a:lnTo>
                <a:lnTo>
                  <a:pt x="4155" y="497"/>
                </a:lnTo>
                <a:lnTo>
                  <a:pt x="4152" y="498"/>
                </a:lnTo>
                <a:lnTo>
                  <a:pt x="4149" y="499"/>
                </a:lnTo>
                <a:lnTo>
                  <a:pt x="4147" y="503"/>
                </a:lnTo>
                <a:lnTo>
                  <a:pt x="4146" y="506"/>
                </a:lnTo>
                <a:lnTo>
                  <a:pt x="4145" y="511"/>
                </a:lnTo>
                <a:lnTo>
                  <a:pt x="4145" y="517"/>
                </a:lnTo>
                <a:lnTo>
                  <a:pt x="4145" y="539"/>
                </a:lnTo>
                <a:lnTo>
                  <a:pt x="4144" y="553"/>
                </a:lnTo>
                <a:lnTo>
                  <a:pt x="4144" y="558"/>
                </a:lnTo>
                <a:lnTo>
                  <a:pt x="4145" y="563"/>
                </a:lnTo>
                <a:lnTo>
                  <a:pt x="4147" y="568"/>
                </a:lnTo>
                <a:lnTo>
                  <a:pt x="4152" y="571"/>
                </a:lnTo>
                <a:lnTo>
                  <a:pt x="4158" y="575"/>
                </a:lnTo>
                <a:lnTo>
                  <a:pt x="4166" y="578"/>
                </a:lnTo>
                <a:lnTo>
                  <a:pt x="4177" y="581"/>
                </a:lnTo>
                <a:lnTo>
                  <a:pt x="4186" y="584"/>
                </a:lnTo>
                <a:lnTo>
                  <a:pt x="4195" y="589"/>
                </a:lnTo>
                <a:lnTo>
                  <a:pt x="4201" y="593"/>
                </a:lnTo>
                <a:lnTo>
                  <a:pt x="4202" y="595"/>
                </a:lnTo>
                <a:lnTo>
                  <a:pt x="4202" y="597"/>
                </a:lnTo>
                <a:lnTo>
                  <a:pt x="4201" y="600"/>
                </a:lnTo>
                <a:lnTo>
                  <a:pt x="4199" y="603"/>
                </a:lnTo>
                <a:lnTo>
                  <a:pt x="4192" y="611"/>
                </a:lnTo>
                <a:lnTo>
                  <a:pt x="4188" y="619"/>
                </a:lnTo>
                <a:lnTo>
                  <a:pt x="4184" y="628"/>
                </a:lnTo>
                <a:lnTo>
                  <a:pt x="4181" y="637"/>
                </a:lnTo>
                <a:lnTo>
                  <a:pt x="4177" y="652"/>
                </a:lnTo>
                <a:lnTo>
                  <a:pt x="4176" y="659"/>
                </a:lnTo>
                <a:lnTo>
                  <a:pt x="4174" y="655"/>
                </a:lnTo>
                <a:lnTo>
                  <a:pt x="4167" y="643"/>
                </a:lnTo>
                <a:lnTo>
                  <a:pt x="4161" y="628"/>
                </a:lnTo>
                <a:lnTo>
                  <a:pt x="4153" y="613"/>
                </a:lnTo>
                <a:lnTo>
                  <a:pt x="4143" y="592"/>
                </a:lnTo>
                <a:lnTo>
                  <a:pt x="4133" y="570"/>
                </a:lnTo>
                <a:lnTo>
                  <a:pt x="4126" y="560"/>
                </a:lnTo>
                <a:lnTo>
                  <a:pt x="4121" y="555"/>
                </a:lnTo>
                <a:lnTo>
                  <a:pt x="4119" y="554"/>
                </a:lnTo>
                <a:lnTo>
                  <a:pt x="4117" y="554"/>
                </a:lnTo>
                <a:lnTo>
                  <a:pt x="4115" y="556"/>
                </a:lnTo>
                <a:lnTo>
                  <a:pt x="4113" y="559"/>
                </a:lnTo>
                <a:lnTo>
                  <a:pt x="4109" y="568"/>
                </a:lnTo>
                <a:lnTo>
                  <a:pt x="4103" y="576"/>
                </a:lnTo>
                <a:lnTo>
                  <a:pt x="4098" y="583"/>
                </a:lnTo>
                <a:lnTo>
                  <a:pt x="4093" y="591"/>
                </a:lnTo>
                <a:lnTo>
                  <a:pt x="4088" y="598"/>
                </a:lnTo>
                <a:lnTo>
                  <a:pt x="4085" y="603"/>
                </a:lnTo>
                <a:lnTo>
                  <a:pt x="4082" y="607"/>
                </a:lnTo>
                <a:lnTo>
                  <a:pt x="4082" y="611"/>
                </a:lnTo>
                <a:lnTo>
                  <a:pt x="4080" y="609"/>
                </a:lnTo>
                <a:lnTo>
                  <a:pt x="4072" y="601"/>
                </a:lnTo>
                <a:lnTo>
                  <a:pt x="4067" y="597"/>
                </a:lnTo>
                <a:lnTo>
                  <a:pt x="4060" y="593"/>
                </a:lnTo>
                <a:lnTo>
                  <a:pt x="4054" y="589"/>
                </a:lnTo>
                <a:lnTo>
                  <a:pt x="4048" y="586"/>
                </a:lnTo>
                <a:lnTo>
                  <a:pt x="4030" y="583"/>
                </a:lnTo>
                <a:lnTo>
                  <a:pt x="4006" y="581"/>
                </a:lnTo>
                <a:lnTo>
                  <a:pt x="3994" y="581"/>
                </a:lnTo>
                <a:lnTo>
                  <a:pt x="3985" y="583"/>
                </a:lnTo>
                <a:lnTo>
                  <a:pt x="3981" y="585"/>
                </a:lnTo>
                <a:lnTo>
                  <a:pt x="3979" y="587"/>
                </a:lnTo>
                <a:lnTo>
                  <a:pt x="3977" y="591"/>
                </a:lnTo>
                <a:lnTo>
                  <a:pt x="3977" y="594"/>
                </a:lnTo>
                <a:lnTo>
                  <a:pt x="3978" y="608"/>
                </a:lnTo>
                <a:lnTo>
                  <a:pt x="3979" y="623"/>
                </a:lnTo>
                <a:lnTo>
                  <a:pt x="3980" y="630"/>
                </a:lnTo>
                <a:lnTo>
                  <a:pt x="3982" y="637"/>
                </a:lnTo>
                <a:lnTo>
                  <a:pt x="3985" y="643"/>
                </a:lnTo>
                <a:lnTo>
                  <a:pt x="3987" y="649"/>
                </a:lnTo>
                <a:lnTo>
                  <a:pt x="3994" y="661"/>
                </a:lnTo>
                <a:lnTo>
                  <a:pt x="3999" y="673"/>
                </a:lnTo>
                <a:lnTo>
                  <a:pt x="4001" y="680"/>
                </a:lnTo>
                <a:lnTo>
                  <a:pt x="4002" y="686"/>
                </a:lnTo>
                <a:lnTo>
                  <a:pt x="4002" y="691"/>
                </a:lnTo>
                <a:lnTo>
                  <a:pt x="4002" y="696"/>
                </a:lnTo>
                <a:lnTo>
                  <a:pt x="4002" y="699"/>
                </a:lnTo>
                <a:lnTo>
                  <a:pt x="4001" y="700"/>
                </a:lnTo>
                <a:lnTo>
                  <a:pt x="4000" y="700"/>
                </a:lnTo>
                <a:lnTo>
                  <a:pt x="3999" y="700"/>
                </a:lnTo>
                <a:lnTo>
                  <a:pt x="3995" y="699"/>
                </a:lnTo>
                <a:lnTo>
                  <a:pt x="3992" y="696"/>
                </a:lnTo>
                <a:lnTo>
                  <a:pt x="3989" y="693"/>
                </a:lnTo>
                <a:lnTo>
                  <a:pt x="3986" y="691"/>
                </a:lnTo>
                <a:lnTo>
                  <a:pt x="3984" y="691"/>
                </a:lnTo>
                <a:lnTo>
                  <a:pt x="3982" y="691"/>
                </a:lnTo>
                <a:lnTo>
                  <a:pt x="3981" y="692"/>
                </a:lnTo>
                <a:lnTo>
                  <a:pt x="3980" y="693"/>
                </a:lnTo>
                <a:lnTo>
                  <a:pt x="3978" y="696"/>
                </a:lnTo>
                <a:lnTo>
                  <a:pt x="3977" y="699"/>
                </a:lnTo>
                <a:lnTo>
                  <a:pt x="3978" y="701"/>
                </a:lnTo>
                <a:lnTo>
                  <a:pt x="3979" y="703"/>
                </a:lnTo>
                <a:lnTo>
                  <a:pt x="3983" y="705"/>
                </a:lnTo>
                <a:lnTo>
                  <a:pt x="3985" y="707"/>
                </a:lnTo>
                <a:lnTo>
                  <a:pt x="3989" y="710"/>
                </a:lnTo>
                <a:lnTo>
                  <a:pt x="3991" y="712"/>
                </a:lnTo>
                <a:close/>
                <a:moveTo>
                  <a:pt x="2036" y="1821"/>
                </a:moveTo>
                <a:lnTo>
                  <a:pt x="2039" y="1825"/>
                </a:lnTo>
                <a:lnTo>
                  <a:pt x="2042" y="1828"/>
                </a:lnTo>
                <a:lnTo>
                  <a:pt x="2044" y="1828"/>
                </a:lnTo>
                <a:lnTo>
                  <a:pt x="2046" y="1828"/>
                </a:lnTo>
                <a:lnTo>
                  <a:pt x="2047" y="1827"/>
                </a:lnTo>
                <a:lnTo>
                  <a:pt x="2049" y="1826"/>
                </a:lnTo>
                <a:lnTo>
                  <a:pt x="2053" y="1820"/>
                </a:lnTo>
                <a:lnTo>
                  <a:pt x="2056" y="1813"/>
                </a:lnTo>
                <a:lnTo>
                  <a:pt x="2057" y="1810"/>
                </a:lnTo>
                <a:lnTo>
                  <a:pt x="2057" y="1808"/>
                </a:lnTo>
                <a:lnTo>
                  <a:pt x="2056" y="1806"/>
                </a:lnTo>
                <a:lnTo>
                  <a:pt x="2054" y="1806"/>
                </a:lnTo>
                <a:lnTo>
                  <a:pt x="2046" y="1807"/>
                </a:lnTo>
                <a:lnTo>
                  <a:pt x="2041" y="1809"/>
                </a:lnTo>
                <a:lnTo>
                  <a:pt x="2038" y="1812"/>
                </a:lnTo>
                <a:lnTo>
                  <a:pt x="2036" y="1815"/>
                </a:lnTo>
                <a:lnTo>
                  <a:pt x="2035" y="1819"/>
                </a:lnTo>
                <a:lnTo>
                  <a:pt x="2036" y="1821"/>
                </a:lnTo>
                <a:close/>
                <a:moveTo>
                  <a:pt x="1990" y="1887"/>
                </a:moveTo>
                <a:lnTo>
                  <a:pt x="1991" y="1893"/>
                </a:lnTo>
                <a:lnTo>
                  <a:pt x="1992" y="1898"/>
                </a:lnTo>
                <a:lnTo>
                  <a:pt x="1993" y="1900"/>
                </a:lnTo>
                <a:lnTo>
                  <a:pt x="1994" y="1901"/>
                </a:lnTo>
                <a:lnTo>
                  <a:pt x="1996" y="1901"/>
                </a:lnTo>
                <a:lnTo>
                  <a:pt x="1998" y="1900"/>
                </a:lnTo>
                <a:lnTo>
                  <a:pt x="2004" y="1897"/>
                </a:lnTo>
                <a:lnTo>
                  <a:pt x="2009" y="1893"/>
                </a:lnTo>
                <a:lnTo>
                  <a:pt x="2010" y="1891"/>
                </a:lnTo>
                <a:lnTo>
                  <a:pt x="2012" y="1888"/>
                </a:lnTo>
                <a:lnTo>
                  <a:pt x="2012" y="1885"/>
                </a:lnTo>
                <a:lnTo>
                  <a:pt x="2011" y="1880"/>
                </a:lnTo>
                <a:lnTo>
                  <a:pt x="2009" y="1873"/>
                </a:lnTo>
                <a:lnTo>
                  <a:pt x="2008" y="1868"/>
                </a:lnTo>
                <a:lnTo>
                  <a:pt x="2007" y="1866"/>
                </a:lnTo>
                <a:lnTo>
                  <a:pt x="2006" y="1865"/>
                </a:lnTo>
                <a:lnTo>
                  <a:pt x="2005" y="1866"/>
                </a:lnTo>
                <a:lnTo>
                  <a:pt x="2002" y="1868"/>
                </a:lnTo>
                <a:lnTo>
                  <a:pt x="1993" y="1880"/>
                </a:lnTo>
                <a:lnTo>
                  <a:pt x="1990" y="1887"/>
                </a:lnTo>
                <a:close/>
                <a:moveTo>
                  <a:pt x="1897" y="1867"/>
                </a:moveTo>
                <a:lnTo>
                  <a:pt x="1900" y="1875"/>
                </a:lnTo>
                <a:lnTo>
                  <a:pt x="1904" y="1880"/>
                </a:lnTo>
                <a:lnTo>
                  <a:pt x="1909" y="1882"/>
                </a:lnTo>
                <a:lnTo>
                  <a:pt x="1914" y="1882"/>
                </a:lnTo>
                <a:lnTo>
                  <a:pt x="1918" y="1881"/>
                </a:lnTo>
                <a:lnTo>
                  <a:pt x="1922" y="1879"/>
                </a:lnTo>
                <a:lnTo>
                  <a:pt x="1926" y="1876"/>
                </a:lnTo>
                <a:lnTo>
                  <a:pt x="1929" y="1874"/>
                </a:lnTo>
                <a:lnTo>
                  <a:pt x="1938" y="1867"/>
                </a:lnTo>
                <a:lnTo>
                  <a:pt x="1948" y="1857"/>
                </a:lnTo>
                <a:lnTo>
                  <a:pt x="1951" y="1852"/>
                </a:lnTo>
                <a:lnTo>
                  <a:pt x="1953" y="1849"/>
                </a:lnTo>
                <a:lnTo>
                  <a:pt x="1953" y="1847"/>
                </a:lnTo>
                <a:lnTo>
                  <a:pt x="1952" y="1845"/>
                </a:lnTo>
                <a:lnTo>
                  <a:pt x="1951" y="1844"/>
                </a:lnTo>
                <a:lnTo>
                  <a:pt x="1948" y="1843"/>
                </a:lnTo>
                <a:lnTo>
                  <a:pt x="1937" y="1841"/>
                </a:lnTo>
                <a:lnTo>
                  <a:pt x="1927" y="1840"/>
                </a:lnTo>
                <a:lnTo>
                  <a:pt x="1923" y="1841"/>
                </a:lnTo>
                <a:lnTo>
                  <a:pt x="1920" y="1842"/>
                </a:lnTo>
                <a:lnTo>
                  <a:pt x="1918" y="1845"/>
                </a:lnTo>
                <a:lnTo>
                  <a:pt x="1916" y="1848"/>
                </a:lnTo>
                <a:lnTo>
                  <a:pt x="1915" y="1852"/>
                </a:lnTo>
                <a:lnTo>
                  <a:pt x="1911" y="1855"/>
                </a:lnTo>
                <a:lnTo>
                  <a:pt x="1908" y="1858"/>
                </a:lnTo>
                <a:lnTo>
                  <a:pt x="1905" y="1862"/>
                </a:lnTo>
                <a:lnTo>
                  <a:pt x="1899" y="1866"/>
                </a:lnTo>
                <a:lnTo>
                  <a:pt x="1897" y="1867"/>
                </a:lnTo>
                <a:close/>
                <a:moveTo>
                  <a:pt x="2056" y="1576"/>
                </a:moveTo>
                <a:lnTo>
                  <a:pt x="2054" y="1586"/>
                </a:lnTo>
                <a:lnTo>
                  <a:pt x="2052" y="1595"/>
                </a:lnTo>
                <a:lnTo>
                  <a:pt x="2053" y="1601"/>
                </a:lnTo>
                <a:lnTo>
                  <a:pt x="2055" y="1605"/>
                </a:lnTo>
                <a:lnTo>
                  <a:pt x="2059" y="1609"/>
                </a:lnTo>
                <a:lnTo>
                  <a:pt x="2066" y="1612"/>
                </a:lnTo>
                <a:lnTo>
                  <a:pt x="2073" y="1614"/>
                </a:lnTo>
                <a:lnTo>
                  <a:pt x="2080" y="1615"/>
                </a:lnTo>
                <a:lnTo>
                  <a:pt x="2086" y="1614"/>
                </a:lnTo>
                <a:lnTo>
                  <a:pt x="2092" y="1613"/>
                </a:lnTo>
                <a:lnTo>
                  <a:pt x="2097" y="1610"/>
                </a:lnTo>
                <a:lnTo>
                  <a:pt x="2101" y="1606"/>
                </a:lnTo>
                <a:lnTo>
                  <a:pt x="2104" y="1602"/>
                </a:lnTo>
                <a:lnTo>
                  <a:pt x="2105" y="1596"/>
                </a:lnTo>
                <a:lnTo>
                  <a:pt x="2106" y="1591"/>
                </a:lnTo>
                <a:lnTo>
                  <a:pt x="2105" y="1584"/>
                </a:lnTo>
                <a:lnTo>
                  <a:pt x="2104" y="1578"/>
                </a:lnTo>
                <a:lnTo>
                  <a:pt x="2102" y="1571"/>
                </a:lnTo>
                <a:lnTo>
                  <a:pt x="2100" y="1565"/>
                </a:lnTo>
                <a:lnTo>
                  <a:pt x="2097" y="1561"/>
                </a:lnTo>
                <a:lnTo>
                  <a:pt x="2095" y="1560"/>
                </a:lnTo>
                <a:lnTo>
                  <a:pt x="2093" y="1559"/>
                </a:lnTo>
                <a:lnTo>
                  <a:pt x="2091" y="1559"/>
                </a:lnTo>
                <a:lnTo>
                  <a:pt x="2090" y="1559"/>
                </a:lnTo>
                <a:lnTo>
                  <a:pt x="2081" y="1562"/>
                </a:lnTo>
                <a:lnTo>
                  <a:pt x="2075" y="1564"/>
                </a:lnTo>
                <a:lnTo>
                  <a:pt x="2072" y="1565"/>
                </a:lnTo>
                <a:lnTo>
                  <a:pt x="2069" y="1567"/>
                </a:lnTo>
                <a:lnTo>
                  <a:pt x="2067" y="1569"/>
                </a:lnTo>
                <a:lnTo>
                  <a:pt x="2066" y="1572"/>
                </a:lnTo>
                <a:lnTo>
                  <a:pt x="2064" y="1576"/>
                </a:lnTo>
                <a:lnTo>
                  <a:pt x="2063" y="1576"/>
                </a:lnTo>
                <a:lnTo>
                  <a:pt x="2063" y="1573"/>
                </a:lnTo>
                <a:lnTo>
                  <a:pt x="2062" y="1571"/>
                </a:lnTo>
                <a:lnTo>
                  <a:pt x="2061" y="1570"/>
                </a:lnTo>
                <a:lnTo>
                  <a:pt x="2060" y="1569"/>
                </a:lnTo>
                <a:lnTo>
                  <a:pt x="2059" y="1569"/>
                </a:lnTo>
                <a:lnTo>
                  <a:pt x="2058" y="1570"/>
                </a:lnTo>
                <a:lnTo>
                  <a:pt x="2057" y="1573"/>
                </a:lnTo>
                <a:lnTo>
                  <a:pt x="2056" y="1576"/>
                </a:lnTo>
                <a:close/>
                <a:moveTo>
                  <a:pt x="1688" y="699"/>
                </a:moveTo>
                <a:lnTo>
                  <a:pt x="1694" y="705"/>
                </a:lnTo>
                <a:lnTo>
                  <a:pt x="1699" y="709"/>
                </a:lnTo>
                <a:lnTo>
                  <a:pt x="1704" y="713"/>
                </a:lnTo>
                <a:lnTo>
                  <a:pt x="1709" y="717"/>
                </a:lnTo>
                <a:lnTo>
                  <a:pt x="1720" y="723"/>
                </a:lnTo>
                <a:lnTo>
                  <a:pt x="1728" y="726"/>
                </a:lnTo>
                <a:lnTo>
                  <a:pt x="1734" y="729"/>
                </a:lnTo>
                <a:lnTo>
                  <a:pt x="1739" y="733"/>
                </a:lnTo>
                <a:lnTo>
                  <a:pt x="1739" y="735"/>
                </a:lnTo>
                <a:lnTo>
                  <a:pt x="1738" y="737"/>
                </a:lnTo>
                <a:lnTo>
                  <a:pt x="1737" y="740"/>
                </a:lnTo>
                <a:lnTo>
                  <a:pt x="1733" y="745"/>
                </a:lnTo>
                <a:lnTo>
                  <a:pt x="1729" y="748"/>
                </a:lnTo>
                <a:lnTo>
                  <a:pt x="1726" y="751"/>
                </a:lnTo>
                <a:lnTo>
                  <a:pt x="1723" y="753"/>
                </a:lnTo>
                <a:lnTo>
                  <a:pt x="1719" y="753"/>
                </a:lnTo>
                <a:lnTo>
                  <a:pt x="1713" y="754"/>
                </a:lnTo>
                <a:lnTo>
                  <a:pt x="1708" y="753"/>
                </a:lnTo>
                <a:lnTo>
                  <a:pt x="1707" y="753"/>
                </a:lnTo>
                <a:lnTo>
                  <a:pt x="1706" y="753"/>
                </a:lnTo>
                <a:lnTo>
                  <a:pt x="1705" y="753"/>
                </a:lnTo>
                <a:lnTo>
                  <a:pt x="1706" y="754"/>
                </a:lnTo>
                <a:lnTo>
                  <a:pt x="1709" y="758"/>
                </a:lnTo>
                <a:lnTo>
                  <a:pt x="1716" y="766"/>
                </a:lnTo>
                <a:lnTo>
                  <a:pt x="1721" y="771"/>
                </a:lnTo>
                <a:lnTo>
                  <a:pt x="1725" y="775"/>
                </a:lnTo>
                <a:lnTo>
                  <a:pt x="1729" y="778"/>
                </a:lnTo>
                <a:lnTo>
                  <a:pt x="1733" y="780"/>
                </a:lnTo>
                <a:lnTo>
                  <a:pt x="1742" y="783"/>
                </a:lnTo>
                <a:lnTo>
                  <a:pt x="1749" y="783"/>
                </a:lnTo>
                <a:lnTo>
                  <a:pt x="1756" y="782"/>
                </a:lnTo>
                <a:lnTo>
                  <a:pt x="1761" y="780"/>
                </a:lnTo>
                <a:lnTo>
                  <a:pt x="1765" y="777"/>
                </a:lnTo>
                <a:lnTo>
                  <a:pt x="1766" y="773"/>
                </a:lnTo>
                <a:lnTo>
                  <a:pt x="1767" y="761"/>
                </a:lnTo>
                <a:lnTo>
                  <a:pt x="1768" y="746"/>
                </a:lnTo>
                <a:lnTo>
                  <a:pt x="1770" y="739"/>
                </a:lnTo>
                <a:lnTo>
                  <a:pt x="1772" y="735"/>
                </a:lnTo>
                <a:lnTo>
                  <a:pt x="1773" y="734"/>
                </a:lnTo>
                <a:lnTo>
                  <a:pt x="1774" y="734"/>
                </a:lnTo>
                <a:lnTo>
                  <a:pt x="1776" y="736"/>
                </a:lnTo>
                <a:lnTo>
                  <a:pt x="1778" y="738"/>
                </a:lnTo>
                <a:lnTo>
                  <a:pt x="1782" y="745"/>
                </a:lnTo>
                <a:lnTo>
                  <a:pt x="1784" y="752"/>
                </a:lnTo>
                <a:lnTo>
                  <a:pt x="1786" y="758"/>
                </a:lnTo>
                <a:lnTo>
                  <a:pt x="1786" y="763"/>
                </a:lnTo>
                <a:lnTo>
                  <a:pt x="1787" y="769"/>
                </a:lnTo>
                <a:lnTo>
                  <a:pt x="1788" y="772"/>
                </a:lnTo>
                <a:lnTo>
                  <a:pt x="1789" y="774"/>
                </a:lnTo>
                <a:lnTo>
                  <a:pt x="1791" y="775"/>
                </a:lnTo>
                <a:lnTo>
                  <a:pt x="1794" y="773"/>
                </a:lnTo>
                <a:lnTo>
                  <a:pt x="1796" y="769"/>
                </a:lnTo>
                <a:lnTo>
                  <a:pt x="1797" y="763"/>
                </a:lnTo>
                <a:lnTo>
                  <a:pt x="1798" y="757"/>
                </a:lnTo>
                <a:lnTo>
                  <a:pt x="1800" y="745"/>
                </a:lnTo>
                <a:lnTo>
                  <a:pt x="1801" y="735"/>
                </a:lnTo>
                <a:lnTo>
                  <a:pt x="1801" y="726"/>
                </a:lnTo>
                <a:lnTo>
                  <a:pt x="1801" y="710"/>
                </a:lnTo>
                <a:lnTo>
                  <a:pt x="1801" y="703"/>
                </a:lnTo>
                <a:lnTo>
                  <a:pt x="1804" y="697"/>
                </a:lnTo>
                <a:lnTo>
                  <a:pt x="1805" y="694"/>
                </a:lnTo>
                <a:lnTo>
                  <a:pt x="1806" y="693"/>
                </a:lnTo>
                <a:lnTo>
                  <a:pt x="1808" y="692"/>
                </a:lnTo>
                <a:lnTo>
                  <a:pt x="1810" y="692"/>
                </a:lnTo>
                <a:lnTo>
                  <a:pt x="1815" y="693"/>
                </a:lnTo>
                <a:lnTo>
                  <a:pt x="1820" y="693"/>
                </a:lnTo>
                <a:lnTo>
                  <a:pt x="1826" y="692"/>
                </a:lnTo>
                <a:lnTo>
                  <a:pt x="1830" y="690"/>
                </a:lnTo>
                <a:lnTo>
                  <a:pt x="1839" y="686"/>
                </a:lnTo>
                <a:lnTo>
                  <a:pt x="1843" y="683"/>
                </a:lnTo>
                <a:lnTo>
                  <a:pt x="1849" y="679"/>
                </a:lnTo>
                <a:lnTo>
                  <a:pt x="1858" y="671"/>
                </a:lnTo>
                <a:lnTo>
                  <a:pt x="1867" y="664"/>
                </a:lnTo>
                <a:lnTo>
                  <a:pt x="1873" y="658"/>
                </a:lnTo>
                <a:lnTo>
                  <a:pt x="1873" y="656"/>
                </a:lnTo>
                <a:lnTo>
                  <a:pt x="1872" y="651"/>
                </a:lnTo>
                <a:lnTo>
                  <a:pt x="1870" y="647"/>
                </a:lnTo>
                <a:lnTo>
                  <a:pt x="1866" y="643"/>
                </a:lnTo>
                <a:lnTo>
                  <a:pt x="1862" y="639"/>
                </a:lnTo>
                <a:lnTo>
                  <a:pt x="1858" y="636"/>
                </a:lnTo>
                <a:lnTo>
                  <a:pt x="1853" y="633"/>
                </a:lnTo>
                <a:lnTo>
                  <a:pt x="1848" y="631"/>
                </a:lnTo>
                <a:lnTo>
                  <a:pt x="1839" y="630"/>
                </a:lnTo>
                <a:lnTo>
                  <a:pt x="1832" y="629"/>
                </a:lnTo>
                <a:lnTo>
                  <a:pt x="1829" y="628"/>
                </a:lnTo>
                <a:lnTo>
                  <a:pt x="1827" y="627"/>
                </a:lnTo>
                <a:lnTo>
                  <a:pt x="1825" y="624"/>
                </a:lnTo>
                <a:lnTo>
                  <a:pt x="1825" y="621"/>
                </a:lnTo>
                <a:lnTo>
                  <a:pt x="1825" y="617"/>
                </a:lnTo>
                <a:lnTo>
                  <a:pt x="1826" y="614"/>
                </a:lnTo>
                <a:lnTo>
                  <a:pt x="1829" y="609"/>
                </a:lnTo>
                <a:lnTo>
                  <a:pt x="1831" y="605"/>
                </a:lnTo>
                <a:lnTo>
                  <a:pt x="1833" y="601"/>
                </a:lnTo>
                <a:lnTo>
                  <a:pt x="1834" y="597"/>
                </a:lnTo>
                <a:lnTo>
                  <a:pt x="1833" y="595"/>
                </a:lnTo>
                <a:lnTo>
                  <a:pt x="1832" y="593"/>
                </a:lnTo>
                <a:lnTo>
                  <a:pt x="1831" y="591"/>
                </a:lnTo>
                <a:lnTo>
                  <a:pt x="1829" y="589"/>
                </a:lnTo>
                <a:lnTo>
                  <a:pt x="1816" y="580"/>
                </a:lnTo>
                <a:lnTo>
                  <a:pt x="1801" y="572"/>
                </a:lnTo>
                <a:lnTo>
                  <a:pt x="1794" y="568"/>
                </a:lnTo>
                <a:lnTo>
                  <a:pt x="1789" y="562"/>
                </a:lnTo>
                <a:lnTo>
                  <a:pt x="1787" y="560"/>
                </a:lnTo>
                <a:lnTo>
                  <a:pt x="1786" y="558"/>
                </a:lnTo>
                <a:lnTo>
                  <a:pt x="1785" y="555"/>
                </a:lnTo>
                <a:lnTo>
                  <a:pt x="1785" y="553"/>
                </a:lnTo>
                <a:lnTo>
                  <a:pt x="1786" y="540"/>
                </a:lnTo>
                <a:lnTo>
                  <a:pt x="1786" y="527"/>
                </a:lnTo>
                <a:lnTo>
                  <a:pt x="1785" y="520"/>
                </a:lnTo>
                <a:lnTo>
                  <a:pt x="1784" y="515"/>
                </a:lnTo>
                <a:lnTo>
                  <a:pt x="1782" y="511"/>
                </a:lnTo>
                <a:lnTo>
                  <a:pt x="1777" y="507"/>
                </a:lnTo>
                <a:lnTo>
                  <a:pt x="1766" y="501"/>
                </a:lnTo>
                <a:lnTo>
                  <a:pt x="1753" y="491"/>
                </a:lnTo>
                <a:lnTo>
                  <a:pt x="1747" y="487"/>
                </a:lnTo>
                <a:lnTo>
                  <a:pt x="1742" y="482"/>
                </a:lnTo>
                <a:lnTo>
                  <a:pt x="1739" y="477"/>
                </a:lnTo>
                <a:lnTo>
                  <a:pt x="1738" y="474"/>
                </a:lnTo>
                <a:lnTo>
                  <a:pt x="1737" y="461"/>
                </a:lnTo>
                <a:lnTo>
                  <a:pt x="1734" y="441"/>
                </a:lnTo>
                <a:lnTo>
                  <a:pt x="1732" y="422"/>
                </a:lnTo>
                <a:lnTo>
                  <a:pt x="1729" y="412"/>
                </a:lnTo>
                <a:lnTo>
                  <a:pt x="1724" y="407"/>
                </a:lnTo>
                <a:lnTo>
                  <a:pt x="1717" y="399"/>
                </a:lnTo>
                <a:lnTo>
                  <a:pt x="1713" y="395"/>
                </a:lnTo>
                <a:lnTo>
                  <a:pt x="1709" y="393"/>
                </a:lnTo>
                <a:lnTo>
                  <a:pt x="1707" y="392"/>
                </a:lnTo>
                <a:lnTo>
                  <a:pt x="1705" y="392"/>
                </a:lnTo>
                <a:lnTo>
                  <a:pt x="1704" y="392"/>
                </a:lnTo>
                <a:lnTo>
                  <a:pt x="1703" y="393"/>
                </a:lnTo>
                <a:lnTo>
                  <a:pt x="1700" y="395"/>
                </a:lnTo>
                <a:lnTo>
                  <a:pt x="1696" y="395"/>
                </a:lnTo>
                <a:lnTo>
                  <a:pt x="1691" y="396"/>
                </a:lnTo>
                <a:lnTo>
                  <a:pt x="1687" y="396"/>
                </a:lnTo>
                <a:lnTo>
                  <a:pt x="1683" y="396"/>
                </a:lnTo>
                <a:lnTo>
                  <a:pt x="1681" y="397"/>
                </a:lnTo>
                <a:lnTo>
                  <a:pt x="1680" y="398"/>
                </a:lnTo>
                <a:lnTo>
                  <a:pt x="1681" y="400"/>
                </a:lnTo>
                <a:lnTo>
                  <a:pt x="1694" y="407"/>
                </a:lnTo>
                <a:lnTo>
                  <a:pt x="1701" y="412"/>
                </a:lnTo>
                <a:lnTo>
                  <a:pt x="1701" y="416"/>
                </a:lnTo>
                <a:lnTo>
                  <a:pt x="1701" y="421"/>
                </a:lnTo>
                <a:lnTo>
                  <a:pt x="1700" y="424"/>
                </a:lnTo>
                <a:lnTo>
                  <a:pt x="1699" y="427"/>
                </a:lnTo>
                <a:lnTo>
                  <a:pt x="1696" y="430"/>
                </a:lnTo>
                <a:lnTo>
                  <a:pt x="1693" y="435"/>
                </a:lnTo>
                <a:lnTo>
                  <a:pt x="1684" y="442"/>
                </a:lnTo>
                <a:lnTo>
                  <a:pt x="1677" y="450"/>
                </a:lnTo>
                <a:lnTo>
                  <a:pt x="1675" y="454"/>
                </a:lnTo>
                <a:lnTo>
                  <a:pt x="1673" y="458"/>
                </a:lnTo>
                <a:lnTo>
                  <a:pt x="1673" y="461"/>
                </a:lnTo>
                <a:lnTo>
                  <a:pt x="1674" y="464"/>
                </a:lnTo>
                <a:lnTo>
                  <a:pt x="1681" y="472"/>
                </a:lnTo>
                <a:lnTo>
                  <a:pt x="1689" y="484"/>
                </a:lnTo>
                <a:lnTo>
                  <a:pt x="1694" y="489"/>
                </a:lnTo>
                <a:lnTo>
                  <a:pt x="1696" y="493"/>
                </a:lnTo>
                <a:lnTo>
                  <a:pt x="1696" y="495"/>
                </a:lnTo>
                <a:lnTo>
                  <a:pt x="1696" y="496"/>
                </a:lnTo>
                <a:lnTo>
                  <a:pt x="1696" y="497"/>
                </a:lnTo>
                <a:lnTo>
                  <a:pt x="1694" y="498"/>
                </a:lnTo>
                <a:lnTo>
                  <a:pt x="1685" y="497"/>
                </a:lnTo>
                <a:lnTo>
                  <a:pt x="1675" y="493"/>
                </a:lnTo>
                <a:lnTo>
                  <a:pt x="1669" y="492"/>
                </a:lnTo>
                <a:lnTo>
                  <a:pt x="1666" y="491"/>
                </a:lnTo>
                <a:lnTo>
                  <a:pt x="1663" y="490"/>
                </a:lnTo>
                <a:lnTo>
                  <a:pt x="1662" y="491"/>
                </a:lnTo>
                <a:lnTo>
                  <a:pt x="1660" y="494"/>
                </a:lnTo>
                <a:lnTo>
                  <a:pt x="1657" y="496"/>
                </a:lnTo>
                <a:lnTo>
                  <a:pt x="1656" y="499"/>
                </a:lnTo>
                <a:lnTo>
                  <a:pt x="1655" y="504"/>
                </a:lnTo>
                <a:lnTo>
                  <a:pt x="1661" y="513"/>
                </a:lnTo>
                <a:lnTo>
                  <a:pt x="1673" y="529"/>
                </a:lnTo>
                <a:lnTo>
                  <a:pt x="1684" y="542"/>
                </a:lnTo>
                <a:lnTo>
                  <a:pt x="1689" y="549"/>
                </a:lnTo>
                <a:lnTo>
                  <a:pt x="1688" y="551"/>
                </a:lnTo>
                <a:lnTo>
                  <a:pt x="1687" y="555"/>
                </a:lnTo>
                <a:lnTo>
                  <a:pt x="1683" y="560"/>
                </a:lnTo>
                <a:lnTo>
                  <a:pt x="1677" y="567"/>
                </a:lnTo>
                <a:lnTo>
                  <a:pt x="1668" y="573"/>
                </a:lnTo>
                <a:lnTo>
                  <a:pt x="1662" y="577"/>
                </a:lnTo>
                <a:lnTo>
                  <a:pt x="1659" y="577"/>
                </a:lnTo>
                <a:lnTo>
                  <a:pt x="1657" y="577"/>
                </a:lnTo>
                <a:lnTo>
                  <a:pt x="1655" y="575"/>
                </a:lnTo>
                <a:lnTo>
                  <a:pt x="1654" y="572"/>
                </a:lnTo>
                <a:lnTo>
                  <a:pt x="1653" y="563"/>
                </a:lnTo>
                <a:lnTo>
                  <a:pt x="1650" y="556"/>
                </a:lnTo>
                <a:lnTo>
                  <a:pt x="1647" y="554"/>
                </a:lnTo>
                <a:lnTo>
                  <a:pt x="1646" y="553"/>
                </a:lnTo>
                <a:lnTo>
                  <a:pt x="1644" y="554"/>
                </a:lnTo>
                <a:lnTo>
                  <a:pt x="1642" y="556"/>
                </a:lnTo>
                <a:lnTo>
                  <a:pt x="1639" y="563"/>
                </a:lnTo>
                <a:lnTo>
                  <a:pt x="1638" y="570"/>
                </a:lnTo>
                <a:lnTo>
                  <a:pt x="1638" y="576"/>
                </a:lnTo>
                <a:lnTo>
                  <a:pt x="1639" y="582"/>
                </a:lnTo>
                <a:lnTo>
                  <a:pt x="1641" y="589"/>
                </a:lnTo>
                <a:lnTo>
                  <a:pt x="1646" y="594"/>
                </a:lnTo>
                <a:lnTo>
                  <a:pt x="1652" y="599"/>
                </a:lnTo>
                <a:lnTo>
                  <a:pt x="1659" y="604"/>
                </a:lnTo>
                <a:lnTo>
                  <a:pt x="1666" y="608"/>
                </a:lnTo>
                <a:lnTo>
                  <a:pt x="1674" y="614"/>
                </a:lnTo>
                <a:lnTo>
                  <a:pt x="1683" y="618"/>
                </a:lnTo>
                <a:lnTo>
                  <a:pt x="1695" y="622"/>
                </a:lnTo>
                <a:lnTo>
                  <a:pt x="1697" y="623"/>
                </a:lnTo>
                <a:lnTo>
                  <a:pt x="1698" y="624"/>
                </a:lnTo>
                <a:lnTo>
                  <a:pt x="1698" y="624"/>
                </a:lnTo>
                <a:lnTo>
                  <a:pt x="1697" y="624"/>
                </a:lnTo>
                <a:lnTo>
                  <a:pt x="1693" y="625"/>
                </a:lnTo>
                <a:lnTo>
                  <a:pt x="1686" y="625"/>
                </a:lnTo>
                <a:lnTo>
                  <a:pt x="1679" y="626"/>
                </a:lnTo>
                <a:lnTo>
                  <a:pt x="1673" y="627"/>
                </a:lnTo>
                <a:lnTo>
                  <a:pt x="1669" y="628"/>
                </a:lnTo>
                <a:lnTo>
                  <a:pt x="1667" y="629"/>
                </a:lnTo>
                <a:lnTo>
                  <a:pt x="1665" y="630"/>
                </a:lnTo>
                <a:lnTo>
                  <a:pt x="1664" y="633"/>
                </a:lnTo>
                <a:lnTo>
                  <a:pt x="1665" y="637"/>
                </a:lnTo>
                <a:lnTo>
                  <a:pt x="1667" y="641"/>
                </a:lnTo>
                <a:lnTo>
                  <a:pt x="1671" y="644"/>
                </a:lnTo>
                <a:lnTo>
                  <a:pt x="1675" y="647"/>
                </a:lnTo>
                <a:lnTo>
                  <a:pt x="1679" y="650"/>
                </a:lnTo>
                <a:lnTo>
                  <a:pt x="1684" y="652"/>
                </a:lnTo>
                <a:lnTo>
                  <a:pt x="1688" y="653"/>
                </a:lnTo>
                <a:lnTo>
                  <a:pt x="1691" y="652"/>
                </a:lnTo>
                <a:lnTo>
                  <a:pt x="1705" y="642"/>
                </a:lnTo>
                <a:lnTo>
                  <a:pt x="1717" y="633"/>
                </a:lnTo>
                <a:lnTo>
                  <a:pt x="1722" y="633"/>
                </a:lnTo>
                <a:lnTo>
                  <a:pt x="1729" y="633"/>
                </a:lnTo>
                <a:lnTo>
                  <a:pt x="1732" y="634"/>
                </a:lnTo>
                <a:lnTo>
                  <a:pt x="1735" y="636"/>
                </a:lnTo>
                <a:lnTo>
                  <a:pt x="1738" y="640"/>
                </a:lnTo>
                <a:lnTo>
                  <a:pt x="1738" y="644"/>
                </a:lnTo>
                <a:lnTo>
                  <a:pt x="1744" y="660"/>
                </a:lnTo>
                <a:lnTo>
                  <a:pt x="1749" y="669"/>
                </a:lnTo>
                <a:lnTo>
                  <a:pt x="1746" y="671"/>
                </a:lnTo>
                <a:lnTo>
                  <a:pt x="1743" y="672"/>
                </a:lnTo>
                <a:lnTo>
                  <a:pt x="1738" y="673"/>
                </a:lnTo>
                <a:lnTo>
                  <a:pt x="1732" y="674"/>
                </a:lnTo>
                <a:lnTo>
                  <a:pt x="1722" y="674"/>
                </a:lnTo>
                <a:lnTo>
                  <a:pt x="1715" y="675"/>
                </a:lnTo>
                <a:lnTo>
                  <a:pt x="1706" y="679"/>
                </a:lnTo>
                <a:lnTo>
                  <a:pt x="1694" y="684"/>
                </a:lnTo>
                <a:lnTo>
                  <a:pt x="1683" y="690"/>
                </a:lnTo>
                <a:lnTo>
                  <a:pt x="1677" y="694"/>
                </a:lnTo>
                <a:lnTo>
                  <a:pt x="1677" y="696"/>
                </a:lnTo>
                <a:lnTo>
                  <a:pt x="1678" y="696"/>
                </a:lnTo>
                <a:lnTo>
                  <a:pt x="1680" y="697"/>
                </a:lnTo>
                <a:lnTo>
                  <a:pt x="1682" y="697"/>
                </a:lnTo>
                <a:lnTo>
                  <a:pt x="1686" y="699"/>
                </a:lnTo>
                <a:lnTo>
                  <a:pt x="1688" y="699"/>
                </a:lnTo>
                <a:close/>
                <a:moveTo>
                  <a:pt x="1598" y="1064"/>
                </a:moveTo>
                <a:lnTo>
                  <a:pt x="1601" y="1060"/>
                </a:lnTo>
                <a:lnTo>
                  <a:pt x="1606" y="1052"/>
                </a:lnTo>
                <a:lnTo>
                  <a:pt x="1609" y="1042"/>
                </a:lnTo>
                <a:lnTo>
                  <a:pt x="1613" y="1032"/>
                </a:lnTo>
                <a:lnTo>
                  <a:pt x="1615" y="1021"/>
                </a:lnTo>
                <a:lnTo>
                  <a:pt x="1616" y="1011"/>
                </a:lnTo>
                <a:lnTo>
                  <a:pt x="1617" y="1000"/>
                </a:lnTo>
                <a:lnTo>
                  <a:pt x="1615" y="993"/>
                </a:lnTo>
                <a:lnTo>
                  <a:pt x="1611" y="976"/>
                </a:lnTo>
                <a:lnTo>
                  <a:pt x="1606" y="959"/>
                </a:lnTo>
                <a:lnTo>
                  <a:pt x="1601" y="952"/>
                </a:lnTo>
                <a:lnTo>
                  <a:pt x="1598" y="947"/>
                </a:lnTo>
                <a:lnTo>
                  <a:pt x="1596" y="945"/>
                </a:lnTo>
                <a:lnTo>
                  <a:pt x="1594" y="943"/>
                </a:lnTo>
                <a:lnTo>
                  <a:pt x="1591" y="943"/>
                </a:lnTo>
                <a:lnTo>
                  <a:pt x="1589" y="943"/>
                </a:lnTo>
                <a:lnTo>
                  <a:pt x="1584" y="945"/>
                </a:lnTo>
                <a:lnTo>
                  <a:pt x="1579" y="948"/>
                </a:lnTo>
                <a:lnTo>
                  <a:pt x="1575" y="952"/>
                </a:lnTo>
                <a:lnTo>
                  <a:pt x="1572" y="955"/>
                </a:lnTo>
                <a:lnTo>
                  <a:pt x="1569" y="958"/>
                </a:lnTo>
                <a:lnTo>
                  <a:pt x="1566" y="959"/>
                </a:lnTo>
                <a:lnTo>
                  <a:pt x="1565" y="958"/>
                </a:lnTo>
                <a:lnTo>
                  <a:pt x="1563" y="957"/>
                </a:lnTo>
                <a:lnTo>
                  <a:pt x="1560" y="955"/>
                </a:lnTo>
                <a:lnTo>
                  <a:pt x="1558" y="953"/>
                </a:lnTo>
                <a:lnTo>
                  <a:pt x="1555" y="946"/>
                </a:lnTo>
                <a:lnTo>
                  <a:pt x="1551" y="940"/>
                </a:lnTo>
                <a:lnTo>
                  <a:pt x="1546" y="934"/>
                </a:lnTo>
                <a:lnTo>
                  <a:pt x="1542" y="929"/>
                </a:lnTo>
                <a:lnTo>
                  <a:pt x="1537" y="927"/>
                </a:lnTo>
                <a:lnTo>
                  <a:pt x="1534" y="926"/>
                </a:lnTo>
                <a:lnTo>
                  <a:pt x="1532" y="927"/>
                </a:lnTo>
                <a:lnTo>
                  <a:pt x="1531" y="928"/>
                </a:lnTo>
                <a:lnTo>
                  <a:pt x="1529" y="929"/>
                </a:lnTo>
                <a:lnTo>
                  <a:pt x="1528" y="932"/>
                </a:lnTo>
                <a:lnTo>
                  <a:pt x="1527" y="940"/>
                </a:lnTo>
                <a:lnTo>
                  <a:pt x="1528" y="947"/>
                </a:lnTo>
                <a:lnTo>
                  <a:pt x="1530" y="955"/>
                </a:lnTo>
                <a:lnTo>
                  <a:pt x="1533" y="965"/>
                </a:lnTo>
                <a:lnTo>
                  <a:pt x="1536" y="972"/>
                </a:lnTo>
                <a:lnTo>
                  <a:pt x="1538" y="979"/>
                </a:lnTo>
                <a:lnTo>
                  <a:pt x="1540" y="985"/>
                </a:lnTo>
                <a:lnTo>
                  <a:pt x="1540" y="988"/>
                </a:lnTo>
                <a:lnTo>
                  <a:pt x="1536" y="989"/>
                </a:lnTo>
                <a:lnTo>
                  <a:pt x="1532" y="990"/>
                </a:lnTo>
                <a:lnTo>
                  <a:pt x="1526" y="991"/>
                </a:lnTo>
                <a:lnTo>
                  <a:pt x="1519" y="990"/>
                </a:lnTo>
                <a:lnTo>
                  <a:pt x="1512" y="989"/>
                </a:lnTo>
                <a:lnTo>
                  <a:pt x="1505" y="987"/>
                </a:lnTo>
                <a:lnTo>
                  <a:pt x="1500" y="982"/>
                </a:lnTo>
                <a:lnTo>
                  <a:pt x="1496" y="978"/>
                </a:lnTo>
                <a:lnTo>
                  <a:pt x="1490" y="965"/>
                </a:lnTo>
                <a:lnTo>
                  <a:pt x="1485" y="950"/>
                </a:lnTo>
                <a:lnTo>
                  <a:pt x="1483" y="945"/>
                </a:lnTo>
                <a:lnTo>
                  <a:pt x="1480" y="941"/>
                </a:lnTo>
                <a:lnTo>
                  <a:pt x="1478" y="941"/>
                </a:lnTo>
                <a:lnTo>
                  <a:pt x="1477" y="942"/>
                </a:lnTo>
                <a:lnTo>
                  <a:pt x="1475" y="943"/>
                </a:lnTo>
                <a:lnTo>
                  <a:pt x="1471" y="946"/>
                </a:lnTo>
                <a:lnTo>
                  <a:pt x="1468" y="952"/>
                </a:lnTo>
                <a:lnTo>
                  <a:pt x="1466" y="958"/>
                </a:lnTo>
                <a:lnTo>
                  <a:pt x="1465" y="965"/>
                </a:lnTo>
                <a:lnTo>
                  <a:pt x="1466" y="971"/>
                </a:lnTo>
                <a:lnTo>
                  <a:pt x="1470" y="980"/>
                </a:lnTo>
                <a:lnTo>
                  <a:pt x="1476" y="989"/>
                </a:lnTo>
                <a:lnTo>
                  <a:pt x="1479" y="991"/>
                </a:lnTo>
                <a:lnTo>
                  <a:pt x="1484" y="992"/>
                </a:lnTo>
                <a:lnTo>
                  <a:pt x="1489" y="992"/>
                </a:lnTo>
                <a:lnTo>
                  <a:pt x="1494" y="991"/>
                </a:lnTo>
                <a:lnTo>
                  <a:pt x="1500" y="992"/>
                </a:lnTo>
                <a:lnTo>
                  <a:pt x="1504" y="993"/>
                </a:lnTo>
                <a:lnTo>
                  <a:pt x="1505" y="994"/>
                </a:lnTo>
                <a:lnTo>
                  <a:pt x="1506" y="996"/>
                </a:lnTo>
                <a:lnTo>
                  <a:pt x="1506" y="999"/>
                </a:lnTo>
                <a:lnTo>
                  <a:pt x="1506" y="1003"/>
                </a:lnTo>
                <a:lnTo>
                  <a:pt x="1503" y="1017"/>
                </a:lnTo>
                <a:lnTo>
                  <a:pt x="1501" y="1025"/>
                </a:lnTo>
                <a:lnTo>
                  <a:pt x="1501" y="1030"/>
                </a:lnTo>
                <a:lnTo>
                  <a:pt x="1501" y="1032"/>
                </a:lnTo>
                <a:lnTo>
                  <a:pt x="1502" y="1034"/>
                </a:lnTo>
                <a:lnTo>
                  <a:pt x="1504" y="1036"/>
                </a:lnTo>
                <a:lnTo>
                  <a:pt x="1506" y="1036"/>
                </a:lnTo>
                <a:lnTo>
                  <a:pt x="1510" y="1035"/>
                </a:lnTo>
                <a:lnTo>
                  <a:pt x="1514" y="1033"/>
                </a:lnTo>
                <a:lnTo>
                  <a:pt x="1520" y="1030"/>
                </a:lnTo>
                <a:lnTo>
                  <a:pt x="1525" y="1026"/>
                </a:lnTo>
                <a:lnTo>
                  <a:pt x="1529" y="1023"/>
                </a:lnTo>
                <a:lnTo>
                  <a:pt x="1533" y="1022"/>
                </a:lnTo>
                <a:lnTo>
                  <a:pt x="1537" y="1022"/>
                </a:lnTo>
                <a:lnTo>
                  <a:pt x="1541" y="1024"/>
                </a:lnTo>
                <a:lnTo>
                  <a:pt x="1544" y="1026"/>
                </a:lnTo>
                <a:lnTo>
                  <a:pt x="1546" y="1030"/>
                </a:lnTo>
                <a:lnTo>
                  <a:pt x="1549" y="1034"/>
                </a:lnTo>
                <a:lnTo>
                  <a:pt x="1550" y="1037"/>
                </a:lnTo>
                <a:lnTo>
                  <a:pt x="1551" y="1041"/>
                </a:lnTo>
                <a:lnTo>
                  <a:pt x="1552" y="1045"/>
                </a:lnTo>
                <a:lnTo>
                  <a:pt x="1551" y="1050"/>
                </a:lnTo>
                <a:lnTo>
                  <a:pt x="1546" y="1058"/>
                </a:lnTo>
                <a:lnTo>
                  <a:pt x="1541" y="1068"/>
                </a:lnTo>
                <a:lnTo>
                  <a:pt x="1538" y="1074"/>
                </a:lnTo>
                <a:lnTo>
                  <a:pt x="1537" y="1079"/>
                </a:lnTo>
                <a:lnTo>
                  <a:pt x="1537" y="1082"/>
                </a:lnTo>
                <a:lnTo>
                  <a:pt x="1537" y="1084"/>
                </a:lnTo>
                <a:lnTo>
                  <a:pt x="1538" y="1086"/>
                </a:lnTo>
                <a:lnTo>
                  <a:pt x="1541" y="1088"/>
                </a:lnTo>
                <a:lnTo>
                  <a:pt x="1545" y="1091"/>
                </a:lnTo>
                <a:lnTo>
                  <a:pt x="1549" y="1095"/>
                </a:lnTo>
                <a:lnTo>
                  <a:pt x="1554" y="1097"/>
                </a:lnTo>
                <a:lnTo>
                  <a:pt x="1559" y="1099"/>
                </a:lnTo>
                <a:lnTo>
                  <a:pt x="1565" y="1099"/>
                </a:lnTo>
                <a:lnTo>
                  <a:pt x="1569" y="1099"/>
                </a:lnTo>
                <a:lnTo>
                  <a:pt x="1573" y="1097"/>
                </a:lnTo>
                <a:lnTo>
                  <a:pt x="1577" y="1095"/>
                </a:lnTo>
                <a:lnTo>
                  <a:pt x="1591" y="1076"/>
                </a:lnTo>
                <a:lnTo>
                  <a:pt x="1598" y="1064"/>
                </a:lnTo>
                <a:close/>
                <a:moveTo>
                  <a:pt x="1629" y="902"/>
                </a:moveTo>
                <a:lnTo>
                  <a:pt x="1619" y="903"/>
                </a:lnTo>
                <a:lnTo>
                  <a:pt x="1613" y="904"/>
                </a:lnTo>
                <a:lnTo>
                  <a:pt x="1613" y="907"/>
                </a:lnTo>
                <a:lnTo>
                  <a:pt x="1613" y="909"/>
                </a:lnTo>
                <a:lnTo>
                  <a:pt x="1614" y="912"/>
                </a:lnTo>
                <a:lnTo>
                  <a:pt x="1615" y="915"/>
                </a:lnTo>
                <a:lnTo>
                  <a:pt x="1619" y="921"/>
                </a:lnTo>
                <a:lnTo>
                  <a:pt x="1623" y="927"/>
                </a:lnTo>
                <a:lnTo>
                  <a:pt x="1634" y="943"/>
                </a:lnTo>
                <a:lnTo>
                  <a:pt x="1643" y="957"/>
                </a:lnTo>
                <a:lnTo>
                  <a:pt x="1650" y="970"/>
                </a:lnTo>
                <a:lnTo>
                  <a:pt x="1657" y="984"/>
                </a:lnTo>
                <a:lnTo>
                  <a:pt x="1660" y="989"/>
                </a:lnTo>
                <a:lnTo>
                  <a:pt x="1663" y="993"/>
                </a:lnTo>
                <a:lnTo>
                  <a:pt x="1664" y="996"/>
                </a:lnTo>
                <a:lnTo>
                  <a:pt x="1665" y="998"/>
                </a:lnTo>
                <a:lnTo>
                  <a:pt x="1665" y="1002"/>
                </a:lnTo>
                <a:lnTo>
                  <a:pt x="1664" y="1008"/>
                </a:lnTo>
                <a:lnTo>
                  <a:pt x="1663" y="1015"/>
                </a:lnTo>
                <a:lnTo>
                  <a:pt x="1660" y="1021"/>
                </a:lnTo>
                <a:lnTo>
                  <a:pt x="1657" y="1029"/>
                </a:lnTo>
                <a:lnTo>
                  <a:pt x="1653" y="1035"/>
                </a:lnTo>
                <a:lnTo>
                  <a:pt x="1645" y="1047"/>
                </a:lnTo>
                <a:lnTo>
                  <a:pt x="1640" y="1056"/>
                </a:lnTo>
                <a:lnTo>
                  <a:pt x="1636" y="1060"/>
                </a:lnTo>
                <a:lnTo>
                  <a:pt x="1631" y="1063"/>
                </a:lnTo>
                <a:lnTo>
                  <a:pt x="1629" y="1065"/>
                </a:lnTo>
                <a:lnTo>
                  <a:pt x="1628" y="1068"/>
                </a:lnTo>
                <a:lnTo>
                  <a:pt x="1627" y="1074"/>
                </a:lnTo>
                <a:lnTo>
                  <a:pt x="1627" y="1081"/>
                </a:lnTo>
                <a:lnTo>
                  <a:pt x="1628" y="1088"/>
                </a:lnTo>
                <a:lnTo>
                  <a:pt x="1630" y="1095"/>
                </a:lnTo>
                <a:lnTo>
                  <a:pt x="1631" y="1100"/>
                </a:lnTo>
                <a:lnTo>
                  <a:pt x="1634" y="1103"/>
                </a:lnTo>
                <a:lnTo>
                  <a:pt x="1640" y="1110"/>
                </a:lnTo>
                <a:lnTo>
                  <a:pt x="1650" y="1119"/>
                </a:lnTo>
                <a:lnTo>
                  <a:pt x="1654" y="1123"/>
                </a:lnTo>
                <a:lnTo>
                  <a:pt x="1659" y="1125"/>
                </a:lnTo>
                <a:lnTo>
                  <a:pt x="1665" y="1125"/>
                </a:lnTo>
                <a:lnTo>
                  <a:pt x="1671" y="1123"/>
                </a:lnTo>
                <a:lnTo>
                  <a:pt x="1681" y="1120"/>
                </a:lnTo>
                <a:lnTo>
                  <a:pt x="1690" y="1118"/>
                </a:lnTo>
                <a:lnTo>
                  <a:pt x="1695" y="1118"/>
                </a:lnTo>
                <a:lnTo>
                  <a:pt x="1698" y="1117"/>
                </a:lnTo>
                <a:lnTo>
                  <a:pt x="1701" y="1113"/>
                </a:lnTo>
                <a:lnTo>
                  <a:pt x="1704" y="1110"/>
                </a:lnTo>
                <a:lnTo>
                  <a:pt x="1705" y="1106"/>
                </a:lnTo>
                <a:lnTo>
                  <a:pt x="1706" y="1101"/>
                </a:lnTo>
                <a:lnTo>
                  <a:pt x="1706" y="1095"/>
                </a:lnTo>
                <a:lnTo>
                  <a:pt x="1704" y="1088"/>
                </a:lnTo>
                <a:lnTo>
                  <a:pt x="1702" y="1081"/>
                </a:lnTo>
                <a:lnTo>
                  <a:pt x="1697" y="1075"/>
                </a:lnTo>
                <a:lnTo>
                  <a:pt x="1690" y="1068"/>
                </a:lnTo>
                <a:lnTo>
                  <a:pt x="1684" y="1062"/>
                </a:lnTo>
                <a:lnTo>
                  <a:pt x="1678" y="1056"/>
                </a:lnTo>
                <a:lnTo>
                  <a:pt x="1674" y="1050"/>
                </a:lnTo>
                <a:lnTo>
                  <a:pt x="1673" y="1045"/>
                </a:lnTo>
                <a:lnTo>
                  <a:pt x="1672" y="1042"/>
                </a:lnTo>
                <a:lnTo>
                  <a:pt x="1673" y="1038"/>
                </a:lnTo>
                <a:lnTo>
                  <a:pt x="1674" y="1034"/>
                </a:lnTo>
                <a:lnTo>
                  <a:pt x="1677" y="1025"/>
                </a:lnTo>
                <a:lnTo>
                  <a:pt x="1678" y="1018"/>
                </a:lnTo>
                <a:lnTo>
                  <a:pt x="1679" y="1011"/>
                </a:lnTo>
                <a:lnTo>
                  <a:pt x="1678" y="1004"/>
                </a:lnTo>
                <a:lnTo>
                  <a:pt x="1676" y="996"/>
                </a:lnTo>
                <a:lnTo>
                  <a:pt x="1675" y="993"/>
                </a:lnTo>
                <a:lnTo>
                  <a:pt x="1675" y="991"/>
                </a:lnTo>
                <a:lnTo>
                  <a:pt x="1677" y="987"/>
                </a:lnTo>
                <a:lnTo>
                  <a:pt x="1678" y="985"/>
                </a:lnTo>
                <a:lnTo>
                  <a:pt x="1679" y="981"/>
                </a:lnTo>
                <a:lnTo>
                  <a:pt x="1681" y="980"/>
                </a:lnTo>
                <a:lnTo>
                  <a:pt x="1684" y="978"/>
                </a:lnTo>
                <a:lnTo>
                  <a:pt x="1690" y="971"/>
                </a:lnTo>
                <a:lnTo>
                  <a:pt x="1698" y="960"/>
                </a:lnTo>
                <a:lnTo>
                  <a:pt x="1699" y="959"/>
                </a:lnTo>
                <a:lnTo>
                  <a:pt x="1701" y="957"/>
                </a:lnTo>
                <a:lnTo>
                  <a:pt x="1702" y="957"/>
                </a:lnTo>
                <a:lnTo>
                  <a:pt x="1703" y="958"/>
                </a:lnTo>
                <a:lnTo>
                  <a:pt x="1705" y="963"/>
                </a:lnTo>
                <a:lnTo>
                  <a:pt x="1705" y="973"/>
                </a:lnTo>
                <a:lnTo>
                  <a:pt x="1706" y="979"/>
                </a:lnTo>
                <a:lnTo>
                  <a:pt x="1707" y="986"/>
                </a:lnTo>
                <a:lnTo>
                  <a:pt x="1708" y="991"/>
                </a:lnTo>
                <a:lnTo>
                  <a:pt x="1710" y="996"/>
                </a:lnTo>
                <a:lnTo>
                  <a:pt x="1715" y="1003"/>
                </a:lnTo>
                <a:lnTo>
                  <a:pt x="1719" y="1010"/>
                </a:lnTo>
                <a:lnTo>
                  <a:pt x="1723" y="1014"/>
                </a:lnTo>
                <a:lnTo>
                  <a:pt x="1727" y="1017"/>
                </a:lnTo>
                <a:lnTo>
                  <a:pt x="1729" y="1020"/>
                </a:lnTo>
                <a:lnTo>
                  <a:pt x="1729" y="1022"/>
                </a:lnTo>
                <a:lnTo>
                  <a:pt x="1726" y="1029"/>
                </a:lnTo>
                <a:lnTo>
                  <a:pt x="1721" y="1037"/>
                </a:lnTo>
                <a:lnTo>
                  <a:pt x="1717" y="1044"/>
                </a:lnTo>
                <a:lnTo>
                  <a:pt x="1715" y="1052"/>
                </a:lnTo>
                <a:lnTo>
                  <a:pt x="1715" y="1062"/>
                </a:lnTo>
                <a:lnTo>
                  <a:pt x="1716" y="1080"/>
                </a:lnTo>
                <a:lnTo>
                  <a:pt x="1717" y="1089"/>
                </a:lnTo>
                <a:lnTo>
                  <a:pt x="1719" y="1098"/>
                </a:lnTo>
                <a:lnTo>
                  <a:pt x="1721" y="1102"/>
                </a:lnTo>
                <a:lnTo>
                  <a:pt x="1723" y="1106"/>
                </a:lnTo>
                <a:lnTo>
                  <a:pt x="1725" y="1109"/>
                </a:lnTo>
                <a:lnTo>
                  <a:pt x="1728" y="1111"/>
                </a:lnTo>
                <a:lnTo>
                  <a:pt x="1734" y="1116"/>
                </a:lnTo>
                <a:lnTo>
                  <a:pt x="1740" y="1118"/>
                </a:lnTo>
                <a:lnTo>
                  <a:pt x="1744" y="1119"/>
                </a:lnTo>
                <a:lnTo>
                  <a:pt x="1748" y="1119"/>
                </a:lnTo>
                <a:lnTo>
                  <a:pt x="1752" y="1120"/>
                </a:lnTo>
                <a:lnTo>
                  <a:pt x="1755" y="1120"/>
                </a:lnTo>
                <a:lnTo>
                  <a:pt x="1759" y="1122"/>
                </a:lnTo>
                <a:lnTo>
                  <a:pt x="1762" y="1124"/>
                </a:lnTo>
                <a:lnTo>
                  <a:pt x="1764" y="1125"/>
                </a:lnTo>
                <a:lnTo>
                  <a:pt x="1766" y="1126"/>
                </a:lnTo>
                <a:lnTo>
                  <a:pt x="1767" y="1126"/>
                </a:lnTo>
                <a:lnTo>
                  <a:pt x="1769" y="1125"/>
                </a:lnTo>
                <a:lnTo>
                  <a:pt x="1773" y="1123"/>
                </a:lnTo>
                <a:lnTo>
                  <a:pt x="1778" y="1120"/>
                </a:lnTo>
                <a:lnTo>
                  <a:pt x="1783" y="1118"/>
                </a:lnTo>
                <a:lnTo>
                  <a:pt x="1788" y="1116"/>
                </a:lnTo>
                <a:lnTo>
                  <a:pt x="1790" y="1116"/>
                </a:lnTo>
                <a:lnTo>
                  <a:pt x="1792" y="1116"/>
                </a:lnTo>
                <a:lnTo>
                  <a:pt x="1795" y="1117"/>
                </a:lnTo>
                <a:lnTo>
                  <a:pt x="1797" y="1118"/>
                </a:lnTo>
                <a:lnTo>
                  <a:pt x="1804" y="1125"/>
                </a:lnTo>
                <a:lnTo>
                  <a:pt x="1810" y="1129"/>
                </a:lnTo>
                <a:lnTo>
                  <a:pt x="1821" y="1133"/>
                </a:lnTo>
                <a:lnTo>
                  <a:pt x="1842" y="1136"/>
                </a:lnTo>
                <a:lnTo>
                  <a:pt x="1849" y="1136"/>
                </a:lnTo>
                <a:lnTo>
                  <a:pt x="1854" y="1136"/>
                </a:lnTo>
                <a:lnTo>
                  <a:pt x="1858" y="1136"/>
                </a:lnTo>
                <a:lnTo>
                  <a:pt x="1862" y="1135"/>
                </a:lnTo>
                <a:lnTo>
                  <a:pt x="1869" y="1132"/>
                </a:lnTo>
                <a:lnTo>
                  <a:pt x="1874" y="1129"/>
                </a:lnTo>
                <a:lnTo>
                  <a:pt x="1877" y="1126"/>
                </a:lnTo>
                <a:lnTo>
                  <a:pt x="1879" y="1124"/>
                </a:lnTo>
                <a:lnTo>
                  <a:pt x="1881" y="1124"/>
                </a:lnTo>
                <a:lnTo>
                  <a:pt x="1882" y="1124"/>
                </a:lnTo>
                <a:lnTo>
                  <a:pt x="1883" y="1125"/>
                </a:lnTo>
                <a:lnTo>
                  <a:pt x="1885" y="1126"/>
                </a:lnTo>
                <a:lnTo>
                  <a:pt x="1887" y="1127"/>
                </a:lnTo>
                <a:lnTo>
                  <a:pt x="1889" y="1128"/>
                </a:lnTo>
                <a:lnTo>
                  <a:pt x="1892" y="1128"/>
                </a:lnTo>
                <a:lnTo>
                  <a:pt x="1894" y="1128"/>
                </a:lnTo>
                <a:lnTo>
                  <a:pt x="1899" y="1126"/>
                </a:lnTo>
                <a:lnTo>
                  <a:pt x="1904" y="1123"/>
                </a:lnTo>
                <a:lnTo>
                  <a:pt x="1909" y="1120"/>
                </a:lnTo>
                <a:lnTo>
                  <a:pt x="1914" y="1118"/>
                </a:lnTo>
                <a:lnTo>
                  <a:pt x="1916" y="1118"/>
                </a:lnTo>
                <a:lnTo>
                  <a:pt x="1918" y="1118"/>
                </a:lnTo>
                <a:lnTo>
                  <a:pt x="1920" y="1119"/>
                </a:lnTo>
                <a:lnTo>
                  <a:pt x="1921" y="1120"/>
                </a:lnTo>
                <a:lnTo>
                  <a:pt x="1925" y="1124"/>
                </a:lnTo>
                <a:lnTo>
                  <a:pt x="1930" y="1126"/>
                </a:lnTo>
                <a:lnTo>
                  <a:pt x="1937" y="1128"/>
                </a:lnTo>
                <a:lnTo>
                  <a:pt x="1944" y="1129"/>
                </a:lnTo>
                <a:lnTo>
                  <a:pt x="1960" y="1130"/>
                </a:lnTo>
                <a:lnTo>
                  <a:pt x="1971" y="1131"/>
                </a:lnTo>
                <a:lnTo>
                  <a:pt x="1976" y="1131"/>
                </a:lnTo>
                <a:lnTo>
                  <a:pt x="1982" y="1128"/>
                </a:lnTo>
                <a:lnTo>
                  <a:pt x="1988" y="1125"/>
                </a:lnTo>
                <a:lnTo>
                  <a:pt x="1994" y="1120"/>
                </a:lnTo>
                <a:lnTo>
                  <a:pt x="1998" y="1114"/>
                </a:lnTo>
                <a:lnTo>
                  <a:pt x="2002" y="1110"/>
                </a:lnTo>
                <a:lnTo>
                  <a:pt x="2003" y="1107"/>
                </a:lnTo>
                <a:lnTo>
                  <a:pt x="2003" y="1105"/>
                </a:lnTo>
                <a:lnTo>
                  <a:pt x="2002" y="1103"/>
                </a:lnTo>
                <a:lnTo>
                  <a:pt x="2001" y="1102"/>
                </a:lnTo>
                <a:lnTo>
                  <a:pt x="1993" y="1096"/>
                </a:lnTo>
                <a:lnTo>
                  <a:pt x="1985" y="1091"/>
                </a:lnTo>
                <a:lnTo>
                  <a:pt x="1982" y="1088"/>
                </a:lnTo>
                <a:lnTo>
                  <a:pt x="1980" y="1085"/>
                </a:lnTo>
                <a:lnTo>
                  <a:pt x="1981" y="1082"/>
                </a:lnTo>
                <a:lnTo>
                  <a:pt x="1984" y="1078"/>
                </a:lnTo>
                <a:lnTo>
                  <a:pt x="1992" y="1070"/>
                </a:lnTo>
                <a:lnTo>
                  <a:pt x="1998" y="1064"/>
                </a:lnTo>
                <a:lnTo>
                  <a:pt x="2001" y="1062"/>
                </a:lnTo>
                <a:lnTo>
                  <a:pt x="2001" y="1059"/>
                </a:lnTo>
                <a:lnTo>
                  <a:pt x="2000" y="1056"/>
                </a:lnTo>
                <a:lnTo>
                  <a:pt x="1996" y="1052"/>
                </a:lnTo>
                <a:lnTo>
                  <a:pt x="1985" y="1039"/>
                </a:lnTo>
                <a:lnTo>
                  <a:pt x="1971" y="1024"/>
                </a:lnTo>
                <a:lnTo>
                  <a:pt x="1964" y="1018"/>
                </a:lnTo>
                <a:lnTo>
                  <a:pt x="1957" y="1012"/>
                </a:lnTo>
                <a:lnTo>
                  <a:pt x="1951" y="1009"/>
                </a:lnTo>
                <a:lnTo>
                  <a:pt x="1947" y="1008"/>
                </a:lnTo>
                <a:lnTo>
                  <a:pt x="1938" y="1013"/>
                </a:lnTo>
                <a:lnTo>
                  <a:pt x="1927" y="1020"/>
                </a:lnTo>
                <a:lnTo>
                  <a:pt x="1923" y="1023"/>
                </a:lnTo>
                <a:lnTo>
                  <a:pt x="1918" y="1025"/>
                </a:lnTo>
                <a:lnTo>
                  <a:pt x="1916" y="1025"/>
                </a:lnTo>
                <a:lnTo>
                  <a:pt x="1914" y="1024"/>
                </a:lnTo>
                <a:lnTo>
                  <a:pt x="1913" y="1023"/>
                </a:lnTo>
                <a:lnTo>
                  <a:pt x="1910" y="1021"/>
                </a:lnTo>
                <a:lnTo>
                  <a:pt x="1906" y="1013"/>
                </a:lnTo>
                <a:lnTo>
                  <a:pt x="1904" y="1008"/>
                </a:lnTo>
                <a:lnTo>
                  <a:pt x="1903" y="1007"/>
                </a:lnTo>
                <a:lnTo>
                  <a:pt x="1901" y="1007"/>
                </a:lnTo>
                <a:lnTo>
                  <a:pt x="1899" y="1007"/>
                </a:lnTo>
                <a:lnTo>
                  <a:pt x="1897" y="1009"/>
                </a:lnTo>
                <a:lnTo>
                  <a:pt x="1894" y="1012"/>
                </a:lnTo>
                <a:lnTo>
                  <a:pt x="1893" y="1016"/>
                </a:lnTo>
                <a:lnTo>
                  <a:pt x="1892" y="1020"/>
                </a:lnTo>
                <a:lnTo>
                  <a:pt x="1891" y="1025"/>
                </a:lnTo>
                <a:lnTo>
                  <a:pt x="1888" y="1030"/>
                </a:lnTo>
                <a:lnTo>
                  <a:pt x="1886" y="1034"/>
                </a:lnTo>
                <a:lnTo>
                  <a:pt x="1881" y="1037"/>
                </a:lnTo>
                <a:lnTo>
                  <a:pt x="1875" y="1040"/>
                </a:lnTo>
                <a:lnTo>
                  <a:pt x="1859" y="1043"/>
                </a:lnTo>
                <a:lnTo>
                  <a:pt x="1845" y="1045"/>
                </a:lnTo>
                <a:lnTo>
                  <a:pt x="1835" y="1046"/>
                </a:lnTo>
                <a:lnTo>
                  <a:pt x="1832" y="1047"/>
                </a:lnTo>
                <a:lnTo>
                  <a:pt x="1831" y="1043"/>
                </a:lnTo>
                <a:lnTo>
                  <a:pt x="1829" y="1036"/>
                </a:lnTo>
                <a:lnTo>
                  <a:pt x="1827" y="1033"/>
                </a:lnTo>
                <a:lnTo>
                  <a:pt x="1823" y="1031"/>
                </a:lnTo>
                <a:lnTo>
                  <a:pt x="1822" y="1031"/>
                </a:lnTo>
                <a:lnTo>
                  <a:pt x="1820" y="1031"/>
                </a:lnTo>
                <a:lnTo>
                  <a:pt x="1818" y="1032"/>
                </a:lnTo>
                <a:lnTo>
                  <a:pt x="1816" y="1034"/>
                </a:lnTo>
                <a:lnTo>
                  <a:pt x="1803" y="1046"/>
                </a:lnTo>
                <a:lnTo>
                  <a:pt x="1799" y="1051"/>
                </a:lnTo>
                <a:lnTo>
                  <a:pt x="1792" y="1043"/>
                </a:lnTo>
                <a:lnTo>
                  <a:pt x="1770" y="1022"/>
                </a:lnTo>
                <a:lnTo>
                  <a:pt x="1764" y="1016"/>
                </a:lnTo>
                <a:lnTo>
                  <a:pt x="1759" y="1011"/>
                </a:lnTo>
                <a:lnTo>
                  <a:pt x="1755" y="1006"/>
                </a:lnTo>
                <a:lnTo>
                  <a:pt x="1754" y="1001"/>
                </a:lnTo>
                <a:lnTo>
                  <a:pt x="1753" y="998"/>
                </a:lnTo>
                <a:lnTo>
                  <a:pt x="1754" y="995"/>
                </a:lnTo>
                <a:lnTo>
                  <a:pt x="1755" y="993"/>
                </a:lnTo>
                <a:lnTo>
                  <a:pt x="1757" y="992"/>
                </a:lnTo>
                <a:lnTo>
                  <a:pt x="1759" y="991"/>
                </a:lnTo>
                <a:lnTo>
                  <a:pt x="1759" y="991"/>
                </a:lnTo>
                <a:lnTo>
                  <a:pt x="1757" y="990"/>
                </a:lnTo>
                <a:lnTo>
                  <a:pt x="1756" y="990"/>
                </a:lnTo>
                <a:lnTo>
                  <a:pt x="1752" y="988"/>
                </a:lnTo>
                <a:lnTo>
                  <a:pt x="1746" y="987"/>
                </a:lnTo>
                <a:lnTo>
                  <a:pt x="1741" y="985"/>
                </a:lnTo>
                <a:lnTo>
                  <a:pt x="1737" y="981"/>
                </a:lnTo>
                <a:lnTo>
                  <a:pt x="1735" y="980"/>
                </a:lnTo>
                <a:lnTo>
                  <a:pt x="1734" y="979"/>
                </a:lnTo>
                <a:lnTo>
                  <a:pt x="1735" y="978"/>
                </a:lnTo>
                <a:lnTo>
                  <a:pt x="1737" y="976"/>
                </a:lnTo>
                <a:lnTo>
                  <a:pt x="1753" y="964"/>
                </a:lnTo>
                <a:lnTo>
                  <a:pt x="1763" y="957"/>
                </a:lnTo>
                <a:lnTo>
                  <a:pt x="1765" y="951"/>
                </a:lnTo>
                <a:lnTo>
                  <a:pt x="1768" y="941"/>
                </a:lnTo>
                <a:lnTo>
                  <a:pt x="1771" y="936"/>
                </a:lnTo>
                <a:lnTo>
                  <a:pt x="1774" y="934"/>
                </a:lnTo>
                <a:lnTo>
                  <a:pt x="1776" y="934"/>
                </a:lnTo>
                <a:lnTo>
                  <a:pt x="1777" y="935"/>
                </a:lnTo>
                <a:lnTo>
                  <a:pt x="1779" y="937"/>
                </a:lnTo>
                <a:lnTo>
                  <a:pt x="1782" y="941"/>
                </a:lnTo>
                <a:lnTo>
                  <a:pt x="1786" y="948"/>
                </a:lnTo>
                <a:lnTo>
                  <a:pt x="1790" y="953"/>
                </a:lnTo>
                <a:lnTo>
                  <a:pt x="1794" y="958"/>
                </a:lnTo>
                <a:lnTo>
                  <a:pt x="1798" y="962"/>
                </a:lnTo>
                <a:lnTo>
                  <a:pt x="1804" y="964"/>
                </a:lnTo>
                <a:lnTo>
                  <a:pt x="1809" y="965"/>
                </a:lnTo>
                <a:lnTo>
                  <a:pt x="1814" y="965"/>
                </a:lnTo>
                <a:lnTo>
                  <a:pt x="1820" y="964"/>
                </a:lnTo>
                <a:lnTo>
                  <a:pt x="1823" y="964"/>
                </a:lnTo>
                <a:lnTo>
                  <a:pt x="1827" y="962"/>
                </a:lnTo>
                <a:lnTo>
                  <a:pt x="1829" y="959"/>
                </a:lnTo>
                <a:lnTo>
                  <a:pt x="1831" y="957"/>
                </a:lnTo>
                <a:lnTo>
                  <a:pt x="1835" y="952"/>
                </a:lnTo>
                <a:lnTo>
                  <a:pt x="1839" y="946"/>
                </a:lnTo>
                <a:lnTo>
                  <a:pt x="1842" y="942"/>
                </a:lnTo>
                <a:lnTo>
                  <a:pt x="1845" y="940"/>
                </a:lnTo>
                <a:lnTo>
                  <a:pt x="1848" y="940"/>
                </a:lnTo>
                <a:lnTo>
                  <a:pt x="1850" y="941"/>
                </a:lnTo>
                <a:lnTo>
                  <a:pt x="1851" y="943"/>
                </a:lnTo>
                <a:lnTo>
                  <a:pt x="1853" y="946"/>
                </a:lnTo>
                <a:lnTo>
                  <a:pt x="1858" y="952"/>
                </a:lnTo>
                <a:lnTo>
                  <a:pt x="1863" y="957"/>
                </a:lnTo>
                <a:lnTo>
                  <a:pt x="1870" y="962"/>
                </a:lnTo>
                <a:lnTo>
                  <a:pt x="1875" y="963"/>
                </a:lnTo>
                <a:lnTo>
                  <a:pt x="1880" y="963"/>
                </a:lnTo>
                <a:lnTo>
                  <a:pt x="1884" y="962"/>
                </a:lnTo>
                <a:lnTo>
                  <a:pt x="1888" y="959"/>
                </a:lnTo>
                <a:lnTo>
                  <a:pt x="1891" y="957"/>
                </a:lnTo>
                <a:lnTo>
                  <a:pt x="1892" y="949"/>
                </a:lnTo>
                <a:lnTo>
                  <a:pt x="1894" y="943"/>
                </a:lnTo>
                <a:lnTo>
                  <a:pt x="1895" y="941"/>
                </a:lnTo>
                <a:lnTo>
                  <a:pt x="1897" y="940"/>
                </a:lnTo>
                <a:lnTo>
                  <a:pt x="1899" y="941"/>
                </a:lnTo>
                <a:lnTo>
                  <a:pt x="1901" y="943"/>
                </a:lnTo>
                <a:lnTo>
                  <a:pt x="1907" y="949"/>
                </a:lnTo>
                <a:lnTo>
                  <a:pt x="1911" y="953"/>
                </a:lnTo>
                <a:lnTo>
                  <a:pt x="1916" y="956"/>
                </a:lnTo>
                <a:lnTo>
                  <a:pt x="1920" y="957"/>
                </a:lnTo>
                <a:lnTo>
                  <a:pt x="1925" y="956"/>
                </a:lnTo>
                <a:lnTo>
                  <a:pt x="1932" y="952"/>
                </a:lnTo>
                <a:lnTo>
                  <a:pt x="1939" y="949"/>
                </a:lnTo>
                <a:lnTo>
                  <a:pt x="1946" y="948"/>
                </a:lnTo>
                <a:lnTo>
                  <a:pt x="1951" y="949"/>
                </a:lnTo>
                <a:lnTo>
                  <a:pt x="1956" y="950"/>
                </a:lnTo>
                <a:lnTo>
                  <a:pt x="1962" y="953"/>
                </a:lnTo>
                <a:lnTo>
                  <a:pt x="1968" y="957"/>
                </a:lnTo>
                <a:lnTo>
                  <a:pt x="1982" y="966"/>
                </a:lnTo>
                <a:lnTo>
                  <a:pt x="1993" y="974"/>
                </a:lnTo>
                <a:lnTo>
                  <a:pt x="1998" y="975"/>
                </a:lnTo>
                <a:lnTo>
                  <a:pt x="2003" y="975"/>
                </a:lnTo>
                <a:lnTo>
                  <a:pt x="2005" y="974"/>
                </a:lnTo>
                <a:lnTo>
                  <a:pt x="2007" y="973"/>
                </a:lnTo>
                <a:lnTo>
                  <a:pt x="2009" y="971"/>
                </a:lnTo>
                <a:lnTo>
                  <a:pt x="2011" y="968"/>
                </a:lnTo>
                <a:lnTo>
                  <a:pt x="2022" y="951"/>
                </a:lnTo>
                <a:lnTo>
                  <a:pt x="2029" y="940"/>
                </a:lnTo>
                <a:lnTo>
                  <a:pt x="2034" y="932"/>
                </a:lnTo>
                <a:lnTo>
                  <a:pt x="2040" y="926"/>
                </a:lnTo>
                <a:lnTo>
                  <a:pt x="2042" y="923"/>
                </a:lnTo>
                <a:lnTo>
                  <a:pt x="2044" y="920"/>
                </a:lnTo>
                <a:lnTo>
                  <a:pt x="2042" y="916"/>
                </a:lnTo>
                <a:lnTo>
                  <a:pt x="2039" y="912"/>
                </a:lnTo>
                <a:lnTo>
                  <a:pt x="2034" y="909"/>
                </a:lnTo>
                <a:lnTo>
                  <a:pt x="2029" y="907"/>
                </a:lnTo>
                <a:lnTo>
                  <a:pt x="2023" y="905"/>
                </a:lnTo>
                <a:lnTo>
                  <a:pt x="2016" y="903"/>
                </a:lnTo>
                <a:lnTo>
                  <a:pt x="2004" y="900"/>
                </a:lnTo>
                <a:lnTo>
                  <a:pt x="1992" y="894"/>
                </a:lnTo>
                <a:lnTo>
                  <a:pt x="1982" y="888"/>
                </a:lnTo>
                <a:lnTo>
                  <a:pt x="1973" y="884"/>
                </a:lnTo>
                <a:lnTo>
                  <a:pt x="1969" y="883"/>
                </a:lnTo>
                <a:lnTo>
                  <a:pt x="1966" y="882"/>
                </a:lnTo>
                <a:lnTo>
                  <a:pt x="1963" y="883"/>
                </a:lnTo>
                <a:lnTo>
                  <a:pt x="1960" y="884"/>
                </a:lnTo>
                <a:lnTo>
                  <a:pt x="1957" y="886"/>
                </a:lnTo>
                <a:lnTo>
                  <a:pt x="1952" y="887"/>
                </a:lnTo>
                <a:lnTo>
                  <a:pt x="1948" y="888"/>
                </a:lnTo>
                <a:lnTo>
                  <a:pt x="1944" y="888"/>
                </a:lnTo>
                <a:lnTo>
                  <a:pt x="1940" y="887"/>
                </a:lnTo>
                <a:lnTo>
                  <a:pt x="1938" y="886"/>
                </a:lnTo>
                <a:lnTo>
                  <a:pt x="1938" y="883"/>
                </a:lnTo>
                <a:lnTo>
                  <a:pt x="1941" y="880"/>
                </a:lnTo>
                <a:lnTo>
                  <a:pt x="1948" y="870"/>
                </a:lnTo>
                <a:lnTo>
                  <a:pt x="1956" y="860"/>
                </a:lnTo>
                <a:lnTo>
                  <a:pt x="1959" y="856"/>
                </a:lnTo>
                <a:lnTo>
                  <a:pt x="1962" y="854"/>
                </a:lnTo>
                <a:lnTo>
                  <a:pt x="1963" y="853"/>
                </a:lnTo>
                <a:lnTo>
                  <a:pt x="1964" y="853"/>
                </a:lnTo>
                <a:lnTo>
                  <a:pt x="1965" y="854"/>
                </a:lnTo>
                <a:lnTo>
                  <a:pt x="1966" y="855"/>
                </a:lnTo>
                <a:lnTo>
                  <a:pt x="1969" y="859"/>
                </a:lnTo>
                <a:lnTo>
                  <a:pt x="1972" y="862"/>
                </a:lnTo>
                <a:lnTo>
                  <a:pt x="1978" y="865"/>
                </a:lnTo>
                <a:lnTo>
                  <a:pt x="1985" y="867"/>
                </a:lnTo>
                <a:lnTo>
                  <a:pt x="1991" y="870"/>
                </a:lnTo>
                <a:lnTo>
                  <a:pt x="1995" y="870"/>
                </a:lnTo>
                <a:lnTo>
                  <a:pt x="2001" y="868"/>
                </a:lnTo>
                <a:lnTo>
                  <a:pt x="2014" y="864"/>
                </a:lnTo>
                <a:lnTo>
                  <a:pt x="2023" y="861"/>
                </a:lnTo>
                <a:lnTo>
                  <a:pt x="2029" y="857"/>
                </a:lnTo>
                <a:lnTo>
                  <a:pt x="2033" y="852"/>
                </a:lnTo>
                <a:lnTo>
                  <a:pt x="2036" y="846"/>
                </a:lnTo>
                <a:lnTo>
                  <a:pt x="2037" y="841"/>
                </a:lnTo>
                <a:lnTo>
                  <a:pt x="2037" y="836"/>
                </a:lnTo>
                <a:lnTo>
                  <a:pt x="2036" y="832"/>
                </a:lnTo>
                <a:lnTo>
                  <a:pt x="2034" y="827"/>
                </a:lnTo>
                <a:lnTo>
                  <a:pt x="2027" y="822"/>
                </a:lnTo>
                <a:lnTo>
                  <a:pt x="2019" y="817"/>
                </a:lnTo>
                <a:lnTo>
                  <a:pt x="2017" y="815"/>
                </a:lnTo>
                <a:lnTo>
                  <a:pt x="2016" y="813"/>
                </a:lnTo>
                <a:lnTo>
                  <a:pt x="2016" y="812"/>
                </a:lnTo>
                <a:lnTo>
                  <a:pt x="2019" y="812"/>
                </a:lnTo>
                <a:lnTo>
                  <a:pt x="2030" y="811"/>
                </a:lnTo>
                <a:lnTo>
                  <a:pt x="2041" y="811"/>
                </a:lnTo>
                <a:lnTo>
                  <a:pt x="2054" y="811"/>
                </a:lnTo>
                <a:lnTo>
                  <a:pt x="2063" y="809"/>
                </a:lnTo>
                <a:lnTo>
                  <a:pt x="2066" y="807"/>
                </a:lnTo>
                <a:lnTo>
                  <a:pt x="2066" y="805"/>
                </a:lnTo>
                <a:lnTo>
                  <a:pt x="2066" y="804"/>
                </a:lnTo>
                <a:lnTo>
                  <a:pt x="2064" y="802"/>
                </a:lnTo>
                <a:lnTo>
                  <a:pt x="2062" y="799"/>
                </a:lnTo>
                <a:lnTo>
                  <a:pt x="2059" y="794"/>
                </a:lnTo>
                <a:lnTo>
                  <a:pt x="2056" y="790"/>
                </a:lnTo>
                <a:lnTo>
                  <a:pt x="2054" y="787"/>
                </a:lnTo>
                <a:lnTo>
                  <a:pt x="2054" y="784"/>
                </a:lnTo>
                <a:lnTo>
                  <a:pt x="2054" y="783"/>
                </a:lnTo>
                <a:lnTo>
                  <a:pt x="2055" y="782"/>
                </a:lnTo>
                <a:lnTo>
                  <a:pt x="2057" y="781"/>
                </a:lnTo>
                <a:lnTo>
                  <a:pt x="2069" y="782"/>
                </a:lnTo>
                <a:lnTo>
                  <a:pt x="2080" y="784"/>
                </a:lnTo>
                <a:lnTo>
                  <a:pt x="2084" y="784"/>
                </a:lnTo>
                <a:lnTo>
                  <a:pt x="2089" y="782"/>
                </a:lnTo>
                <a:lnTo>
                  <a:pt x="2090" y="780"/>
                </a:lnTo>
                <a:lnTo>
                  <a:pt x="2091" y="778"/>
                </a:lnTo>
                <a:lnTo>
                  <a:pt x="2091" y="775"/>
                </a:lnTo>
                <a:lnTo>
                  <a:pt x="2092" y="771"/>
                </a:lnTo>
                <a:lnTo>
                  <a:pt x="2091" y="767"/>
                </a:lnTo>
                <a:lnTo>
                  <a:pt x="2090" y="763"/>
                </a:lnTo>
                <a:lnTo>
                  <a:pt x="2088" y="760"/>
                </a:lnTo>
                <a:lnTo>
                  <a:pt x="2086" y="758"/>
                </a:lnTo>
                <a:lnTo>
                  <a:pt x="2081" y="754"/>
                </a:lnTo>
                <a:lnTo>
                  <a:pt x="2077" y="752"/>
                </a:lnTo>
                <a:lnTo>
                  <a:pt x="2073" y="750"/>
                </a:lnTo>
                <a:lnTo>
                  <a:pt x="2070" y="749"/>
                </a:lnTo>
                <a:lnTo>
                  <a:pt x="2070" y="748"/>
                </a:lnTo>
                <a:lnTo>
                  <a:pt x="2073" y="747"/>
                </a:lnTo>
                <a:lnTo>
                  <a:pt x="2082" y="744"/>
                </a:lnTo>
                <a:lnTo>
                  <a:pt x="2092" y="739"/>
                </a:lnTo>
                <a:lnTo>
                  <a:pt x="2095" y="737"/>
                </a:lnTo>
                <a:lnTo>
                  <a:pt x="2098" y="735"/>
                </a:lnTo>
                <a:lnTo>
                  <a:pt x="2100" y="733"/>
                </a:lnTo>
                <a:lnTo>
                  <a:pt x="2100" y="731"/>
                </a:lnTo>
                <a:lnTo>
                  <a:pt x="2101" y="726"/>
                </a:lnTo>
                <a:lnTo>
                  <a:pt x="2103" y="721"/>
                </a:lnTo>
                <a:lnTo>
                  <a:pt x="2103" y="717"/>
                </a:lnTo>
                <a:lnTo>
                  <a:pt x="2102" y="714"/>
                </a:lnTo>
                <a:lnTo>
                  <a:pt x="2099" y="711"/>
                </a:lnTo>
                <a:lnTo>
                  <a:pt x="2094" y="708"/>
                </a:lnTo>
                <a:lnTo>
                  <a:pt x="2082" y="700"/>
                </a:lnTo>
                <a:lnTo>
                  <a:pt x="2072" y="692"/>
                </a:lnTo>
                <a:lnTo>
                  <a:pt x="2067" y="690"/>
                </a:lnTo>
                <a:lnTo>
                  <a:pt x="2062" y="689"/>
                </a:lnTo>
                <a:lnTo>
                  <a:pt x="2058" y="688"/>
                </a:lnTo>
                <a:lnTo>
                  <a:pt x="2055" y="690"/>
                </a:lnTo>
                <a:lnTo>
                  <a:pt x="2054" y="693"/>
                </a:lnTo>
                <a:lnTo>
                  <a:pt x="2053" y="697"/>
                </a:lnTo>
                <a:lnTo>
                  <a:pt x="2053" y="702"/>
                </a:lnTo>
                <a:lnTo>
                  <a:pt x="2053" y="705"/>
                </a:lnTo>
                <a:lnTo>
                  <a:pt x="2053" y="706"/>
                </a:lnTo>
                <a:lnTo>
                  <a:pt x="2052" y="707"/>
                </a:lnTo>
                <a:lnTo>
                  <a:pt x="2051" y="708"/>
                </a:lnTo>
                <a:lnTo>
                  <a:pt x="2050" y="708"/>
                </a:lnTo>
                <a:lnTo>
                  <a:pt x="2045" y="707"/>
                </a:lnTo>
                <a:lnTo>
                  <a:pt x="2037" y="703"/>
                </a:lnTo>
                <a:lnTo>
                  <a:pt x="2033" y="700"/>
                </a:lnTo>
                <a:lnTo>
                  <a:pt x="2030" y="697"/>
                </a:lnTo>
                <a:lnTo>
                  <a:pt x="2029" y="695"/>
                </a:lnTo>
                <a:lnTo>
                  <a:pt x="2028" y="693"/>
                </a:lnTo>
                <a:lnTo>
                  <a:pt x="2030" y="690"/>
                </a:lnTo>
                <a:lnTo>
                  <a:pt x="2034" y="687"/>
                </a:lnTo>
                <a:lnTo>
                  <a:pt x="2039" y="685"/>
                </a:lnTo>
                <a:lnTo>
                  <a:pt x="2045" y="682"/>
                </a:lnTo>
                <a:lnTo>
                  <a:pt x="2046" y="681"/>
                </a:lnTo>
                <a:lnTo>
                  <a:pt x="2048" y="680"/>
                </a:lnTo>
                <a:lnTo>
                  <a:pt x="2049" y="678"/>
                </a:lnTo>
                <a:lnTo>
                  <a:pt x="2048" y="675"/>
                </a:lnTo>
                <a:lnTo>
                  <a:pt x="2046" y="669"/>
                </a:lnTo>
                <a:lnTo>
                  <a:pt x="2045" y="664"/>
                </a:lnTo>
                <a:lnTo>
                  <a:pt x="2045" y="661"/>
                </a:lnTo>
                <a:lnTo>
                  <a:pt x="2045" y="659"/>
                </a:lnTo>
                <a:lnTo>
                  <a:pt x="2046" y="657"/>
                </a:lnTo>
                <a:lnTo>
                  <a:pt x="2047" y="655"/>
                </a:lnTo>
                <a:lnTo>
                  <a:pt x="2050" y="647"/>
                </a:lnTo>
                <a:lnTo>
                  <a:pt x="2051" y="639"/>
                </a:lnTo>
                <a:lnTo>
                  <a:pt x="2052" y="636"/>
                </a:lnTo>
                <a:lnTo>
                  <a:pt x="2054" y="634"/>
                </a:lnTo>
                <a:lnTo>
                  <a:pt x="2057" y="635"/>
                </a:lnTo>
                <a:lnTo>
                  <a:pt x="2062" y="639"/>
                </a:lnTo>
                <a:lnTo>
                  <a:pt x="2073" y="650"/>
                </a:lnTo>
                <a:lnTo>
                  <a:pt x="2082" y="658"/>
                </a:lnTo>
                <a:lnTo>
                  <a:pt x="2086" y="659"/>
                </a:lnTo>
                <a:lnTo>
                  <a:pt x="2092" y="659"/>
                </a:lnTo>
                <a:lnTo>
                  <a:pt x="2097" y="656"/>
                </a:lnTo>
                <a:lnTo>
                  <a:pt x="2102" y="650"/>
                </a:lnTo>
                <a:lnTo>
                  <a:pt x="2115" y="639"/>
                </a:lnTo>
                <a:lnTo>
                  <a:pt x="2123" y="631"/>
                </a:lnTo>
                <a:lnTo>
                  <a:pt x="2125" y="628"/>
                </a:lnTo>
                <a:lnTo>
                  <a:pt x="2127" y="625"/>
                </a:lnTo>
                <a:lnTo>
                  <a:pt x="2128" y="622"/>
                </a:lnTo>
                <a:lnTo>
                  <a:pt x="2127" y="619"/>
                </a:lnTo>
                <a:lnTo>
                  <a:pt x="2122" y="608"/>
                </a:lnTo>
                <a:lnTo>
                  <a:pt x="2115" y="599"/>
                </a:lnTo>
                <a:lnTo>
                  <a:pt x="2113" y="595"/>
                </a:lnTo>
                <a:lnTo>
                  <a:pt x="2111" y="592"/>
                </a:lnTo>
                <a:lnTo>
                  <a:pt x="2111" y="590"/>
                </a:lnTo>
                <a:lnTo>
                  <a:pt x="2112" y="590"/>
                </a:lnTo>
                <a:lnTo>
                  <a:pt x="2113" y="589"/>
                </a:lnTo>
                <a:lnTo>
                  <a:pt x="2114" y="589"/>
                </a:lnTo>
                <a:lnTo>
                  <a:pt x="2119" y="591"/>
                </a:lnTo>
                <a:lnTo>
                  <a:pt x="2126" y="595"/>
                </a:lnTo>
                <a:lnTo>
                  <a:pt x="2135" y="601"/>
                </a:lnTo>
                <a:lnTo>
                  <a:pt x="2143" y="607"/>
                </a:lnTo>
                <a:lnTo>
                  <a:pt x="2151" y="613"/>
                </a:lnTo>
                <a:lnTo>
                  <a:pt x="2159" y="617"/>
                </a:lnTo>
                <a:lnTo>
                  <a:pt x="2161" y="617"/>
                </a:lnTo>
                <a:lnTo>
                  <a:pt x="2164" y="617"/>
                </a:lnTo>
                <a:lnTo>
                  <a:pt x="2165" y="616"/>
                </a:lnTo>
                <a:lnTo>
                  <a:pt x="2166" y="614"/>
                </a:lnTo>
                <a:lnTo>
                  <a:pt x="2166" y="607"/>
                </a:lnTo>
                <a:lnTo>
                  <a:pt x="2163" y="601"/>
                </a:lnTo>
                <a:lnTo>
                  <a:pt x="2160" y="596"/>
                </a:lnTo>
                <a:lnTo>
                  <a:pt x="2156" y="591"/>
                </a:lnTo>
                <a:lnTo>
                  <a:pt x="2151" y="584"/>
                </a:lnTo>
                <a:lnTo>
                  <a:pt x="2149" y="579"/>
                </a:lnTo>
                <a:lnTo>
                  <a:pt x="2149" y="576"/>
                </a:lnTo>
                <a:lnTo>
                  <a:pt x="2149" y="573"/>
                </a:lnTo>
                <a:lnTo>
                  <a:pt x="2150" y="570"/>
                </a:lnTo>
                <a:lnTo>
                  <a:pt x="2151" y="567"/>
                </a:lnTo>
                <a:lnTo>
                  <a:pt x="2156" y="560"/>
                </a:lnTo>
                <a:lnTo>
                  <a:pt x="2160" y="556"/>
                </a:lnTo>
                <a:lnTo>
                  <a:pt x="2163" y="552"/>
                </a:lnTo>
                <a:lnTo>
                  <a:pt x="2167" y="550"/>
                </a:lnTo>
                <a:lnTo>
                  <a:pt x="2177" y="546"/>
                </a:lnTo>
                <a:lnTo>
                  <a:pt x="2188" y="540"/>
                </a:lnTo>
                <a:lnTo>
                  <a:pt x="2193" y="537"/>
                </a:lnTo>
                <a:lnTo>
                  <a:pt x="2199" y="534"/>
                </a:lnTo>
                <a:lnTo>
                  <a:pt x="2203" y="531"/>
                </a:lnTo>
                <a:lnTo>
                  <a:pt x="2206" y="528"/>
                </a:lnTo>
                <a:lnTo>
                  <a:pt x="2208" y="524"/>
                </a:lnTo>
                <a:lnTo>
                  <a:pt x="2210" y="519"/>
                </a:lnTo>
                <a:lnTo>
                  <a:pt x="2212" y="514"/>
                </a:lnTo>
                <a:lnTo>
                  <a:pt x="2213" y="509"/>
                </a:lnTo>
                <a:lnTo>
                  <a:pt x="2215" y="503"/>
                </a:lnTo>
                <a:lnTo>
                  <a:pt x="2218" y="497"/>
                </a:lnTo>
                <a:lnTo>
                  <a:pt x="2224" y="492"/>
                </a:lnTo>
                <a:lnTo>
                  <a:pt x="2229" y="487"/>
                </a:lnTo>
                <a:lnTo>
                  <a:pt x="2240" y="476"/>
                </a:lnTo>
                <a:lnTo>
                  <a:pt x="2251" y="466"/>
                </a:lnTo>
                <a:lnTo>
                  <a:pt x="2271" y="445"/>
                </a:lnTo>
                <a:lnTo>
                  <a:pt x="2302" y="415"/>
                </a:lnTo>
                <a:lnTo>
                  <a:pt x="2316" y="399"/>
                </a:lnTo>
                <a:lnTo>
                  <a:pt x="2327" y="385"/>
                </a:lnTo>
                <a:lnTo>
                  <a:pt x="2331" y="380"/>
                </a:lnTo>
                <a:lnTo>
                  <a:pt x="2333" y="375"/>
                </a:lnTo>
                <a:lnTo>
                  <a:pt x="2333" y="373"/>
                </a:lnTo>
                <a:lnTo>
                  <a:pt x="2333" y="371"/>
                </a:lnTo>
                <a:lnTo>
                  <a:pt x="2332" y="370"/>
                </a:lnTo>
                <a:lnTo>
                  <a:pt x="2331" y="368"/>
                </a:lnTo>
                <a:lnTo>
                  <a:pt x="2325" y="367"/>
                </a:lnTo>
                <a:lnTo>
                  <a:pt x="2319" y="367"/>
                </a:lnTo>
                <a:lnTo>
                  <a:pt x="2312" y="371"/>
                </a:lnTo>
                <a:lnTo>
                  <a:pt x="2303" y="374"/>
                </a:lnTo>
                <a:lnTo>
                  <a:pt x="2282" y="383"/>
                </a:lnTo>
                <a:lnTo>
                  <a:pt x="2260" y="395"/>
                </a:lnTo>
                <a:lnTo>
                  <a:pt x="2239" y="406"/>
                </a:lnTo>
                <a:lnTo>
                  <a:pt x="2222" y="415"/>
                </a:lnTo>
                <a:lnTo>
                  <a:pt x="2215" y="418"/>
                </a:lnTo>
                <a:lnTo>
                  <a:pt x="2210" y="419"/>
                </a:lnTo>
                <a:lnTo>
                  <a:pt x="2208" y="420"/>
                </a:lnTo>
                <a:lnTo>
                  <a:pt x="2206" y="419"/>
                </a:lnTo>
                <a:lnTo>
                  <a:pt x="2205" y="419"/>
                </a:lnTo>
                <a:lnTo>
                  <a:pt x="2205" y="418"/>
                </a:lnTo>
                <a:lnTo>
                  <a:pt x="2206" y="415"/>
                </a:lnTo>
                <a:lnTo>
                  <a:pt x="2207" y="411"/>
                </a:lnTo>
                <a:lnTo>
                  <a:pt x="2210" y="407"/>
                </a:lnTo>
                <a:lnTo>
                  <a:pt x="2213" y="404"/>
                </a:lnTo>
                <a:lnTo>
                  <a:pt x="2223" y="397"/>
                </a:lnTo>
                <a:lnTo>
                  <a:pt x="2232" y="390"/>
                </a:lnTo>
                <a:lnTo>
                  <a:pt x="2251" y="380"/>
                </a:lnTo>
                <a:lnTo>
                  <a:pt x="2259" y="376"/>
                </a:lnTo>
                <a:lnTo>
                  <a:pt x="2221" y="357"/>
                </a:lnTo>
                <a:lnTo>
                  <a:pt x="2262" y="349"/>
                </a:lnTo>
                <a:lnTo>
                  <a:pt x="2267" y="350"/>
                </a:lnTo>
                <a:lnTo>
                  <a:pt x="2277" y="353"/>
                </a:lnTo>
                <a:lnTo>
                  <a:pt x="2283" y="353"/>
                </a:lnTo>
                <a:lnTo>
                  <a:pt x="2289" y="353"/>
                </a:lnTo>
                <a:lnTo>
                  <a:pt x="2294" y="352"/>
                </a:lnTo>
                <a:lnTo>
                  <a:pt x="2298" y="350"/>
                </a:lnTo>
                <a:lnTo>
                  <a:pt x="2309" y="336"/>
                </a:lnTo>
                <a:lnTo>
                  <a:pt x="2316" y="328"/>
                </a:lnTo>
                <a:lnTo>
                  <a:pt x="2325" y="326"/>
                </a:lnTo>
                <a:lnTo>
                  <a:pt x="2340" y="317"/>
                </a:lnTo>
                <a:lnTo>
                  <a:pt x="2348" y="313"/>
                </a:lnTo>
                <a:lnTo>
                  <a:pt x="2356" y="308"/>
                </a:lnTo>
                <a:lnTo>
                  <a:pt x="2362" y="302"/>
                </a:lnTo>
                <a:lnTo>
                  <a:pt x="2365" y="297"/>
                </a:lnTo>
                <a:lnTo>
                  <a:pt x="2375" y="284"/>
                </a:lnTo>
                <a:lnTo>
                  <a:pt x="2389" y="265"/>
                </a:lnTo>
                <a:lnTo>
                  <a:pt x="2396" y="255"/>
                </a:lnTo>
                <a:lnTo>
                  <a:pt x="2400" y="245"/>
                </a:lnTo>
                <a:lnTo>
                  <a:pt x="2401" y="241"/>
                </a:lnTo>
                <a:lnTo>
                  <a:pt x="2401" y="236"/>
                </a:lnTo>
                <a:lnTo>
                  <a:pt x="2400" y="232"/>
                </a:lnTo>
                <a:lnTo>
                  <a:pt x="2398" y="229"/>
                </a:lnTo>
                <a:lnTo>
                  <a:pt x="2383" y="210"/>
                </a:lnTo>
                <a:lnTo>
                  <a:pt x="2374" y="199"/>
                </a:lnTo>
                <a:lnTo>
                  <a:pt x="2365" y="191"/>
                </a:lnTo>
                <a:lnTo>
                  <a:pt x="2355" y="184"/>
                </a:lnTo>
                <a:lnTo>
                  <a:pt x="2351" y="180"/>
                </a:lnTo>
                <a:lnTo>
                  <a:pt x="2346" y="175"/>
                </a:lnTo>
                <a:lnTo>
                  <a:pt x="2344" y="169"/>
                </a:lnTo>
                <a:lnTo>
                  <a:pt x="2342" y="164"/>
                </a:lnTo>
                <a:lnTo>
                  <a:pt x="2341" y="151"/>
                </a:lnTo>
                <a:lnTo>
                  <a:pt x="2338" y="139"/>
                </a:lnTo>
                <a:lnTo>
                  <a:pt x="2336" y="134"/>
                </a:lnTo>
                <a:lnTo>
                  <a:pt x="2333" y="130"/>
                </a:lnTo>
                <a:lnTo>
                  <a:pt x="2329" y="126"/>
                </a:lnTo>
                <a:lnTo>
                  <a:pt x="2324" y="126"/>
                </a:lnTo>
                <a:lnTo>
                  <a:pt x="2318" y="128"/>
                </a:lnTo>
                <a:lnTo>
                  <a:pt x="2312" y="132"/>
                </a:lnTo>
                <a:lnTo>
                  <a:pt x="2303" y="137"/>
                </a:lnTo>
                <a:lnTo>
                  <a:pt x="2295" y="143"/>
                </a:lnTo>
                <a:lnTo>
                  <a:pt x="2278" y="157"/>
                </a:lnTo>
                <a:lnTo>
                  <a:pt x="2265" y="169"/>
                </a:lnTo>
                <a:lnTo>
                  <a:pt x="2253" y="179"/>
                </a:lnTo>
                <a:lnTo>
                  <a:pt x="2242" y="186"/>
                </a:lnTo>
                <a:lnTo>
                  <a:pt x="2236" y="188"/>
                </a:lnTo>
                <a:lnTo>
                  <a:pt x="2232" y="188"/>
                </a:lnTo>
                <a:lnTo>
                  <a:pt x="2230" y="188"/>
                </a:lnTo>
                <a:lnTo>
                  <a:pt x="2229" y="187"/>
                </a:lnTo>
                <a:lnTo>
                  <a:pt x="2228" y="185"/>
                </a:lnTo>
                <a:lnTo>
                  <a:pt x="2227" y="183"/>
                </a:lnTo>
                <a:lnTo>
                  <a:pt x="2226" y="180"/>
                </a:lnTo>
                <a:lnTo>
                  <a:pt x="2225" y="177"/>
                </a:lnTo>
                <a:lnTo>
                  <a:pt x="2226" y="175"/>
                </a:lnTo>
                <a:lnTo>
                  <a:pt x="2227" y="173"/>
                </a:lnTo>
                <a:lnTo>
                  <a:pt x="2232" y="168"/>
                </a:lnTo>
                <a:lnTo>
                  <a:pt x="2240" y="158"/>
                </a:lnTo>
                <a:lnTo>
                  <a:pt x="2248" y="152"/>
                </a:lnTo>
                <a:lnTo>
                  <a:pt x="2257" y="145"/>
                </a:lnTo>
                <a:lnTo>
                  <a:pt x="2267" y="141"/>
                </a:lnTo>
                <a:lnTo>
                  <a:pt x="2275" y="137"/>
                </a:lnTo>
                <a:lnTo>
                  <a:pt x="2278" y="135"/>
                </a:lnTo>
                <a:lnTo>
                  <a:pt x="2281" y="133"/>
                </a:lnTo>
                <a:lnTo>
                  <a:pt x="2282" y="132"/>
                </a:lnTo>
                <a:lnTo>
                  <a:pt x="2283" y="130"/>
                </a:lnTo>
                <a:lnTo>
                  <a:pt x="2282" y="129"/>
                </a:lnTo>
                <a:lnTo>
                  <a:pt x="2279" y="126"/>
                </a:lnTo>
                <a:lnTo>
                  <a:pt x="2275" y="125"/>
                </a:lnTo>
                <a:lnTo>
                  <a:pt x="2269" y="124"/>
                </a:lnTo>
                <a:lnTo>
                  <a:pt x="2242" y="119"/>
                </a:lnTo>
                <a:lnTo>
                  <a:pt x="2220" y="116"/>
                </a:lnTo>
                <a:lnTo>
                  <a:pt x="2204" y="113"/>
                </a:lnTo>
                <a:lnTo>
                  <a:pt x="2194" y="112"/>
                </a:lnTo>
                <a:lnTo>
                  <a:pt x="2188" y="110"/>
                </a:lnTo>
                <a:lnTo>
                  <a:pt x="2180" y="109"/>
                </a:lnTo>
                <a:lnTo>
                  <a:pt x="2177" y="109"/>
                </a:lnTo>
                <a:lnTo>
                  <a:pt x="2173" y="111"/>
                </a:lnTo>
                <a:lnTo>
                  <a:pt x="2171" y="114"/>
                </a:lnTo>
                <a:lnTo>
                  <a:pt x="2170" y="119"/>
                </a:lnTo>
                <a:lnTo>
                  <a:pt x="2170" y="124"/>
                </a:lnTo>
                <a:lnTo>
                  <a:pt x="2169" y="130"/>
                </a:lnTo>
                <a:lnTo>
                  <a:pt x="2167" y="133"/>
                </a:lnTo>
                <a:lnTo>
                  <a:pt x="2165" y="135"/>
                </a:lnTo>
                <a:lnTo>
                  <a:pt x="2163" y="136"/>
                </a:lnTo>
                <a:lnTo>
                  <a:pt x="2161" y="136"/>
                </a:lnTo>
                <a:lnTo>
                  <a:pt x="2158" y="135"/>
                </a:lnTo>
                <a:lnTo>
                  <a:pt x="2156" y="134"/>
                </a:lnTo>
                <a:lnTo>
                  <a:pt x="2151" y="126"/>
                </a:lnTo>
                <a:lnTo>
                  <a:pt x="2148" y="116"/>
                </a:lnTo>
                <a:lnTo>
                  <a:pt x="2146" y="111"/>
                </a:lnTo>
                <a:lnTo>
                  <a:pt x="2143" y="108"/>
                </a:lnTo>
                <a:lnTo>
                  <a:pt x="2142" y="107"/>
                </a:lnTo>
                <a:lnTo>
                  <a:pt x="2140" y="106"/>
                </a:lnTo>
                <a:lnTo>
                  <a:pt x="2138" y="106"/>
                </a:lnTo>
                <a:lnTo>
                  <a:pt x="2136" y="107"/>
                </a:lnTo>
                <a:lnTo>
                  <a:pt x="2130" y="108"/>
                </a:lnTo>
                <a:lnTo>
                  <a:pt x="2126" y="108"/>
                </a:lnTo>
                <a:lnTo>
                  <a:pt x="2123" y="107"/>
                </a:lnTo>
                <a:lnTo>
                  <a:pt x="2121" y="106"/>
                </a:lnTo>
                <a:lnTo>
                  <a:pt x="2119" y="104"/>
                </a:lnTo>
                <a:lnTo>
                  <a:pt x="2117" y="104"/>
                </a:lnTo>
                <a:lnTo>
                  <a:pt x="2116" y="108"/>
                </a:lnTo>
                <a:lnTo>
                  <a:pt x="2115" y="113"/>
                </a:lnTo>
                <a:lnTo>
                  <a:pt x="2115" y="120"/>
                </a:lnTo>
                <a:lnTo>
                  <a:pt x="2118" y="128"/>
                </a:lnTo>
                <a:lnTo>
                  <a:pt x="2121" y="134"/>
                </a:lnTo>
                <a:lnTo>
                  <a:pt x="2125" y="141"/>
                </a:lnTo>
                <a:lnTo>
                  <a:pt x="2129" y="147"/>
                </a:lnTo>
                <a:lnTo>
                  <a:pt x="2133" y="153"/>
                </a:lnTo>
                <a:lnTo>
                  <a:pt x="2135" y="156"/>
                </a:lnTo>
                <a:lnTo>
                  <a:pt x="2135" y="159"/>
                </a:lnTo>
                <a:lnTo>
                  <a:pt x="2132" y="166"/>
                </a:lnTo>
                <a:lnTo>
                  <a:pt x="2129" y="177"/>
                </a:lnTo>
                <a:lnTo>
                  <a:pt x="2127" y="181"/>
                </a:lnTo>
                <a:lnTo>
                  <a:pt x="2124" y="182"/>
                </a:lnTo>
                <a:lnTo>
                  <a:pt x="2123" y="182"/>
                </a:lnTo>
                <a:lnTo>
                  <a:pt x="2121" y="181"/>
                </a:lnTo>
                <a:lnTo>
                  <a:pt x="2119" y="179"/>
                </a:lnTo>
                <a:lnTo>
                  <a:pt x="2116" y="176"/>
                </a:lnTo>
                <a:lnTo>
                  <a:pt x="2104" y="160"/>
                </a:lnTo>
                <a:lnTo>
                  <a:pt x="2093" y="144"/>
                </a:lnTo>
                <a:lnTo>
                  <a:pt x="2088" y="137"/>
                </a:lnTo>
                <a:lnTo>
                  <a:pt x="2083" y="130"/>
                </a:lnTo>
                <a:lnTo>
                  <a:pt x="2081" y="124"/>
                </a:lnTo>
                <a:lnTo>
                  <a:pt x="2080" y="119"/>
                </a:lnTo>
                <a:lnTo>
                  <a:pt x="2079" y="112"/>
                </a:lnTo>
                <a:lnTo>
                  <a:pt x="2078" y="107"/>
                </a:lnTo>
                <a:lnTo>
                  <a:pt x="2076" y="106"/>
                </a:lnTo>
                <a:lnTo>
                  <a:pt x="2073" y="106"/>
                </a:lnTo>
                <a:lnTo>
                  <a:pt x="2069" y="106"/>
                </a:lnTo>
                <a:lnTo>
                  <a:pt x="2062" y="107"/>
                </a:lnTo>
                <a:lnTo>
                  <a:pt x="2050" y="108"/>
                </a:lnTo>
                <a:lnTo>
                  <a:pt x="2041" y="107"/>
                </a:lnTo>
                <a:lnTo>
                  <a:pt x="2037" y="107"/>
                </a:lnTo>
                <a:lnTo>
                  <a:pt x="2034" y="108"/>
                </a:lnTo>
                <a:lnTo>
                  <a:pt x="2031" y="110"/>
                </a:lnTo>
                <a:lnTo>
                  <a:pt x="2028" y="114"/>
                </a:lnTo>
                <a:lnTo>
                  <a:pt x="2025" y="119"/>
                </a:lnTo>
                <a:lnTo>
                  <a:pt x="2025" y="123"/>
                </a:lnTo>
                <a:lnTo>
                  <a:pt x="2026" y="129"/>
                </a:lnTo>
                <a:lnTo>
                  <a:pt x="2027" y="134"/>
                </a:lnTo>
                <a:lnTo>
                  <a:pt x="2030" y="138"/>
                </a:lnTo>
                <a:lnTo>
                  <a:pt x="2033" y="142"/>
                </a:lnTo>
                <a:lnTo>
                  <a:pt x="2036" y="145"/>
                </a:lnTo>
                <a:lnTo>
                  <a:pt x="2039" y="147"/>
                </a:lnTo>
                <a:lnTo>
                  <a:pt x="2048" y="155"/>
                </a:lnTo>
                <a:lnTo>
                  <a:pt x="2061" y="166"/>
                </a:lnTo>
                <a:lnTo>
                  <a:pt x="2068" y="173"/>
                </a:lnTo>
                <a:lnTo>
                  <a:pt x="2073" y="179"/>
                </a:lnTo>
                <a:lnTo>
                  <a:pt x="2077" y="184"/>
                </a:lnTo>
                <a:lnTo>
                  <a:pt x="2078" y="188"/>
                </a:lnTo>
                <a:lnTo>
                  <a:pt x="2078" y="198"/>
                </a:lnTo>
                <a:lnTo>
                  <a:pt x="2079" y="205"/>
                </a:lnTo>
                <a:lnTo>
                  <a:pt x="2079" y="208"/>
                </a:lnTo>
                <a:lnTo>
                  <a:pt x="2077" y="210"/>
                </a:lnTo>
                <a:lnTo>
                  <a:pt x="2074" y="210"/>
                </a:lnTo>
                <a:lnTo>
                  <a:pt x="2069" y="208"/>
                </a:lnTo>
                <a:lnTo>
                  <a:pt x="2057" y="203"/>
                </a:lnTo>
                <a:lnTo>
                  <a:pt x="2050" y="198"/>
                </a:lnTo>
                <a:lnTo>
                  <a:pt x="2044" y="191"/>
                </a:lnTo>
                <a:lnTo>
                  <a:pt x="2038" y="182"/>
                </a:lnTo>
                <a:lnTo>
                  <a:pt x="2033" y="172"/>
                </a:lnTo>
                <a:lnTo>
                  <a:pt x="2029" y="161"/>
                </a:lnTo>
                <a:lnTo>
                  <a:pt x="2025" y="152"/>
                </a:lnTo>
                <a:lnTo>
                  <a:pt x="2020" y="145"/>
                </a:lnTo>
                <a:lnTo>
                  <a:pt x="2006" y="132"/>
                </a:lnTo>
                <a:lnTo>
                  <a:pt x="1996" y="123"/>
                </a:lnTo>
                <a:lnTo>
                  <a:pt x="1990" y="125"/>
                </a:lnTo>
                <a:lnTo>
                  <a:pt x="1976" y="132"/>
                </a:lnTo>
                <a:lnTo>
                  <a:pt x="1970" y="135"/>
                </a:lnTo>
                <a:lnTo>
                  <a:pt x="1966" y="139"/>
                </a:lnTo>
                <a:lnTo>
                  <a:pt x="1965" y="141"/>
                </a:lnTo>
                <a:lnTo>
                  <a:pt x="1964" y="143"/>
                </a:lnTo>
                <a:lnTo>
                  <a:pt x="1965" y="145"/>
                </a:lnTo>
                <a:lnTo>
                  <a:pt x="1966" y="146"/>
                </a:lnTo>
                <a:lnTo>
                  <a:pt x="1975" y="152"/>
                </a:lnTo>
                <a:lnTo>
                  <a:pt x="1983" y="156"/>
                </a:lnTo>
                <a:lnTo>
                  <a:pt x="1986" y="157"/>
                </a:lnTo>
                <a:lnTo>
                  <a:pt x="1988" y="158"/>
                </a:lnTo>
                <a:lnTo>
                  <a:pt x="1988" y="160"/>
                </a:lnTo>
                <a:lnTo>
                  <a:pt x="1987" y="162"/>
                </a:lnTo>
                <a:lnTo>
                  <a:pt x="1971" y="174"/>
                </a:lnTo>
                <a:lnTo>
                  <a:pt x="1960" y="181"/>
                </a:lnTo>
                <a:lnTo>
                  <a:pt x="1961" y="181"/>
                </a:lnTo>
                <a:lnTo>
                  <a:pt x="1963" y="184"/>
                </a:lnTo>
                <a:lnTo>
                  <a:pt x="1963" y="186"/>
                </a:lnTo>
                <a:lnTo>
                  <a:pt x="1963" y="188"/>
                </a:lnTo>
                <a:lnTo>
                  <a:pt x="1962" y="190"/>
                </a:lnTo>
                <a:lnTo>
                  <a:pt x="1959" y="194"/>
                </a:lnTo>
                <a:lnTo>
                  <a:pt x="1956" y="197"/>
                </a:lnTo>
                <a:lnTo>
                  <a:pt x="1951" y="199"/>
                </a:lnTo>
                <a:lnTo>
                  <a:pt x="1946" y="200"/>
                </a:lnTo>
                <a:lnTo>
                  <a:pt x="1942" y="202"/>
                </a:lnTo>
                <a:lnTo>
                  <a:pt x="1936" y="203"/>
                </a:lnTo>
                <a:lnTo>
                  <a:pt x="1932" y="203"/>
                </a:lnTo>
                <a:lnTo>
                  <a:pt x="1926" y="213"/>
                </a:lnTo>
                <a:lnTo>
                  <a:pt x="1917" y="227"/>
                </a:lnTo>
                <a:lnTo>
                  <a:pt x="1916" y="228"/>
                </a:lnTo>
                <a:lnTo>
                  <a:pt x="1916" y="230"/>
                </a:lnTo>
                <a:lnTo>
                  <a:pt x="1917" y="233"/>
                </a:lnTo>
                <a:lnTo>
                  <a:pt x="1919" y="236"/>
                </a:lnTo>
                <a:lnTo>
                  <a:pt x="1924" y="243"/>
                </a:lnTo>
                <a:lnTo>
                  <a:pt x="1929" y="248"/>
                </a:lnTo>
                <a:lnTo>
                  <a:pt x="1935" y="253"/>
                </a:lnTo>
                <a:lnTo>
                  <a:pt x="1942" y="258"/>
                </a:lnTo>
                <a:lnTo>
                  <a:pt x="1948" y="266"/>
                </a:lnTo>
                <a:lnTo>
                  <a:pt x="1952" y="273"/>
                </a:lnTo>
                <a:lnTo>
                  <a:pt x="1954" y="277"/>
                </a:lnTo>
                <a:lnTo>
                  <a:pt x="1954" y="283"/>
                </a:lnTo>
                <a:lnTo>
                  <a:pt x="1954" y="288"/>
                </a:lnTo>
                <a:lnTo>
                  <a:pt x="1953" y="292"/>
                </a:lnTo>
                <a:lnTo>
                  <a:pt x="1951" y="296"/>
                </a:lnTo>
                <a:lnTo>
                  <a:pt x="1949" y="297"/>
                </a:lnTo>
                <a:lnTo>
                  <a:pt x="1947" y="297"/>
                </a:lnTo>
                <a:lnTo>
                  <a:pt x="1946" y="296"/>
                </a:lnTo>
                <a:lnTo>
                  <a:pt x="1944" y="294"/>
                </a:lnTo>
                <a:lnTo>
                  <a:pt x="1942" y="291"/>
                </a:lnTo>
                <a:lnTo>
                  <a:pt x="1933" y="280"/>
                </a:lnTo>
                <a:lnTo>
                  <a:pt x="1926" y="273"/>
                </a:lnTo>
                <a:lnTo>
                  <a:pt x="1920" y="268"/>
                </a:lnTo>
                <a:lnTo>
                  <a:pt x="1913" y="263"/>
                </a:lnTo>
                <a:lnTo>
                  <a:pt x="1904" y="257"/>
                </a:lnTo>
                <a:lnTo>
                  <a:pt x="1895" y="254"/>
                </a:lnTo>
                <a:lnTo>
                  <a:pt x="1891" y="252"/>
                </a:lnTo>
                <a:lnTo>
                  <a:pt x="1886" y="249"/>
                </a:lnTo>
                <a:lnTo>
                  <a:pt x="1882" y="245"/>
                </a:lnTo>
                <a:lnTo>
                  <a:pt x="1880" y="240"/>
                </a:lnTo>
                <a:lnTo>
                  <a:pt x="1876" y="228"/>
                </a:lnTo>
                <a:lnTo>
                  <a:pt x="1870" y="217"/>
                </a:lnTo>
                <a:lnTo>
                  <a:pt x="1867" y="211"/>
                </a:lnTo>
                <a:lnTo>
                  <a:pt x="1864" y="207"/>
                </a:lnTo>
                <a:lnTo>
                  <a:pt x="1862" y="205"/>
                </a:lnTo>
                <a:lnTo>
                  <a:pt x="1859" y="204"/>
                </a:lnTo>
                <a:lnTo>
                  <a:pt x="1853" y="205"/>
                </a:lnTo>
                <a:lnTo>
                  <a:pt x="1844" y="209"/>
                </a:lnTo>
                <a:lnTo>
                  <a:pt x="1841" y="212"/>
                </a:lnTo>
                <a:lnTo>
                  <a:pt x="1839" y="217"/>
                </a:lnTo>
                <a:lnTo>
                  <a:pt x="1839" y="220"/>
                </a:lnTo>
                <a:lnTo>
                  <a:pt x="1841" y="225"/>
                </a:lnTo>
                <a:lnTo>
                  <a:pt x="1845" y="232"/>
                </a:lnTo>
                <a:lnTo>
                  <a:pt x="1848" y="238"/>
                </a:lnTo>
                <a:lnTo>
                  <a:pt x="1848" y="240"/>
                </a:lnTo>
                <a:lnTo>
                  <a:pt x="1847" y="242"/>
                </a:lnTo>
                <a:lnTo>
                  <a:pt x="1844" y="244"/>
                </a:lnTo>
                <a:lnTo>
                  <a:pt x="1841" y="247"/>
                </a:lnTo>
                <a:lnTo>
                  <a:pt x="1833" y="252"/>
                </a:lnTo>
                <a:lnTo>
                  <a:pt x="1827" y="257"/>
                </a:lnTo>
                <a:lnTo>
                  <a:pt x="1825" y="260"/>
                </a:lnTo>
                <a:lnTo>
                  <a:pt x="1823" y="262"/>
                </a:lnTo>
                <a:lnTo>
                  <a:pt x="1823" y="265"/>
                </a:lnTo>
                <a:lnTo>
                  <a:pt x="1825" y="268"/>
                </a:lnTo>
                <a:lnTo>
                  <a:pt x="1832" y="275"/>
                </a:lnTo>
                <a:lnTo>
                  <a:pt x="1842" y="283"/>
                </a:lnTo>
                <a:lnTo>
                  <a:pt x="1847" y="286"/>
                </a:lnTo>
                <a:lnTo>
                  <a:pt x="1850" y="289"/>
                </a:lnTo>
                <a:lnTo>
                  <a:pt x="1851" y="290"/>
                </a:lnTo>
                <a:lnTo>
                  <a:pt x="1851" y="291"/>
                </a:lnTo>
                <a:lnTo>
                  <a:pt x="1851" y="292"/>
                </a:lnTo>
                <a:lnTo>
                  <a:pt x="1850" y="292"/>
                </a:lnTo>
                <a:lnTo>
                  <a:pt x="1841" y="294"/>
                </a:lnTo>
                <a:lnTo>
                  <a:pt x="1832" y="295"/>
                </a:lnTo>
                <a:lnTo>
                  <a:pt x="1827" y="295"/>
                </a:lnTo>
                <a:lnTo>
                  <a:pt x="1822" y="294"/>
                </a:lnTo>
                <a:lnTo>
                  <a:pt x="1819" y="292"/>
                </a:lnTo>
                <a:lnTo>
                  <a:pt x="1817" y="290"/>
                </a:lnTo>
                <a:lnTo>
                  <a:pt x="1816" y="284"/>
                </a:lnTo>
                <a:lnTo>
                  <a:pt x="1815" y="276"/>
                </a:lnTo>
                <a:lnTo>
                  <a:pt x="1815" y="274"/>
                </a:lnTo>
                <a:lnTo>
                  <a:pt x="1813" y="272"/>
                </a:lnTo>
                <a:lnTo>
                  <a:pt x="1811" y="272"/>
                </a:lnTo>
                <a:lnTo>
                  <a:pt x="1806" y="274"/>
                </a:lnTo>
                <a:lnTo>
                  <a:pt x="1793" y="290"/>
                </a:lnTo>
                <a:lnTo>
                  <a:pt x="1785" y="298"/>
                </a:lnTo>
                <a:lnTo>
                  <a:pt x="1782" y="298"/>
                </a:lnTo>
                <a:lnTo>
                  <a:pt x="1778" y="299"/>
                </a:lnTo>
                <a:lnTo>
                  <a:pt x="1775" y="300"/>
                </a:lnTo>
                <a:lnTo>
                  <a:pt x="1772" y="302"/>
                </a:lnTo>
                <a:lnTo>
                  <a:pt x="1767" y="307"/>
                </a:lnTo>
                <a:lnTo>
                  <a:pt x="1764" y="309"/>
                </a:lnTo>
                <a:lnTo>
                  <a:pt x="1757" y="311"/>
                </a:lnTo>
                <a:lnTo>
                  <a:pt x="1747" y="315"/>
                </a:lnTo>
                <a:lnTo>
                  <a:pt x="1741" y="317"/>
                </a:lnTo>
                <a:lnTo>
                  <a:pt x="1735" y="321"/>
                </a:lnTo>
                <a:lnTo>
                  <a:pt x="1731" y="326"/>
                </a:lnTo>
                <a:lnTo>
                  <a:pt x="1729" y="330"/>
                </a:lnTo>
                <a:lnTo>
                  <a:pt x="1727" y="335"/>
                </a:lnTo>
                <a:lnTo>
                  <a:pt x="1727" y="339"/>
                </a:lnTo>
                <a:lnTo>
                  <a:pt x="1727" y="343"/>
                </a:lnTo>
                <a:lnTo>
                  <a:pt x="1727" y="346"/>
                </a:lnTo>
                <a:lnTo>
                  <a:pt x="1728" y="350"/>
                </a:lnTo>
                <a:lnTo>
                  <a:pt x="1729" y="353"/>
                </a:lnTo>
                <a:lnTo>
                  <a:pt x="1731" y="356"/>
                </a:lnTo>
                <a:lnTo>
                  <a:pt x="1733" y="358"/>
                </a:lnTo>
                <a:lnTo>
                  <a:pt x="1737" y="359"/>
                </a:lnTo>
                <a:lnTo>
                  <a:pt x="1740" y="358"/>
                </a:lnTo>
                <a:lnTo>
                  <a:pt x="1744" y="357"/>
                </a:lnTo>
                <a:lnTo>
                  <a:pt x="1748" y="355"/>
                </a:lnTo>
                <a:lnTo>
                  <a:pt x="1752" y="353"/>
                </a:lnTo>
                <a:lnTo>
                  <a:pt x="1756" y="352"/>
                </a:lnTo>
                <a:lnTo>
                  <a:pt x="1760" y="352"/>
                </a:lnTo>
                <a:lnTo>
                  <a:pt x="1762" y="354"/>
                </a:lnTo>
                <a:lnTo>
                  <a:pt x="1767" y="360"/>
                </a:lnTo>
                <a:lnTo>
                  <a:pt x="1772" y="365"/>
                </a:lnTo>
                <a:lnTo>
                  <a:pt x="1774" y="366"/>
                </a:lnTo>
                <a:lnTo>
                  <a:pt x="1778" y="364"/>
                </a:lnTo>
                <a:lnTo>
                  <a:pt x="1784" y="362"/>
                </a:lnTo>
                <a:lnTo>
                  <a:pt x="1789" y="359"/>
                </a:lnTo>
                <a:lnTo>
                  <a:pt x="1794" y="356"/>
                </a:lnTo>
                <a:lnTo>
                  <a:pt x="1798" y="355"/>
                </a:lnTo>
                <a:lnTo>
                  <a:pt x="1800" y="354"/>
                </a:lnTo>
                <a:lnTo>
                  <a:pt x="1801" y="355"/>
                </a:lnTo>
                <a:lnTo>
                  <a:pt x="1801" y="356"/>
                </a:lnTo>
                <a:lnTo>
                  <a:pt x="1801" y="357"/>
                </a:lnTo>
                <a:lnTo>
                  <a:pt x="1799" y="366"/>
                </a:lnTo>
                <a:lnTo>
                  <a:pt x="1795" y="375"/>
                </a:lnTo>
                <a:lnTo>
                  <a:pt x="1792" y="382"/>
                </a:lnTo>
                <a:lnTo>
                  <a:pt x="1788" y="387"/>
                </a:lnTo>
                <a:lnTo>
                  <a:pt x="1785" y="389"/>
                </a:lnTo>
                <a:lnTo>
                  <a:pt x="1781" y="392"/>
                </a:lnTo>
                <a:lnTo>
                  <a:pt x="1778" y="393"/>
                </a:lnTo>
                <a:lnTo>
                  <a:pt x="1776" y="396"/>
                </a:lnTo>
                <a:lnTo>
                  <a:pt x="1776" y="400"/>
                </a:lnTo>
                <a:lnTo>
                  <a:pt x="1775" y="405"/>
                </a:lnTo>
                <a:lnTo>
                  <a:pt x="1774" y="417"/>
                </a:lnTo>
                <a:lnTo>
                  <a:pt x="1772" y="426"/>
                </a:lnTo>
                <a:lnTo>
                  <a:pt x="1771" y="429"/>
                </a:lnTo>
                <a:lnTo>
                  <a:pt x="1772" y="432"/>
                </a:lnTo>
                <a:lnTo>
                  <a:pt x="1773" y="436"/>
                </a:lnTo>
                <a:lnTo>
                  <a:pt x="1777" y="438"/>
                </a:lnTo>
                <a:lnTo>
                  <a:pt x="1782" y="439"/>
                </a:lnTo>
                <a:lnTo>
                  <a:pt x="1787" y="439"/>
                </a:lnTo>
                <a:lnTo>
                  <a:pt x="1793" y="437"/>
                </a:lnTo>
                <a:lnTo>
                  <a:pt x="1798" y="435"/>
                </a:lnTo>
                <a:lnTo>
                  <a:pt x="1805" y="432"/>
                </a:lnTo>
                <a:lnTo>
                  <a:pt x="1810" y="431"/>
                </a:lnTo>
                <a:lnTo>
                  <a:pt x="1815" y="431"/>
                </a:lnTo>
                <a:lnTo>
                  <a:pt x="1818" y="433"/>
                </a:lnTo>
                <a:lnTo>
                  <a:pt x="1820" y="435"/>
                </a:lnTo>
                <a:lnTo>
                  <a:pt x="1822" y="436"/>
                </a:lnTo>
                <a:lnTo>
                  <a:pt x="1826" y="436"/>
                </a:lnTo>
                <a:lnTo>
                  <a:pt x="1828" y="435"/>
                </a:lnTo>
                <a:lnTo>
                  <a:pt x="1835" y="432"/>
                </a:lnTo>
                <a:lnTo>
                  <a:pt x="1842" y="429"/>
                </a:lnTo>
                <a:lnTo>
                  <a:pt x="1855" y="423"/>
                </a:lnTo>
                <a:lnTo>
                  <a:pt x="1862" y="419"/>
                </a:lnTo>
                <a:lnTo>
                  <a:pt x="1869" y="414"/>
                </a:lnTo>
                <a:lnTo>
                  <a:pt x="1878" y="403"/>
                </a:lnTo>
                <a:lnTo>
                  <a:pt x="1882" y="399"/>
                </a:lnTo>
                <a:lnTo>
                  <a:pt x="1885" y="396"/>
                </a:lnTo>
                <a:lnTo>
                  <a:pt x="1886" y="396"/>
                </a:lnTo>
                <a:lnTo>
                  <a:pt x="1887" y="396"/>
                </a:lnTo>
                <a:lnTo>
                  <a:pt x="1887" y="397"/>
                </a:lnTo>
                <a:lnTo>
                  <a:pt x="1887" y="400"/>
                </a:lnTo>
                <a:lnTo>
                  <a:pt x="1884" y="405"/>
                </a:lnTo>
                <a:lnTo>
                  <a:pt x="1881" y="410"/>
                </a:lnTo>
                <a:lnTo>
                  <a:pt x="1877" y="415"/>
                </a:lnTo>
                <a:lnTo>
                  <a:pt x="1873" y="419"/>
                </a:lnTo>
                <a:lnTo>
                  <a:pt x="1865" y="425"/>
                </a:lnTo>
                <a:lnTo>
                  <a:pt x="1859" y="431"/>
                </a:lnTo>
                <a:lnTo>
                  <a:pt x="1859" y="432"/>
                </a:lnTo>
                <a:lnTo>
                  <a:pt x="1860" y="433"/>
                </a:lnTo>
                <a:lnTo>
                  <a:pt x="1862" y="433"/>
                </a:lnTo>
                <a:lnTo>
                  <a:pt x="1864" y="432"/>
                </a:lnTo>
                <a:lnTo>
                  <a:pt x="1872" y="430"/>
                </a:lnTo>
                <a:lnTo>
                  <a:pt x="1881" y="427"/>
                </a:lnTo>
                <a:lnTo>
                  <a:pt x="1891" y="424"/>
                </a:lnTo>
                <a:lnTo>
                  <a:pt x="1899" y="422"/>
                </a:lnTo>
                <a:lnTo>
                  <a:pt x="1903" y="421"/>
                </a:lnTo>
                <a:lnTo>
                  <a:pt x="1906" y="421"/>
                </a:lnTo>
                <a:lnTo>
                  <a:pt x="1908" y="421"/>
                </a:lnTo>
                <a:lnTo>
                  <a:pt x="1910" y="422"/>
                </a:lnTo>
                <a:lnTo>
                  <a:pt x="1911" y="424"/>
                </a:lnTo>
                <a:lnTo>
                  <a:pt x="1913" y="427"/>
                </a:lnTo>
                <a:lnTo>
                  <a:pt x="1913" y="429"/>
                </a:lnTo>
                <a:lnTo>
                  <a:pt x="1911" y="431"/>
                </a:lnTo>
                <a:lnTo>
                  <a:pt x="1910" y="433"/>
                </a:lnTo>
                <a:lnTo>
                  <a:pt x="1907" y="436"/>
                </a:lnTo>
                <a:lnTo>
                  <a:pt x="1903" y="438"/>
                </a:lnTo>
                <a:lnTo>
                  <a:pt x="1898" y="439"/>
                </a:lnTo>
                <a:lnTo>
                  <a:pt x="1893" y="440"/>
                </a:lnTo>
                <a:lnTo>
                  <a:pt x="1886" y="439"/>
                </a:lnTo>
                <a:lnTo>
                  <a:pt x="1880" y="438"/>
                </a:lnTo>
                <a:lnTo>
                  <a:pt x="1875" y="437"/>
                </a:lnTo>
                <a:lnTo>
                  <a:pt x="1871" y="437"/>
                </a:lnTo>
                <a:lnTo>
                  <a:pt x="1866" y="438"/>
                </a:lnTo>
                <a:lnTo>
                  <a:pt x="1864" y="439"/>
                </a:lnTo>
                <a:lnTo>
                  <a:pt x="1863" y="441"/>
                </a:lnTo>
                <a:lnTo>
                  <a:pt x="1862" y="443"/>
                </a:lnTo>
                <a:lnTo>
                  <a:pt x="1861" y="446"/>
                </a:lnTo>
                <a:lnTo>
                  <a:pt x="1860" y="452"/>
                </a:lnTo>
                <a:lnTo>
                  <a:pt x="1858" y="459"/>
                </a:lnTo>
                <a:lnTo>
                  <a:pt x="1856" y="463"/>
                </a:lnTo>
                <a:lnTo>
                  <a:pt x="1854" y="467"/>
                </a:lnTo>
                <a:lnTo>
                  <a:pt x="1851" y="469"/>
                </a:lnTo>
                <a:lnTo>
                  <a:pt x="1849" y="471"/>
                </a:lnTo>
                <a:lnTo>
                  <a:pt x="1845" y="470"/>
                </a:lnTo>
                <a:lnTo>
                  <a:pt x="1843" y="468"/>
                </a:lnTo>
                <a:lnTo>
                  <a:pt x="1839" y="465"/>
                </a:lnTo>
                <a:lnTo>
                  <a:pt x="1833" y="462"/>
                </a:lnTo>
                <a:lnTo>
                  <a:pt x="1825" y="458"/>
                </a:lnTo>
                <a:lnTo>
                  <a:pt x="1816" y="455"/>
                </a:lnTo>
                <a:lnTo>
                  <a:pt x="1808" y="453"/>
                </a:lnTo>
                <a:lnTo>
                  <a:pt x="1801" y="453"/>
                </a:lnTo>
                <a:lnTo>
                  <a:pt x="1798" y="453"/>
                </a:lnTo>
                <a:lnTo>
                  <a:pt x="1796" y="454"/>
                </a:lnTo>
                <a:lnTo>
                  <a:pt x="1795" y="455"/>
                </a:lnTo>
                <a:lnTo>
                  <a:pt x="1794" y="458"/>
                </a:lnTo>
                <a:lnTo>
                  <a:pt x="1794" y="463"/>
                </a:lnTo>
                <a:lnTo>
                  <a:pt x="1795" y="468"/>
                </a:lnTo>
                <a:lnTo>
                  <a:pt x="1796" y="473"/>
                </a:lnTo>
                <a:lnTo>
                  <a:pt x="1799" y="480"/>
                </a:lnTo>
                <a:lnTo>
                  <a:pt x="1803" y="484"/>
                </a:lnTo>
                <a:lnTo>
                  <a:pt x="1808" y="488"/>
                </a:lnTo>
                <a:lnTo>
                  <a:pt x="1810" y="489"/>
                </a:lnTo>
                <a:lnTo>
                  <a:pt x="1814" y="490"/>
                </a:lnTo>
                <a:lnTo>
                  <a:pt x="1817" y="490"/>
                </a:lnTo>
                <a:lnTo>
                  <a:pt x="1821" y="490"/>
                </a:lnTo>
                <a:lnTo>
                  <a:pt x="1829" y="489"/>
                </a:lnTo>
                <a:lnTo>
                  <a:pt x="1835" y="486"/>
                </a:lnTo>
                <a:lnTo>
                  <a:pt x="1839" y="483"/>
                </a:lnTo>
                <a:lnTo>
                  <a:pt x="1842" y="481"/>
                </a:lnTo>
                <a:lnTo>
                  <a:pt x="1844" y="479"/>
                </a:lnTo>
                <a:lnTo>
                  <a:pt x="1847" y="477"/>
                </a:lnTo>
                <a:lnTo>
                  <a:pt x="1849" y="477"/>
                </a:lnTo>
                <a:lnTo>
                  <a:pt x="1852" y="481"/>
                </a:lnTo>
                <a:lnTo>
                  <a:pt x="1857" y="489"/>
                </a:lnTo>
                <a:lnTo>
                  <a:pt x="1862" y="495"/>
                </a:lnTo>
                <a:lnTo>
                  <a:pt x="1865" y="498"/>
                </a:lnTo>
                <a:lnTo>
                  <a:pt x="1870" y="501"/>
                </a:lnTo>
                <a:lnTo>
                  <a:pt x="1875" y="502"/>
                </a:lnTo>
                <a:lnTo>
                  <a:pt x="1881" y="503"/>
                </a:lnTo>
                <a:lnTo>
                  <a:pt x="1885" y="503"/>
                </a:lnTo>
                <a:lnTo>
                  <a:pt x="1889" y="502"/>
                </a:lnTo>
                <a:lnTo>
                  <a:pt x="1895" y="499"/>
                </a:lnTo>
                <a:lnTo>
                  <a:pt x="1899" y="497"/>
                </a:lnTo>
                <a:lnTo>
                  <a:pt x="1908" y="490"/>
                </a:lnTo>
                <a:lnTo>
                  <a:pt x="1918" y="483"/>
                </a:lnTo>
                <a:lnTo>
                  <a:pt x="1925" y="475"/>
                </a:lnTo>
                <a:lnTo>
                  <a:pt x="1931" y="471"/>
                </a:lnTo>
                <a:lnTo>
                  <a:pt x="1935" y="470"/>
                </a:lnTo>
                <a:lnTo>
                  <a:pt x="1936" y="470"/>
                </a:lnTo>
                <a:lnTo>
                  <a:pt x="1937" y="471"/>
                </a:lnTo>
                <a:lnTo>
                  <a:pt x="1937" y="474"/>
                </a:lnTo>
                <a:lnTo>
                  <a:pt x="1936" y="487"/>
                </a:lnTo>
                <a:lnTo>
                  <a:pt x="1937" y="494"/>
                </a:lnTo>
                <a:lnTo>
                  <a:pt x="1938" y="496"/>
                </a:lnTo>
                <a:lnTo>
                  <a:pt x="1940" y="497"/>
                </a:lnTo>
                <a:lnTo>
                  <a:pt x="1943" y="496"/>
                </a:lnTo>
                <a:lnTo>
                  <a:pt x="1947" y="494"/>
                </a:lnTo>
                <a:lnTo>
                  <a:pt x="1960" y="486"/>
                </a:lnTo>
                <a:lnTo>
                  <a:pt x="1975" y="472"/>
                </a:lnTo>
                <a:lnTo>
                  <a:pt x="1984" y="465"/>
                </a:lnTo>
                <a:lnTo>
                  <a:pt x="1990" y="455"/>
                </a:lnTo>
                <a:lnTo>
                  <a:pt x="1993" y="451"/>
                </a:lnTo>
                <a:lnTo>
                  <a:pt x="1995" y="446"/>
                </a:lnTo>
                <a:lnTo>
                  <a:pt x="1997" y="442"/>
                </a:lnTo>
                <a:lnTo>
                  <a:pt x="1998" y="437"/>
                </a:lnTo>
                <a:lnTo>
                  <a:pt x="2001" y="425"/>
                </a:lnTo>
                <a:lnTo>
                  <a:pt x="2004" y="414"/>
                </a:lnTo>
                <a:lnTo>
                  <a:pt x="2008" y="402"/>
                </a:lnTo>
                <a:lnTo>
                  <a:pt x="2013" y="390"/>
                </a:lnTo>
                <a:lnTo>
                  <a:pt x="2017" y="381"/>
                </a:lnTo>
                <a:lnTo>
                  <a:pt x="2023" y="376"/>
                </a:lnTo>
                <a:lnTo>
                  <a:pt x="2025" y="374"/>
                </a:lnTo>
                <a:lnTo>
                  <a:pt x="2027" y="373"/>
                </a:lnTo>
                <a:lnTo>
                  <a:pt x="2029" y="374"/>
                </a:lnTo>
                <a:lnTo>
                  <a:pt x="2030" y="376"/>
                </a:lnTo>
                <a:lnTo>
                  <a:pt x="2033" y="381"/>
                </a:lnTo>
                <a:lnTo>
                  <a:pt x="2035" y="385"/>
                </a:lnTo>
                <a:lnTo>
                  <a:pt x="2037" y="389"/>
                </a:lnTo>
                <a:lnTo>
                  <a:pt x="2037" y="394"/>
                </a:lnTo>
                <a:lnTo>
                  <a:pt x="2037" y="399"/>
                </a:lnTo>
                <a:lnTo>
                  <a:pt x="2035" y="403"/>
                </a:lnTo>
                <a:lnTo>
                  <a:pt x="2032" y="408"/>
                </a:lnTo>
                <a:lnTo>
                  <a:pt x="2028" y="415"/>
                </a:lnTo>
                <a:lnTo>
                  <a:pt x="2016" y="428"/>
                </a:lnTo>
                <a:lnTo>
                  <a:pt x="2007" y="440"/>
                </a:lnTo>
                <a:lnTo>
                  <a:pt x="2004" y="444"/>
                </a:lnTo>
                <a:lnTo>
                  <a:pt x="2003" y="448"/>
                </a:lnTo>
                <a:lnTo>
                  <a:pt x="2004" y="449"/>
                </a:lnTo>
                <a:lnTo>
                  <a:pt x="2005" y="450"/>
                </a:lnTo>
                <a:lnTo>
                  <a:pt x="2007" y="451"/>
                </a:lnTo>
                <a:lnTo>
                  <a:pt x="2009" y="451"/>
                </a:lnTo>
                <a:lnTo>
                  <a:pt x="2026" y="450"/>
                </a:lnTo>
                <a:lnTo>
                  <a:pt x="2047" y="449"/>
                </a:lnTo>
                <a:lnTo>
                  <a:pt x="2055" y="448"/>
                </a:lnTo>
                <a:lnTo>
                  <a:pt x="2060" y="449"/>
                </a:lnTo>
                <a:lnTo>
                  <a:pt x="2062" y="450"/>
                </a:lnTo>
                <a:lnTo>
                  <a:pt x="2062" y="451"/>
                </a:lnTo>
                <a:lnTo>
                  <a:pt x="2062" y="453"/>
                </a:lnTo>
                <a:lnTo>
                  <a:pt x="2060" y="455"/>
                </a:lnTo>
                <a:lnTo>
                  <a:pt x="2057" y="459"/>
                </a:lnTo>
                <a:lnTo>
                  <a:pt x="2053" y="460"/>
                </a:lnTo>
                <a:lnTo>
                  <a:pt x="2049" y="462"/>
                </a:lnTo>
                <a:lnTo>
                  <a:pt x="2045" y="463"/>
                </a:lnTo>
                <a:lnTo>
                  <a:pt x="2034" y="463"/>
                </a:lnTo>
                <a:lnTo>
                  <a:pt x="2024" y="464"/>
                </a:lnTo>
                <a:lnTo>
                  <a:pt x="2014" y="464"/>
                </a:lnTo>
                <a:lnTo>
                  <a:pt x="2005" y="466"/>
                </a:lnTo>
                <a:lnTo>
                  <a:pt x="2002" y="467"/>
                </a:lnTo>
                <a:lnTo>
                  <a:pt x="1997" y="468"/>
                </a:lnTo>
                <a:lnTo>
                  <a:pt x="1995" y="470"/>
                </a:lnTo>
                <a:lnTo>
                  <a:pt x="1993" y="473"/>
                </a:lnTo>
                <a:lnTo>
                  <a:pt x="1992" y="476"/>
                </a:lnTo>
                <a:lnTo>
                  <a:pt x="1992" y="480"/>
                </a:lnTo>
                <a:lnTo>
                  <a:pt x="1992" y="483"/>
                </a:lnTo>
                <a:lnTo>
                  <a:pt x="1993" y="485"/>
                </a:lnTo>
                <a:lnTo>
                  <a:pt x="1997" y="490"/>
                </a:lnTo>
                <a:lnTo>
                  <a:pt x="2001" y="495"/>
                </a:lnTo>
                <a:lnTo>
                  <a:pt x="2005" y="498"/>
                </a:lnTo>
                <a:lnTo>
                  <a:pt x="2006" y="502"/>
                </a:lnTo>
                <a:lnTo>
                  <a:pt x="2006" y="504"/>
                </a:lnTo>
                <a:lnTo>
                  <a:pt x="2005" y="505"/>
                </a:lnTo>
                <a:lnTo>
                  <a:pt x="2003" y="505"/>
                </a:lnTo>
                <a:lnTo>
                  <a:pt x="2000" y="506"/>
                </a:lnTo>
                <a:lnTo>
                  <a:pt x="1985" y="507"/>
                </a:lnTo>
                <a:lnTo>
                  <a:pt x="1972" y="508"/>
                </a:lnTo>
                <a:lnTo>
                  <a:pt x="1967" y="509"/>
                </a:lnTo>
                <a:lnTo>
                  <a:pt x="1962" y="510"/>
                </a:lnTo>
                <a:lnTo>
                  <a:pt x="1959" y="512"/>
                </a:lnTo>
                <a:lnTo>
                  <a:pt x="1956" y="514"/>
                </a:lnTo>
                <a:lnTo>
                  <a:pt x="1953" y="516"/>
                </a:lnTo>
                <a:lnTo>
                  <a:pt x="1947" y="518"/>
                </a:lnTo>
                <a:lnTo>
                  <a:pt x="1941" y="519"/>
                </a:lnTo>
                <a:lnTo>
                  <a:pt x="1935" y="520"/>
                </a:lnTo>
                <a:lnTo>
                  <a:pt x="1928" y="521"/>
                </a:lnTo>
                <a:lnTo>
                  <a:pt x="1923" y="524"/>
                </a:lnTo>
                <a:lnTo>
                  <a:pt x="1922" y="525"/>
                </a:lnTo>
                <a:lnTo>
                  <a:pt x="1921" y="527"/>
                </a:lnTo>
                <a:lnTo>
                  <a:pt x="1921" y="529"/>
                </a:lnTo>
                <a:lnTo>
                  <a:pt x="1922" y="532"/>
                </a:lnTo>
                <a:lnTo>
                  <a:pt x="1929" y="546"/>
                </a:lnTo>
                <a:lnTo>
                  <a:pt x="1938" y="559"/>
                </a:lnTo>
                <a:lnTo>
                  <a:pt x="1946" y="571"/>
                </a:lnTo>
                <a:lnTo>
                  <a:pt x="1951" y="578"/>
                </a:lnTo>
                <a:lnTo>
                  <a:pt x="1957" y="587"/>
                </a:lnTo>
                <a:lnTo>
                  <a:pt x="1963" y="602"/>
                </a:lnTo>
                <a:lnTo>
                  <a:pt x="1966" y="604"/>
                </a:lnTo>
                <a:lnTo>
                  <a:pt x="1971" y="605"/>
                </a:lnTo>
                <a:lnTo>
                  <a:pt x="1976" y="606"/>
                </a:lnTo>
                <a:lnTo>
                  <a:pt x="1983" y="606"/>
                </a:lnTo>
                <a:lnTo>
                  <a:pt x="1987" y="606"/>
                </a:lnTo>
                <a:lnTo>
                  <a:pt x="1990" y="608"/>
                </a:lnTo>
                <a:lnTo>
                  <a:pt x="1991" y="609"/>
                </a:lnTo>
                <a:lnTo>
                  <a:pt x="1990" y="611"/>
                </a:lnTo>
                <a:lnTo>
                  <a:pt x="1990" y="613"/>
                </a:lnTo>
                <a:lnTo>
                  <a:pt x="1988" y="616"/>
                </a:lnTo>
                <a:lnTo>
                  <a:pt x="1981" y="626"/>
                </a:lnTo>
                <a:lnTo>
                  <a:pt x="1979" y="633"/>
                </a:lnTo>
                <a:lnTo>
                  <a:pt x="1976" y="635"/>
                </a:lnTo>
                <a:lnTo>
                  <a:pt x="1975" y="635"/>
                </a:lnTo>
                <a:lnTo>
                  <a:pt x="1972" y="635"/>
                </a:lnTo>
                <a:lnTo>
                  <a:pt x="1968" y="633"/>
                </a:lnTo>
                <a:lnTo>
                  <a:pt x="1958" y="628"/>
                </a:lnTo>
                <a:lnTo>
                  <a:pt x="1946" y="624"/>
                </a:lnTo>
                <a:lnTo>
                  <a:pt x="1941" y="621"/>
                </a:lnTo>
                <a:lnTo>
                  <a:pt x="1936" y="618"/>
                </a:lnTo>
                <a:lnTo>
                  <a:pt x="1932" y="614"/>
                </a:lnTo>
                <a:lnTo>
                  <a:pt x="1930" y="608"/>
                </a:lnTo>
                <a:lnTo>
                  <a:pt x="1924" y="591"/>
                </a:lnTo>
                <a:lnTo>
                  <a:pt x="1915" y="567"/>
                </a:lnTo>
                <a:lnTo>
                  <a:pt x="1908" y="554"/>
                </a:lnTo>
                <a:lnTo>
                  <a:pt x="1901" y="545"/>
                </a:lnTo>
                <a:lnTo>
                  <a:pt x="1898" y="540"/>
                </a:lnTo>
                <a:lnTo>
                  <a:pt x="1894" y="537"/>
                </a:lnTo>
                <a:lnTo>
                  <a:pt x="1891" y="535"/>
                </a:lnTo>
                <a:lnTo>
                  <a:pt x="1886" y="534"/>
                </a:lnTo>
                <a:lnTo>
                  <a:pt x="1879" y="532"/>
                </a:lnTo>
                <a:lnTo>
                  <a:pt x="1874" y="530"/>
                </a:lnTo>
                <a:lnTo>
                  <a:pt x="1871" y="528"/>
                </a:lnTo>
                <a:lnTo>
                  <a:pt x="1867" y="526"/>
                </a:lnTo>
                <a:lnTo>
                  <a:pt x="1865" y="525"/>
                </a:lnTo>
                <a:lnTo>
                  <a:pt x="1863" y="526"/>
                </a:lnTo>
                <a:lnTo>
                  <a:pt x="1862" y="529"/>
                </a:lnTo>
                <a:lnTo>
                  <a:pt x="1861" y="534"/>
                </a:lnTo>
                <a:lnTo>
                  <a:pt x="1860" y="540"/>
                </a:lnTo>
                <a:lnTo>
                  <a:pt x="1858" y="545"/>
                </a:lnTo>
                <a:lnTo>
                  <a:pt x="1856" y="548"/>
                </a:lnTo>
                <a:lnTo>
                  <a:pt x="1854" y="550"/>
                </a:lnTo>
                <a:lnTo>
                  <a:pt x="1852" y="553"/>
                </a:lnTo>
                <a:lnTo>
                  <a:pt x="1852" y="556"/>
                </a:lnTo>
                <a:lnTo>
                  <a:pt x="1852" y="560"/>
                </a:lnTo>
                <a:lnTo>
                  <a:pt x="1854" y="567"/>
                </a:lnTo>
                <a:lnTo>
                  <a:pt x="1858" y="583"/>
                </a:lnTo>
                <a:lnTo>
                  <a:pt x="1861" y="600"/>
                </a:lnTo>
                <a:lnTo>
                  <a:pt x="1863" y="607"/>
                </a:lnTo>
                <a:lnTo>
                  <a:pt x="1866" y="615"/>
                </a:lnTo>
                <a:lnTo>
                  <a:pt x="1870" y="621"/>
                </a:lnTo>
                <a:lnTo>
                  <a:pt x="1874" y="627"/>
                </a:lnTo>
                <a:lnTo>
                  <a:pt x="1877" y="629"/>
                </a:lnTo>
                <a:lnTo>
                  <a:pt x="1879" y="630"/>
                </a:lnTo>
                <a:lnTo>
                  <a:pt x="1881" y="630"/>
                </a:lnTo>
                <a:lnTo>
                  <a:pt x="1883" y="630"/>
                </a:lnTo>
                <a:lnTo>
                  <a:pt x="1887" y="629"/>
                </a:lnTo>
                <a:lnTo>
                  <a:pt x="1892" y="627"/>
                </a:lnTo>
                <a:lnTo>
                  <a:pt x="1894" y="626"/>
                </a:lnTo>
                <a:lnTo>
                  <a:pt x="1897" y="626"/>
                </a:lnTo>
                <a:lnTo>
                  <a:pt x="1899" y="628"/>
                </a:lnTo>
                <a:lnTo>
                  <a:pt x="1901" y="634"/>
                </a:lnTo>
                <a:lnTo>
                  <a:pt x="1902" y="647"/>
                </a:lnTo>
                <a:lnTo>
                  <a:pt x="1902" y="657"/>
                </a:lnTo>
                <a:lnTo>
                  <a:pt x="1903" y="661"/>
                </a:lnTo>
                <a:lnTo>
                  <a:pt x="1906" y="665"/>
                </a:lnTo>
                <a:lnTo>
                  <a:pt x="1910" y="671"/>
                </a:lnTo>
                <a:lnTo>
                  <a:pt x="1917" y="678"/>
                </a:lnTo>
                <a:lnTo>
                  <a:pt x="1924" y="684"/>
                </a:lnTo>
                <a:lnTo>
                  <a:pt x="1931" y="688"/>
                </a:lnTo>
                <a:lnTo>
                  <a:pt x="1939" y="689"/>
                </a:lnTo>
                <a:lnTo>
                  <a:pt x="1944" y="690"/>
                </a:lnTo>
                <a:lnTo>
                  <a:pt x="1949" y="690"/>
                </a:lnTo>
                <a:lnTo>
                  <a:pt x="1953" y="691"/>
                </a:lnTo>
                <a:lnTo>
                  <a:pt x="1956" y="692"/>
                </a:lnTo>
                <a:lnTo>
                  <a:pt x="1957" y="693"/>
                </a:lnTo>
                <a:lnTo>
                  <a:pt x="1958" y="695"/>
                </a:lnTo>
                <a:lnTo>
                  <a:pt x="1959" y="697"/>
                </a:lnTo>
                <a:lnTo>
                  <a:pt x="1959" y="703"/>
                </a:lnTo>
                <a:lnTo>
                  <a:pt x="1959" y="708"/>
                </a:lnTo>
                <a:lnTo>
                  <a:pt x="1957" y="712"/>
                </a:lnTo>
                <a:lnTo>
                  <a:pt x="1954" y="716"/>
                </a:lnTo>
                <a:lnTo>
                  <a:pt x="1951" y="719"/>
                </a:lnTo>
                <a:lnTo>
                  <a:pt x="1948" y="722"/>
                </a:lnTo>
                <a:lnTo>
                  <a:pt x="1944" y="724"/>
                </a:lnTo>
                <a:lnTo>
                  <a:pt x="1939" y="725"/>
                </a:lnTo>
                <a:lnTo>
                  <a:pt x="1929" y="728"/>
                </a:lnTo>
                <a:lnTo>
                  <a:pt x="1920" y="731"/>
                </a:lnTo>
                <a:lnTo>
                  <a:pt x="1916" y="732"/>
                </a:lnTo>
                <a:lnTo>
                  <a:pt x="1910" y="733"/>
                </a:lnTo>
                <a:lnTo>
                  <a:pt x="1907" y="732"/>
                </a:lnTo>
                <a:lnTo>
                  <a:pt x="1903" y="729"/>
                </a:lnTo>
                <a:lnTo>
                  <a:pt x="1900" y="726"/>
                </a:lnTo>
                <a:lnTo>
                  <a:pt x="1896" y="722"/>
                </a:lnTo>
                <a:lnTo>
                  <a:pt x="1891" y="718"/>
                </a:lnTo>
                <a:lnTo>
                  <a:pt x="1886" y="716"/>
                </a:lnTo>
                <a:lnTo>
                  <a:pt x="1881" y="715"/>
                </a:lnTo>
                <a:lnTo>
                  <a:pt x="1876" y="715"/>
                </a:lnTo>
                <a:lnTo>
                  <a:pt x="1871" y="716"/>
                </a:lnTo>
                <a:lnTo>
                  <a:pt x="1865" y="719"/>
                </a:lnTo>
                <a:lnTo>
                  <a:pt x="1852" y="731"/>
                </a:lnTo>
                <a:lnTo>
                  <a:pt x="1836" y="746"/>
                </a:lnTo>
                <a:lnTo>
                  <a:pt x="1829" y="753"/>
                </a:lnTo>
                <a:lnTo>
                  <a:pt x="1823" y="759"/>
                </a:lnTo>
                <a:lnTo>
                  <a:pt x="1822" y="762"/>
                </a:lnTo>
                <a:lnTo>
                  <a:pt x="1821" y="765"/>
                </a:lnTo>
                <a:lnTo>
                  <a:pt x="1822" y="768"/>
                </a:lnTo>
                <a:lnTo>
                  <a:pt x="1823" y="769"/>
                </a:lnTo>
                <a:lnTo>
                  <a:pt x="1828" y="772"/>
                </a:lnTo>
                <a:lnTo>
                  <a:pt x="1833" y="774"/>
                </a:lnTo>
                <a:lnTo>
                  <a:pt x="1839" y="775"/>
                </a:lnTo>
                <a:lnTo>
                  <a:pt x="1845" y="775"/>
                </a:lnTo>
                <a:lnTo>
                  <a:pt x="1857" y="774"/>
                </a:lnTo>
                <a:lnTo>
                  <a:pt x="1863" y="772"/>
                </a:lnTo>
                <a:lnTo>
                  <a:pt x="1870" y="768"/>
                </a:lnTo>
                <a:lnTo>
                  <a:pt x="1878" y="762"/>
                </a:lnTo>
                <a:lnTo>
                  <a:pt x="1882" y="760"/>
                </a:lnTo>
                <a:lnTo>
                  <a:pt x="1885" y="760"/>
                </a:lnTo>
                <a:lnTo>
                  <a:pt x="1886" y="761"/>
                </a:lnTo>
                <a:lnTo>
                  <a:pt x="1886" y="762"/>
                </a:lnTo>
                <a:lnTo>
                  <a:pt x="1886" y="766"/>
                </a:lnTo>
                <a:lnTo>
                  <a:pt x="1886" y="769"/>
                </a:lnTo>
                <a:lnTo>
                  <a:pt x="1881" y="780"/>
                </a:lnTo>
                <a:lnTo>
                  <a:pt x="1876" y="792"/>
                </a:lnTo>
                <a:lnTo>
                  <a:pt x="1874" y="796"/>
                </a:lnTo>
                <a:lnTo>
                  <a:pt x="1872" y="801"/>
                </a:lnTo>
                <a:lnTo>
                  <a:pt x="1871" y="805"/>
                </a:lnTo>
                <a:lnTo>
                  <a:pt x="1872" y="811"/>
                </a:lnTo>
                <a:lnTo>
                  <a:pt x="1876" y="822"/>
                </a:lnTo>
                <a:lnTo>
                  <a:pt x="1880" y="834"/>
                </a:lnTo>
                <a:lnTo>
                  <a:pt x="1882" y="839"/>
                </a:lnTo>
                <a:lnTo>
                  <a:pt x="1885" y="842"/>
                </a:lnTo>
                <a:lnTo>
                  <a:pt x="1888" y="844"/>
                </a:lnTo>
                <a:lnTo>
                  <a:pt x="1892" y="844"/>
                </a:lnTo>
                <a:lnTo>
                  <a:pt x="1902" y="838"/>
                </a:lnTo>
                <a:lnTo>
                  <a:pt x="1917" y="830"/>
                </a:lnTo>
                <a:lnTo>
                  <a:pt x="1923" y="825"/>
                </a:lnTo>
                <a:lnTo>
                  <a:pt x="1928" y="822"/>
                </a:lnTo>
                <a:lnTo>
                  <a:pt x="1931" y="822"/>
                </a:lnTo>
                <a:lnTo>
                  <a:pt x="1932" y="822"/>
                </a:lnTo>
                <a:lnTo>
                  <a:pt x="1933" y="822"/>
                </a:lnTo>
                <a:lnTo>
                  <a:pt x="1935" y="824"/>
                </a:lnTo>
                <a:lnTo>
                  <a:pt x="1935" y="828"/>
                </a:lnTo>
                <a:lnTo>
                  <a:pt x="1932" y="834"/>
                </a:lnTo>
                <a:lnTo>
                  <a:pt x="1929" y="838"/>
                </a:lnTo>
                <a:lnTo>
                  <a:pt x="1926" y="843"/>
                </a:lnTo>
                <a:lnTo>
                  <a:pt x="1919" y="853"/>
                </a:lnTo>
                <a:lnTo>
                  <a:pt x="1913" y="860"/>
                </a:lnTo>
                <a:lnTo>
                  <a:pt x="1908" y="866"/>
                </a:lnTo>
                <a:lnTo>
                  <a:pt x="1902" y="875"/>
                </a:lnTo>
                <a:lnTo>
                  <a:pt x="1898" y="878"/>
                </a:lnTo>
                <a:lnTo>
                  <a:pt x="1894" y="879"/>
                </a:lnTo>
                <a:lnTo>
                  <a:pt x="1891" y="879"/>
                </a:lnTo>
                <a:lnTo>
                  <a:pt x="1887" y="878"/>
                </a:lnTo>
                <a:lnTo>
                  <a:pt x="1884" y="877"/>
                </a:lnTo>
                <a:lnTo>
                  <a:pt x="1881" y="875"/>
                </a:lnTo>
                <a:lnTo>
                  <a:pt x="1865" y="865"/>
                </a:lnTo>
                <a:lnTo>
                  <a:pt x="1852" y="855"/>
                </a:lnTo>
                <a:lnTo>
                  <a:pt x="1847" y="849"/>
                </a:lnTo>
                <a:lnTo>
                  <a:pt x="1842" y="845"/>
                </a:lnTo>
                <a:lnTo>
                  <a:pt x="1839" y="841"/>
                </a:lnTo>
                <a:lnTo>
                  <a:pt x="1839" y="837"/>
                </a:lnTo>
                <a:lnTo>
                  <a:pt x="1841" y="828"/>
                </a:lnTo>
                <a:lnTo>
                  <a:pt x="1844" y="819"/>
                </a:lnTo>
                <a:lnTo>
                  <a:pt x="1844" y="816"/>
                </a:lnTo>
                <a:lnTo>
                  <a:pt x="1842" y="813"/>
                </a:lnTo>
                <a:lnTo>
                  <a:pt x="1839" y="812"/>
                </a:lnTo>
                <a:lnTo>
                  <a:pt x="1833" y="813"/>
                </a:lnTo>
                <a:lnTo>
                  <a:pt x="1827" y="814"/>
                </a:lnTo>
                <a:lnTo>
                  <a:pt x="1819" y="813"/>
                </a:lnTo>
                <a:lnTo>
                  <a:pt x="1814" y="810"/>
                </a:lnTo>
                <a:lnTo>
                  <a:pt x="1810" y="807"/>
                </a:lnTo>
                <a:lnTo>
                  <a:pt x="1808" y="807"/>
                </a:lnTo>
                <a:lnTo>
                  <a:pt x="1807" y="807"/>
                </a:lnTo>
                <a:lnTo>
                  <a:pt x="1806" y="807"/>
                </a:lnTo>
                <a:lnTo>
                  <a:pt x="1805" y="809"/>
                </a:lnTo>
                <a:lnTo>
                  <a:pt x="1804" y="814"/>
                </a:lnTo>
                <a:lnTo>
                  <a:pt x="1805" y="822"/>
                </a:lnTo>
                <a:lnTo>
                  <a:pt x="1807" y="833"/>
                </a:lnTo>
                <a:lnTo>
                  <a:pt x="1810" y="841"/>
                </a:lnTo>
                <a:lnTo>
                  <a:pt x="1812" y="847"/>
                </a:lnTo>
                <a:lnTo>
                  <a:pt x="1815" y="852"/>
                </a:lnTo>
                <a:lnTo>
                  <a:pt x="1821" y="858"/>
                </a:lnTo>
                <a:lnTo>
                  <a:pt x="1829" y="863"/>
                </a:lnTo>
                <a:lnTo>
                  <a:pt x="1835" y="870"/>
                </a:lnTo>
                <a:lnTo>
                  <a:pt x="1841" y="875"/>
                </a:lnTo>
                <a:lnTo>
                  <a:pt x="1842" y="877"/>
                </a:lnTo>
                <a:lnTo>
                  <a:pt x="1843" y="879"/>
                </a:lnTo>
                <a:lnTo>
                  <a:pt x="1842" y="881"/>
                </a:lnTo>
                <a:lnTo>
                  <a:pt x="1840" y="884"/>
                </a:lnTo>
                <a:lnTo>
                  <a:pt x="1828" y="889"/>
                </a:lnTo>
                <a:lnTo>
                  <a:pt x="1813" y="897"/>
                </a:lnTo>
                <a:lnTo>
                  <a:pt x="1805" y="904"/>
                </a:lnTo>
                <a:lnTo>
                  <a:pt x="1794" y="911"/>
                </a:lnTo>
                <a:lnTo>
                  <a:pt x="1784" y="918"/>
                </a:lnTo>
                <a:lnTo>
                  <a:pt x="1777" y="925"/>
                </a:lnTo>
                <a:lnTo>
                  <a:pt x="1772" y="931"/>
                </a:lnTo>
                <a:lnTo>
                  <a:pt x="1766" y="938"/>
                </a:lnTo>
                <a:lnTo>
                  <a:pt x="1762" y="941"/>
                </a:lnTo>
                <a:lnTo>
                  <a:pt x="1759" y="943"/>
                </a:lnTo>
                <a:lnTo>
                  <a:pt x="1755" y="943"/>
                </a:lnTo>
                <a:lnTo>
                  <a:pt x="1753" y="943"/>
                </a:lnTo>
                <a:lnTo>
                  <a:pt x="1749" y="941"/>
                </a:lnTo>
                <a:lnTo>
                  <a:pt x="1743" y="941"/>
                </a:lnTo>
                <a:lnTo>
                  <a:pt x="1735" y="941"/>
                </a:lnTo>
                <a:lnTo>
                  <a:pt x="1727" y="941"/>
                </a:lnTo>
                <a:lnTo>
                  <a:pt x="1712" y="942"/>
                </a:lnTo>
                <a:lnTo>
                  <a:pt x="1705" y="942"/>
                </a:lnTo>
                <a:lnTo>
                  <a:pt x="1706" y="942"/>
                </a:lnTo>
                <a:lnTo>
                  <a:pt x="1706" y="941"/>
                </a:lnTo>
                <a:lnTo>
                  <a:pt x="1704" y="935"/>
                </a:lnTo>
                <a:lnTo>
                  <a:pt x="1698" y="926"/>
                </a:lnTo>
                <a:lnTo>
                  <a:pt x="1689" y="914"/>
                </a:lnTo>
                <a:lnTo>
                  <a:pt x="1682" y="906"/>
                </a:lnTo>
                <a:lnTo>
                  <a:pt x="1678" y="904"/>
                </a:lnTo>
                <a:lnTo>
                  <a:pt x="1675" y="902"/>
                </a:lnTo>
                <a:lnTo>
                  <a:pt x="1672" y="900"/>
                </a:lnTo>
                <a:lnTo>
                  <a:pt x="1668" y="900"/>
                </a:lnTo>
                <a:lnTo>
                  <a:pt x="1655" y="898"/>
                </a:lnTo>
                <a:lnTo>
                  <a:pt x="1646" y="897"/>
                </a:lnTo>
                <a:lnTo>
                  <a:pt x="1642" y="897"/>
                </a:lnTo>
                <a:lnTo>
                  <a:pt x="1636" y="897"/>
                </a:lnTo>
                <a:lnTo>
                  <a:pt x="1632" y="900"/>
                </a:lnTo>
                <a:lnTo>
                  <a:pt x="1629" y="902"/>
                </a:lnTo>
                <a:close/>
                <a:moveTo>
                  <a:pt x="1753" y="857"/>
                </a:moveTo>
                <a:lnTo>
                  <a:pt x="1750" y="871"/>
                </a:lnTo>
                <a:lnTo>
                  <a:pt x="1746" y="883"/>
                </a:lnTo>
                <a:lnTo>
                  <a:pt x="1745" y="886"/>
                </a:lnTo>
                <a:lnTo>
                  <a:pt x="1747" y="891"/>
                </a:lnTo>
                <a:lnTo>
                  <a:pt x="1748" y="893"/>
                </a:lnTo>
                <a:lnTo>
                  <a:pt x="1750" y="896"/>
                </a:lnTo>
                <a:lnTo>
                  <a:pt x="1753" y="896"/>
                </a:lnTo>
                <a:lnTo>
                  <a:pt x="1755" y="896"/>
                </a:lnTo>
                <a:lnTo>
                  <a:pt x="1761" y="892"/>
                </a:lnTo>
                <a:lnTo>
                  <a:pt x="1766" y="889"/>
                </a:lnTo>
                <a:lnTo>
                  <a:pt x="1771" y="885"/>
                </a:lnTo>
                <a:lnTo>
                  <a:pt x="1774" y="881"/>
                </a:lnTo>
                <a:lnTo>
                  <a:pt x="1775" y="878"/>
                </a:lnTo>
                <a:lnTo>
                  <a:pt x="1775" y="875"/>
                </a:lnTo>
                <a:lnTo>
                  <a:pt x="1775" y="870"/>
                </a:lnTo>
                <a:lnTo>
                  <a:pt x="1774" y="866"/>
                </a:lnTo>
                <a:lnTo>
                  <a:pt x="1771" y="859"/>
                </a:lnTo>
                <a:lnTo>
                  <a:pt x="1769" y="855"/>
                </a:lnTo>
                <a:lnTo>
                  <a:pt x="1766" y="850"/>
                </a:lnTo>
                <a:lnTo>
                  <a:pt x="1762" y="846"/>
                </a:lnTo>
                <a:lnTo>
                  <a:pt x="1760" y="844"/>
                </a:lnTo>
                <a:lnTo>
                  <a:pt x="1757" y="843"/>
                </a:lnTo>
                <a:lnTo>
                  <a:pt x="1755" y="843"/>
                </a:lnTo>
                <a:lnTo>
                  <a:pt x="1755" y="844"/>
                </a:lnTo>
                <a:lnTo>
                  <a:pt x="1754" y="853"/>
                </a:lnTo>
                <a:lnTo>
                  <a:pt x="1753" y="857"/>
                </a:lnTo>
                <a:close/>
                <a:moveTo>
                  <a:pt x="1643" y="847"/>
                </a:moveTo>
                <a:lnTo>
                  <a:pt x="1645" y="849"/>
                </a:lnTo>
                <a:lnTo>
                  <a:pt x="1650" y="853"/>
                </a:lnTo>
                <a:lnTo>
                  <a:pt x="1655" y="856"/>
                </a:lnTo>
                <a:lnTo>
                  <a:pt x="1661" y="859"/>
                </a:lnTo>
                <a:lnTo>
                  <a:pt x="1667" y="861"/>
                </a:lnTo>
                <a:lnTo>
                  <a:pt x="1674" y="863"/>
                </a:lnTo>
                <a:lnTo>
                  <a:pt x="1679" y="863"/>
                </a:lnTo>
                <a:lnTo>
                  <a:pt x="1682" y="863"/>
                </a:lnTo>
                <a:lnTo>
                  <a:pt x="1687" y="861"/>
                </a:lnTo>
                <a:lnTo>
                  <a:pt x="1695" y="862"/>
                </a:lnTo>
                <a:lnTo>
                  <a:pt x="1698" y="862"/>
                </a:lnTo>
                <a:lnTo>
                  <a:pt x="1700" y="860"/>
                </a:lnTo>
                <a:lnTo>
                  <a:pt x="1701" y="857"/>
                </a:lnTo>
                <a:lnTo>
                  <a:pt x="1700" y="850"/>
                </a:lnTo>
                <a:lnTo>
                  <a:pt x="1698" y="843"/>
                </a:lnTo>
                <a:lnTo>
                  <a:pt x="1695" y="839"/>
                </a:lnTo>
                <a:lnTo>
                  <a:pt x="1689" y="835"/>
                </a:lnTo>
                <a:lnTo>
                  <a:pt x="1685" y="833"/>
                </a:lnTo>
                <a:lnTo>
                  <a:pt x="1677" y="831"/>
                </a:lnTo>
                <a:lnTo>
                  <a:pt x="1672" y="831"/>
                </a:lnTo>
                <a:lnTo>
                  <a:pt x="1668" y="831"/>
                </a:lnTo>
                <a:lnTo>
                  <a:pt x="1663" y="830"/>
                </a:lnTo>
                <a:lnTo>
                  <a:pt x="1661" y="830"/>
                </a:lnTo>
                <a:lnTo>
                  <a:pt x="1658" y="830"/>
                </a:lnTo>
                <a:lnTo>
                  <a:pt x="1656" y="831"/>
                </a:lnTo>
                <a:lnTo>
                  <a:pt x="1654" y="833"/>
                </a:lnTo>
                <a:lnTo>
                  <a:pt x="1646" y="842"/>
                </a:lnTo>
                <a:lnTo>
                  <a:pt x="1643" y="847"/>
                </a:lnTo>
                <a:close/>
                <a:moveTo>
                  <a:pt x="1425" y="821"/>
                </a:moveTo>
                <a:lnTo>
                  <a:pt x="1424" y="824"/>
                </a:lnTo>
                <a:lnTo>
                  <a:pt x="1424" y="832"/>
                </a:lnTo>
                <a:lnTo>
                  <a:pt x="1424" y="841"/>
                </a:lnTo>
                <a:lnTo>
                  <a:pt x="1426" y="853"/>
                </a:lnTo>
                <a:lnTo>
                  <a:pt x="1428" y="864"/>
                </a:lnTo>
                <a:lnTo>
                  <a:pt x="1432" y="876"/>
                </a:lnTo>
                <a:lnTo>
                  <a:pt x="1435" y="886"/>
                </a:lnTo>
                <a:lnTo>
                  <a:pt x="1439" y="894"/>
                </a:lnTo>
                <a:lnTo>
                  <a:pt x="1444" y="901"/>
                </a:lnTo>
                <a:lnTo>
                  <a:pt x="1449" y="904"/>
                </a:lnTo>
                <a:lnTo>
                  <a:pt x="1456" y="907"/>
                </a:lnTo>
                <a:lnTo>
                  <a:pt x="1462" y="907"/>
                </a:lnTo>
                <a:lnTo>
                  <a:pt x="1464" y="907"/>
                </a:lnTo>
                <a:lnTo>
                  <a:pt x="1466" y="906"/>
                </a:lnTo>
                <a:lnTo>
                  <a:pt x="1468" y="905"/>
                </a:lnTo>
                <a:lnTo>
                  <a:pt x="1470" y="903"/>
                </a:lnTo>
                <a:lnTo>
                  <a:pt x="1470" y="902"/>
                </a:lnTo>
                <a:lnTo>
                  <a:pt x="1471" y="899"/>
                </a:lnTo>
                <a:lnTo>
                  <a:pt x="1470" y="897"/>
                </a:lnTo>
                <a:lnTo>
                  <a:pt x="1469" y="893"/>
                </a:lnTo>
                <a:lnTo>
                  <a:pt x="1462" y="879"/>
                </a:lnTo>
                <a:lnTo>
                  <a:pt x="1453" y="864"/>
                </a:lnTo>
                <a:lnTo>
                  <a:pt x="1445" y="852"/>
                </a:lnTo>
                <a:lnTo>
                  <a:pt x="1440" y="844"/>
                </a:lnTo>
                <a:lnTo>
                  <a:pt x="1432" y="831"/>
                </a:lnTo>
                <a:lnTo>
                  <a:pt x="1425" y="821"/>
                </a:lnTo>
                <a:close/>
                <a:moveTo>
                  <a:pt x="1560" y="571"/>
                </a:moveTo>
                <a:lnTo>
                  <a:pt x="1560" y="578"/>
                </a:lnTo>
                <a:lnTo>
                  <a:pt x="1562" y="587"/>
                </a:lnTo>
                <a:lnTo>
                  <a:pt x="1565" y="598"/>
                </a:lnTo>
                <a:lnTo>
                  <a:pt x="1569" y="607"/>
                </a:lnTo>
                <a:lnTo>
                  <a:pt x="1574" y="616"/>
                </a:lnTo>
                <a:lnTo>
                  <a:pt x="1578" y="621"/>
                </a:lnTo>
                <a:lnTo>
                  <a:pt x="1580" y="622"/>
                </a:lnTo>
                <a:lnTo>
                  <a:pt x="1583" y="622"/>
                </a:lnTo>
                <a:lnTo>
                  <a:pt x="1584" y="621"/>
                </a:lnTo>
                <a:lnTo>
                  <a:pt x="1585" y="619"/>
                </a:lnTo>
                <a:lnTo>
                  <a:pt x="1589" y="604"/>
                </a:lnTo>
                <a:lnTo>
                  <a:pt x="1594" y="591"/>
                </a:lnTo>
                <a:lnTo>
                  <a:pt x="1596" y="584"/>
                </a:lnTo>
                <a:lnTo>
                  <a:pt x="1597" y="579"/>
                </a:lnTo>
                <a:lnTo>
                  <a:pt x="1596" y="573"/>
                </a:lnTo>
                <a:lnTo>
                  <a:pt x="1594" y="569"/>
                </a:lnTo>
                <a:lnTo>
                  <a:pt x="1589" y="560"/>
                </a:lnTo>
                <a:lnTo>
                  <a:pt x="1585" y="556"/>
                </a:lnTo>
                <a:lnTo>
                  <a:pt x="1584" y="555"/>
                </a:lnTo>
                <a:lnTo>
                  <a:pt x="1581" y="555"/>
                </a:lnTo>
                <a:lnTo>
                  <a:pt x="1579" y="555"/>
                </a:lnTo>
                <a:lnTo>
                  <a:pt x="1577" y="556"/>
                </a:lnTo>
                <a:lnTo>
                  <a:pt x="1567" y="564"/>
                </a:lnTo>
                <a:lnTo>
                  <a:pt x="1560" y="571"/>
                </a:lnTo>
                <a:close/>
                <a:moveTo>
                  <a:pt x="1600" y="722"/>
                </a:moveTo>
                <a:lnTo>
                  <a:pt x="1600" y="729"/>
                </a:lnTo>
                <a:lnTo>
                  <a:pt x="1601" y="736"/>
                </a:lnTo>
                <a:lnTo>
                  <a:pt x="1605" y="744"/>
                </a:lnTo>
                <a:lnTo>
                  <a:pt x="1608" y="751"/>
                </a:lnTo>
                <a:lnTo>
                  <a:pt x="1612" y="757"/>
                </a:lnTo>
                <a:lnTo>
                  <a:pt x="1614" y="763"/>
                </a:lnTo>
                <a:lnTo>
                  <a:pt x="1616" y="769"/>
                </a:lnTo>
                <a:lnTo>
                  <a:pt x="1617" y="773"/>
                </a:lnTo>
                <a:lnTo>
                  <a:pt x="1616" y="777"/>
                </a:lnTo>
                <a:lnTo>
                  <a:pt x="1614" y="780"/>
                </a:lnTo>
                <a:lnTo>
                  <a:pt x="1611" y="782"/>
                </a:lnTo>
                <a:lnTo>
                  <a:pt x="1608" y="785"/>
                </a:lnTo>
                <a:lnTo>
                  <a:pt x="1607" y="787"/>
                </a:lnTo>
                <a:lnTo>
                  <a:pt x="1606" y="789"/>
                </a:lnTo>
                <a:lnTo>
                  <a:pt x="1606" y="791"/>
                </a:lnTo>
                <a:lnTo>
                  <a:pt x="1606" y="793"/>
                </a:lnTo>
                <a:lnTo>
                  <a:pt x="1609" y="799"/>
                </a:lnTo>
                <a:lnTo>
                  <a:pt x="1615" y="807"/>
                </a:lnTo>
                <a:lnTo>
                  <a:pt x="1623" y="815"/>
                </a:lnTo>
                <a:lnTo>
                  <a:pt x="1630" y="819"/>
                </a:lnTo>
                <a:lnTo>
                  <a:pt x="1636" y="820"/>
                </a:lnTo>
                <a:lnTo>
                  <a:pt x="1640" y="820"/>
                </a:lnTo>
                <a:lnTo>
                  <a:pt x="1646" y="816"/>
                </a:lnTo>
                <a:lnTo>
                  <a:pt x="1652" y="812"/>
                </a:lnTo>
                <a:lnTo>
                  <a:pt x="1659" y="807"/>
                </a:lnTo>
                <a:lnTo>
                  <a:pt x="1671" y="801"/>
                </a:lnTo>
                <a:lnTo>
                  <a:pt x="1675" y="798"/>
                </a:lnTo>
                <a:lnTo>
                  <a:pt x="1678" y="793"/>
                </a:lnTo>
                <a:lnTo>
                  <a:pt x="1679" y="790"/>
                </a:lnTo>
                <a:lnTo>
                  <a:pt x="1679" y="787"/>
                </a:lnTo>
                <a:lnTo>
                  <a:pt x="1678" y="783"/>
                </a:lnTo>
                <a:lnTo>
                  <a:pt x="1676" y="779"/>
                </a:lnTo>
                <a:lnTo>
                  <a:pt x="1669" y="765"/>
                </a:lnTo>
                <a:lnTo>
                  <a:pt x="1665" y="751"/>
                </a:lnTo>
                <a:lnTo>
                  <a:pt x="1662" y="745"/>
                </a:lnTo>
                <a:lnTo>
                  <a:pt x="1657" y="738"/>
                </a:lnTo>
                <a:lnTo>
                  <a:pt x="1651" y="733"/>
                </a:lnTo>
                <a:lnTo>
                  <a:pt x="1640" y="728"/>
                </a:lnTo>
                <a:lnTo>
                  <a:pt x="1629" y="724"/>
                </a:lnTo>
                <a:lnTo>
                  <a:pt x="1620" y="722"/>
                </a:lnTo>
                <a:lnTo>
                  <a:pt x="1613" y="721"/>
                </a:lnTo>
                <a:lnTo>
                  <a:pt x="1608" y="721"/>
                </a:lnTo>
                <a:lnTo>
                  <a:pt x="1601" y="722"/>
                </a:lnTo>
                <a:lnTo>
                  <a:pt x="1600" y="722"/>
                </a:lnTo>
                <a:close/>
                <a:moveTo>
                  <a:pt x="1423" y="662"/>
                </a:moveTo>
                <a:lnTo>
                  <a:pt x="1422" y="666"/>
                </a:lnTo>
                <a:lnTo>
                  <a:pt x="1422" y="670"/>
                </a:lnTo>
                <a:lnTo>
                  <a:pt x="1423" y="673"/>
                </a:lnTo>
                <a:lnTo>
                  <a:pt x="1425" y="678"/>
                </a:lnTo>
                <a:lnTo>
                  <a:pt x="1430" y="685"/>
                </a:lnTo>
                <a:lnTo>
                  <a:pt x="1436" y="691"/>
                </a:lnTo>
                <a:lnTo>
                  <a:pt x="1449" y="702"/>
                </a:lnTo>
                <a:lnTo>
                  <a:pt x="1459" y="711"/>
                </a:lnTo>
                <a:lnTo>
                  <a:pt x="1462" y="714"/>
                </a:lnTo>
                <a:lnTo>
                  <a:pt x="1466" y="717"/>
                </a:lnTo>
                <a:lnTo>
                  <a:pt x="1470" y="719"/>
                </a:lnTo>
                <a:lnTo>
                  <a:pt x="1476" y="722"/>
                </a:lnTo>
                <a:lnTo>
                  <a:pt x="1479" y="724"/>
                </a:lnTo>
                <a:lnTo>
                  <a:pt x="1481" y="727"/>
                </a:lnTo>
                <a:lnTo>
                  <a:pt x="1480" y="728"/>
                </a:lnTo>
                <a:lnTo>
                  <a:pt x="1480" y="730"/>
                </a:lnTo>
                <a:lnTo>
                  <a:pt x="1478" y="733"/>
                </a:lnTo>
                <a:lnTo>
                  <a:pt x="1475" y="735"/>
                </a:lnTo>
                <a:lnTo>
                  <a:pt x="1468" y="740"/>
                </a:lnTo>
                <a:lnTo>
                  <a:pt x="1462" y="743"/>
                </a:lnTo>
                <a:lnTo>
                  <a:pt x="1457" y="745"/>
                </a:lnTo>
                <a:lnTo>
                  <a:pt x="1453" y="746"/>
                </a:lnTo>
                <a:lnTo>
                  <a:pt x="1448" y="746"/>
                </a:lnTo>
                <a:lnTo>
                  <a:pt x="1446" y="748"/>
                </a:lnTo>
                <a:lnTo>
                  <a:pt x="1446" y="750"/>
                </a:lnTo>
                <a:lnTo>
                  <a:pt x="1447" y="754"/>
                </a:lnTo>
                <a:lnTo>
                  <a:pt x="1449" y="758"/>
                </a:lnTo>
                <a:lnTo>
                  <a:pt x="1454" y="762"/>
                </a:lnTo>
                <a:lnTo>
                  <a:pt x="1458" y="767"/>
                </a:lnTo>
                <a:lnTo>
                  <a:pt x="1462" y="770"/>
                </a:lnTo>
                <a:lnTo>
                  <a:pt x="1471" y="774"/>
                </a:lnTo>
                <a:lnTo>
                  <a:pt x="1480" y="776"/>
                </a:lnTo>
                <a:lnTo>
                  <a:pt x="1484" y="776"/>
                </a:lnTo>
                <a:lnTo>
                  <a:pt x="1487" y="774"/>
                </a:lnTo>
                <a:lnTo>
                  <a:pt x="1491" y="772"/>
                </a:lnTo>
                <a:lnTo>
                  <a:pt x="1496" y="770"/>
                </a:lnTo>
                <a:lnTo>
                  <a:pt x="1500" y="767"/>
                </a:lnTo>
                <a:lnTo>
                  <a:pt x="1504" y="766"/>
                </a:lnTo>
                <a:lnTo>
                  <a:pt x="1507" y="766"/>
                </a:lnTo>
                <a:lnTo>
                  <a:pt x="1510" y="767"/>
                </a:lnTo>
                <a:lnTo>
                  <a:pt x="1516" y="772"/>
                </a:lnTo>
                <a:lnTo>
                  <a:pt x="1524" y="777"/>
                </a:lnTo>
                <a:lnTo>
                  <a:pt x="1528" y="779"/>
                </a:lnTo>
                <a:lnTo>
                  <a:pt x="1531" y="782"/>
                </a:lnTo>
                <a:lnTo>
                  <a:pt x="1533" y="785"/>
                </a:lnTo>
                <a:lnTo>
                  <a:pt x="1534" y="789"/>
                </a:lnTo>
                <a:lnTo>
                  <a:pt x="1534" y="795"/>
                </a:lnTo>
                <a:lnTo>
                  <a:pt x="1533" y="801"/>
                </a:lnTo>
                <a:lnTo>
                  <a:pt x="1534" y="804"/>
                </a:lnTo>
                <a:lnTo>
                  <a:pt x="1536" y="807"/>
                </a:lnTo>
                <a:lnTo>
                  <a:pt x="1540" y="811"/>
                </a:lnTo>
                <a:lnTo>
                  <a:pt x="1546" y="813"/>
                </a:lnTo>
                <a:lnTo>
                  <a:pt x="1557" y="819"/>
                </a:lnTo>
                <a:lnTo>
                  <a:pt x="1565" y="822"/>
                </a:lnTo>
                <a:lnTo>
                  <a:pt x="1567" y="822"/>
                </a:lnTo>
                <a:lnTo>
                  <a:pt x="1569" y="820"/>
                </a:lnTo>
                <a:lnTo>
                  <a:pt x="1570" y="817"/>
                </a:lnTo>
                <a:lnTo>
                  <a:pt x="1571" y="811"/>
                </a:lnTo>
                <a:lnTo>
                  <a:pt x="1572" y="802"/>
                </a:lnTo>
                <a:lnTo>
                  <a:pt x="1572" y="795"/>
                </a:lnTo>
                <a:lnTo>
                  <a:pt x="1571" y="787"/>
                </a:lnTo>
                <a:lnTo>
                  <a:pt x="1570" y="779"/>
                </a:lnTo>
                <a:lnTo>
                  <a:pt x="1566" y="763"/>
                </a:lnTo>
                <a:lnTo>
                  <a:pt x="1560" y="748"/>
                </a:lnTo>
                <a:lnTo>
                  <a:pt x="1557" y="739"/>
                </a:lnTo>
                <a:lnTo>
                  <a:pt x="1551" y="732"/>
                </a:lnTo>
                <a:lnTo>
                  <a:pt x="1544" y="724"/>
                </a:lnTo>
                <a:lnTo>
                  <a:pt x="1534" y="716"/>
                </a:lnTo>
                <a:lnTo>
                  <a:pt x="1514" y="702"/>
                </a:lnTo>
                <a:lnTo>
                  <a:pt x="1497" y="689"/>
                </a:lnTo>
                <a:lnTo>
                  <a:pt x="1489" y="683"/>
                </a:lnTo>
                <a:lnTo>
                  <a:pt x="1483" y="678"/>
                </a:lnTo>
                <a:lnTo>
                  <a:pt x="1479" y="671"/>
                </a:lnTo>
                <a:lnTo>
                  <a:pt x="1475" y="666"/>
                </a:lnTo>
                <a:lnTo>
                  <a:pt x="1469" y="657"/>
                </a:lnTo>
                <a:lnTo>
                  <a:pt x="1464" y="651"/>
                </a:lnTo>
                <a:lnTo>
                  <a:pt x="1459" y="649"/>
                </a:lnTo>
                <a:lnTo>
                  <a:pt x="1453" y="648"/>
                </a:lnTo>
                <a:lnTo>
                  <a:pt x="1449" y="648"/>
                </a:lnTo>
                <a:lnTo>
                  <a:pt x="1445" y="649"/>
                </a:lnTo>
                <a:lnTo>
                  <a:pt x="1442" y="651"/>
                </a:lnTo>
                <a:lnTo>
                  <a:pt x="1438" y="653"/>
                </a:lnTo>
                <a:lnTo>
                  <a:pt x="1426" y="660"/>
                </a:lnTo>
                <a:lnTo>
                  <a:pt x="1423" y="662"/>
                </a:lnTo>
                <a:close/>
                <a:moveTo>
                  <a:pt x="1256" y="767"/>
                </a:moveTo>
                <a:lnTo>
                  <a:pt x="1259" y="771"/>
                </a:lnTo>
                <a:lnTo>
                  <a:pt x="1265" y="774"/>
                </a:lnTo>
                <a:lnTo>
                  <a:pt x="1271" y="776"/>
                </a:lnTo>
                <a:lnTo>
                  <a:pt x="1279" y="777"/>
                </a:lnTo>
                <a:lnTo>
                  <a:pt x="1291" y="777"/>
                </a:lnTo>
                <a:lnTo>
                  <a:pt x="1296" y="777"/>
                </a:lnTo>
                <a:lnTo>
                  <a:pt x="1303" y="779"/>
                </a:lnTo>
                <a:lnTo>
                  <a:pt x="1316" y="782"/>
                </a:lnTo>
                <a:lnTo>
                  <a:pt x="1324" y="782"/>
                </a:lnTo>
                <a:lnTo>
                  <a:pt x="1331" y="782"/>
                </a:lnTo>
                <a:lnTo>
                  <a:pt x="1333" y="781"/>
                </a:lnTo>
                <a:lnTo>
                  <a:pt x="1335" y="780"/>
                </a:lnTo>
                <a:lnTo>
                  <a:pt x="1336" y="778"/>
                </a:lnTo>
                <a:lnTo>
                  <a:pt x="1337" y="776"/>
                </a:lnTo>
                <a:lnTo>
                  <a:pt x="1337" y="771"/>
                </a:lnTo>
                <a:lnTo>
                  <a:pt x="1336" y="763"/>
                </a:lnTo>
                <a:lnTo>
                  <a:pt x="1334" y="755"/>
                </a:lnTo>
                <a:lnTo>
                  <a:pt x="1332" y="747"/>
                </a:lnTo>
                <a:lnTo>
                  <a:pt x="1329" y="739"/>
                </a:lnTo>
                <a:lnTo>
                  <a:pt x="1326" y="733"/>
                </a:lnTo>
                <a:lnTo>
                  <a:pt x="1322" y="728"/>
                </a:lnTo>
                <a:lnTo>
                  <a:pt x="1317" y="725"/>
                </a:lnTo>
                <a:lnTo>
                  <a:pt x="1314" y="725"/>
                </a:lnTo>
                <a:lnTo>
                  <a:pt x="1312" y="725"/>
                </a:lnTo>
                <a:lnTo>
                  <a:pt x="1310" y="727"/>
                </a:lnTo>
                <a:lnTo>
                  <a:pt x="1309" y="729"/>
                </a:lnTo>
                <a:lnTo>
                  <a:pt x="1307" y="732"/>
                </a:lnTo>
                <a:lnTo>
                  <a:pt x="1305" y="736"/>
                </a:lnTo>
                <a:lnTo>
                  <a:pt x="1302" y="739"/>
                </a:lnTo>
                <a:lnTo>
                  <a:pt x="1296" y="744"/>
                </a:lnTo>
                <a:lnTo>
                  <a:pt x="1283" y="751"/>
                </a:lnTo>
                <a:lnTo>
                  <a:pt x="1269" y="759"/>
                </a:lnTo>
                <a:lnTo>
                  <a:pt x="1259" y="766"/>
                </a:lnTo>
                <a:lnTo>
                  <a:pt x="1256" y="767"/>
                </a:lnTo>
                <a:close/>
                <a:moveTo>
                  <a:pt x="1218" y="819"/>
                </a:moveTo>
                <a:lnTo>
                  <a:pt x="1227" y="822"/>
                </a:lnTo>
                <a:lnTo>
                  <a:pt x="1239" y="824"/>
                </a:lnTo>
                <a:lnTo>
                  <a:pt x="1245" y="825"/>
                </a:lnTo>
                <a:lnTo>
                  <a:pt x="1249" y="827"/>
                </a:lnTo>
                <a:lnTo>
                  <a:pt x="1251" y="830"/>
                </a:lnTo>
                <a:lnTo>
                  <a:pt x="1252" y="831"/>
                </a:lnTo>
                <a:lnTo>
                  <a:pt x="1254" y="833"/>
                </a:lnTo>
                <a:lnTo>
                  <a:pt x="1254" y="836"/>
                </a:lnTo>
                <a:lnTo>
                  <a:pt x="1254" y="839"/>
                </a:lnTo>
                <a:lnTo>
                  <a:pt x="1255" y="841"/>
                </a:lnTo>
                <a:lnTo>
                  <a:pt x="1256" y="844"/>
                </a:lnTo>
                <a:lnTo>
                  <a:pt x="1258" y="847"/>
                </a:lnTo>
                <a:lnTo>
                  <a:pt x="1262" y="853"/>
                </a:lnTo>
                <a:lnTo>
                  <a:pt x="1268" y="857"/>
                </a:lnTo>
                <a:lnTo>
                  <a:pt x="1281" y="865"/>
                </a:lnTo>
                <a:lnTo>
                  <a:pt x="1291" y="870"/>
                </a:lnTo>
                <a:lnTo>
                  <a:pt x="1293" y="871"/>
                </a:lnTo>
                <a:lnTo>
                  <a:pt x="1295" y="870"/>
                </a:lnTo>
                <a:lnTo>
                  <a:pt x="1299" y="868"/>
                </a:lnTo>
                <a:lnTo>
                  <a:pt x="1301" y="865"/>
                </a:lnTo>
                <a:lnTo>
                  <a:pt x="1307" y="858"/>
                </a:lnTo>
                <a:lnTo>
                  <a:pt x="1312" y="848"/>
                </a:lnTo>
                <a:lnTo>
                  <a:pt x="1322" y="831"/>
                </a:lnTo>
                <a:lnTo>
                  <a:pt x="1326" y="822"/>
                </a:lnTo>
                <a:lnTo>
                  <a:pt x="1331" y="820"/>
                </a:lnTo>
                <a:lnTo>
                  <a:pt x="1340" y="816"/>
                </a:lnTo>
                <a:lnTo>
                  <a:pt x="1345" y="813"/>
                </a:lnTo>
                <a:lnTo>
                  <a:pt x="1349" y="810"/>
                </a:lnTo>
                <a:lnTo>
                  <a:pt x="1350" y="807"/>
                </a:lnTo>
                <a:lnTo>
                  <a:pt x="1350" y="806"/>
                </a:lnTo>
                <a:lnTo>
                  <a:pt x="1350" y="805"/>
                </a:lnTo>
                <a:lnTo>
                  <a:pt x="1349" y="804"/>
                </a:lnTo>
                <a:lnTo>
                  <a:pt x="1343" y="799"/>
                </a:lnTo>
                <a:lnTo>
                  <a:pt x="1334" y="795"/>
                </a:lnTo>
                <a:lnTo>
                  <a:pt x="1328" y="795"/>
                </a:lnTo>
                <a:lnTo>
                  <a:pt x="1322" y="795"/>
                </a:lnTo>
                <a:lnTo>
                  <a:pt x="1312" y="797"/>
                </a:lnTo>
                <a:lnTo>
                  <a:pt x="1302" y="801"/>
                </a:lnTo>
                <a:lnTo>
                  <a:pt x="1291" y="805"/>
                </a:lnTo>
                <a:lnTo>
                  <a:pt x="1285" y="810"/>
                </a:lnTo>
                <a:lnTo>
                  <a:pt x="1280" y="814"/>
                </a:lnTo>
                <a:lnTo>
                  <a:pt x="1278" y="817"/>
                </a:lnTo>
                <a:lnTo>
                  <a:pt x="1276" y="819"/>
                </a:lnTo>
                <a:lnTo>
                  <a:pt x="1273" y="819"/>
                </a:lnTo>
                <a:lnTo>
                  <a:pt x="1271" y="819"/>
                </a:lnTo>
                <a:lnTo>
                  <a:pt x="1268" y="816"/>
                </a:lnTo>
                <a:lnTo>
                  <a:pt x="1262" y="814"/>
                </a:lnTo>
                <a:lnTo>
                  <a:pt x="1255" y="814"/>
                </a:lnTo>
                <a:lnTo>
                  <a:pt x="1246" y="814"/>
                </a:lnTo>
                <a:lnTo>
                  <a:pt x="1237" y="815"/>
                </a:lnTo>
                <a:lnTo>
                  <a:pt x="1223" y="818"/>
                </a:lnTo>
                <a:lnTo>
                  <a:pt x="1218" y="819"/>
                </a:lnTo>
                <a:close/>
                <a:moveTo>
                  <a:pt x="1081" y="1008"/>
                </a:moveTo>
                <a:lnTo>
                  <a:pt x="1077" y="1008"/>
                </a:lnTo>
                <a:lnTo>
                  <a:pt x="1074" y="1010"/>
                </a:lnTo>
                <a:lnTo>
                  <a:pt x="1070" y="1012"/>
                </a:lnTo>
                <a:lnTo>
                  <a:pt x="1067" y="1014"/>
                </a:lnTo>
                <a:lnTo>
                  <a:pt x="1063" y="1015"/>
                </a:lnTo>
                <a:lnTo>
                  <a:pt x="1059" y="1016"/>
                </a:lnTo>
                <a:lnTo>
                  <a:pt x="1054" y="1016"/>
                </a:lnTo>
                <a:lnTo>
                  <a:pt x="1051" y="1014"/>
                </a:lnTo>
                <a:lnTo>
                  <a:pt x="1048" y="1010"/>
                </a:lnTo>
                <a:lnTo>
                  <a:pt x="1046" y="1003"/>
                </a:lnTo>
                <a:lnTo>
                  <a:pt x="1045" y="996"/>
                </a:lnTo>
                <a:lnTo>
                  <a:pt x="1045" y="989"/>
                </a:lnTo>
                <a:lnTo>
                  <a:pt x="1045" y="980"/>
                </a:lnTo>
                <a:lnTo>
                  <a:pt x="1046" y="974"/>
                </a:lnTo>
                <a:lnTo>
                  <a:pt x="1048" y="969"/>
                </a:lnTo>
                <a:lnTo>
                  <a:pt x="1050" y="967"/>
                </a:lnTo>
                <a:lnTo>
                  <a:pt x="1066" y="954"/>
                </a:lnTo>
                <a:lnTo>
                  <a:pt x="1096" y="927"/>
                </a:lnTo>
                <a:lnTo>
                  <a:pt x="1126" y="898"/>
                </a:lnTo>
                <a:lnTo>
                  <a:pt x="1142" y="882"/>
                </a:lnTo>
                <a:lnTo>
                  <a:pt x="1151" y="875"/>
                </a:lnTo>
                <a:lnTo>
                  <a:pt x="1163" y="865"/>
                </a:lnTo>
                <a:lnTo>
                  <a:pt x="1176" y="856"/>
                </a:lnTo>
                <a:lnTo>
                  <a:pt x="1187" y="849"/>
                </a:lnTo>
                <a:lnTo>
                  <a:pt x="1192" y="846"/>
                </a:lnTo>
                <a:lnTo>
                  <a:pt x="1195" y="843"/>
                </a:lnTo>
                <a:lnTo>
                  <a:pt x="1198" y="839"/>
                </a:lnTo>
                <a:lnTo>
                  <a:pt x="1200" y="836"/>
                </a:lnTo>
                <a:lnTo>
                  <a:pt x="1201" y="834"/>
                </a:lnTo>
                <a:lnTo>
                  <a:pt x="1203" y="834"/>
                </a:lnTo>
                <a:lnTo>
                  <a:pt x="1204" y="836"/>
                </a:lnTo>
                <a:lnTo>
                  <a:pt x="1205" y="841"/>
                </a:lnTo>
                <a:lnTo>
                  <a:pt x="1206" y="855"/>
                </a:lnTo>
                <a:lnTo>
                  <a:pt x="1207" y="866"/>
                </a:lnTo>
                <a:lnTo>
                  <a:pt x="1206" y="876"/>
                </a:lnTo>
                <a:lnTo>
                  <a:pt x="1204" y="882"/>
                </a:lnTo>
                <a:lnTo>
                  <a:pt x="1200" y="887"/>
                </a:lnTo>
                <a:lnTo>
                  <a:pt x="1194" y="896"/>
                </a:lnTo>
                <a:lnTo>
                  <a:pt x="1191" y="900"/>
                </a:lnTo>
                <a:lnTo>
                  <a:pt x="1189" y="904"/>
                </a:lnTo>
                <a:lnTo>
                  <a:pt x="1186" y="909"/>
                </a:lnTo>
                <a:lnTo>
                  <a:pt x="1186" y="912"/>
                </a:lnTo>
                <a:lnTo>
                  <a:pt x="1187" y="922"/>
                </a:lnTo>
                <a:lnTo>
                  <a:pt x="1189" y="932"/>
                </a:lnTo>
                <a:lnTo>
                  <a:pt x="1189" y="938"/>
                </a:lnTo>
                <a:lnTo>
                  <a:pt x="1187" y="944"/>
                </a:lnTo>
                <a:lnTo>
                  <a:pt x="1185" y="950"/>
                </a:lnTo>
                <a:lnTo>
                  <a:pt x="1181" y="955"/>
                </a:lnTo>
                <a:lnTo>
                  <a:pt x="1174" y="966"/>
                </a:lnTo>
                <a:lnTo>
                  <a:pt x="1169" y="975"/>
                </a:lnTo>
                <a:lnTo>
                  <a:pt x="1165" y="979"/>
                </a:lnTo>
                <a:lnTo>
                  <a:pt x="1163" y="981"/>
                </a:lnTo>
                <a:lnTo>
                  <a:pt x="1162" y="981"/>
                </a:lnTo>
                <a:lnTo>
                  <a:pt x="1161" y="981"/>
                </a:lnTo>
                <a:lnTo>
                  <a:pt x="1159" y="980"/>
                </a:lnTo>
                <a:lnTo>
                  <a:pt x="1158" y="979"/>
                </a:lnTo>
                <a:lnTo>
                  <a:pt x="1155" y="974"/>
                </a:lnTo>
                <a:lnTo>
                  <a:pt x="1153" y="968"/>
                </a:lnTo>
                <a:lnTo>
                  <a:pt x="1152" y="959"/>
                </a:lnTo>
                <a:lnTo>
                  <a:pt x="1151" y="952"/>
                </a:lnTo>
                <a:lnTo>
                  <a:pt x="1149" y="946"/>
                </a:lnTo>
                <a:lnTo>
                  <a:pt x="1148" y="942"/>
                </a:lnTo>
                <a:lnTo>
                  <a:pt x="1147" y="941"/>
                </a:lnTo>
                <a:lnTo>
                  <a:pt x="1145" y="941"/>
                </a:lnTo>
                <a:lnTo>
                  <a:pt x="1143" y="942"/>
                </a:lnTo>
                <a:lnTo>
                  <a:pt x="1141" y="944"/>
                </a:lnTo>
                <a:lnTo>
                  <a:pt x="1134" y="954"/>
                </a:lnTo>
                <a:lnTo>
                  <a:pt x="1128" y="966"/>
                </a:lnTo>
                <a:lnTo>
                  <a:pt x="1121" y="977"/>
                </a:lnTo>
                <a:lnTo>
                  <a:pt x="1116" y="990"/>
                </a:lnTo>
                <a:lnTo>
                  <a:pt x="1110" y="1003"/>
                </a:lnTo>
                <a:lnTo>
                  <a:pt x="1105" y="1017"/>
                </a:lnTo>
                <a:lnTo>
                  <a:pt x="1103" y="1022"/>
                </a:lnTo>
                <a:lnTo>
                  <a:pt x="1099" y="1026"/>
                </a:lnTo>
                <a:lnTo>
                  <a:pt x="1096" y="1029"/>
                </a:lnTo>
                <a:lnTo>
                  <a:pt x="1093" y="1030"/>
                </a:lnTo>
                <a:lnTo>
                  <a:pt x="1092" y="1030"/>
                </a:lnTo>
                <a:lnTo>
                  <a:pt x="1091" y="1029"/>
                </a:lnTo>
                <a:lnTo>
                  <a:pt x="1090" y="1026"/>
                </a:lnTo>
                <a:lnTo>
                  <a:pt x="1089" y="1025"/>
                </a:lnTo>
                <a:lnTo>
                  <a:pt x="1089" y="1021"/>
                </a:lnTo>
                <a:lnTo>
                  <a:pt x="1089" y="1016"/>
                </a:lnTo>
                <a:lnTo>
                  <a:pt x="1091" y="1008"/>
                </a:lnTo>
                <a:lnTo>
                  <a:pt x="1092" y="1004"/>
                </a:lnTo>
                <a:lnTo>
                  <a:pt x="1087" y="1007"/>
                </a:lnTo>
                <a:lnTo>
                  <a:pt x="1081" y="1008"/>
                </a:lnTo>
                <a:close/>
                <a:moveTo>
                  <a:pt x="1139" y="1050"/>
                </a:moveTo>
                <a:lnTo>
                  <a:pt x="1146" y="1045"/>
                </a:lnTo>
                <a:lnTo>
                  <a:pt x="1153" y="1040"/>
                </a:lnTo>
                <a:lnTo>
                  <a:pt x="1156" y="1037"/>
                </a:lnTo>
                <a:lnTo>
                  <a:pt x="1158" y="1032"/>
                </a:lnTo>
                <a:lnTo>
                  <a:pt x="1159" y="1026"/>
                </a:lnTo>
                <a:lnTo>
                  <a:pt x="1159" y="1020"/>
                </a:lnTo>
                <a:lnTo>
                  <a:pt x="1158" y="1008"/>
                </a:lnTo>
                <a:lnTo>
                  <a:pt x="1158" y="997"/>
                </a:lnTo>
                <a:lnTo>
                  <a:pt x="1157" y="994"/>
                </a:lnTo>
                <a:lnTo>
                  <a:pt x="1157" y="992"/>
                </a:lnTo>
                <a:lnTo>
                  <a:pt x="1156" y="992"/>
                </a:lnTo>
                <a:lnTo>
                  <a:pt x="1154" y="994"/>
                </a:lnTo>
                <a:lnTo>
                  <a:pt x="1138" y="1011"/>
                </a:lnTo>
                <a:lnTo>
                  <a:pt x="1125" y="1024"/>
                </a:lnTo>
                <a:lnTo>
                  <a:pt x="1125" y="1028"/>
                </a:lnTo>
                <a:lnTo>
                  <a:pt x="1125" y="1031"/>
                </a:lnTo>
                <a:lnTo>
                  <a:pt x="1126" y="1035"/>
                </a:lnTo>
                <a:lnTo>
                  <a:pt x="1127" y="1039"/>
                </a:lnTo>
                <a:lnTo>
                  <a:pt x="1129" y="1046"/>
                </a:lnTo>
                <a:lnTo>
                  <a:pt x="1130" y="1051"/>
                </a:lnTo>
                <a:lnTo>
                  <a:pt x="1135" y="1050"/>
                </a:lnTo>
                <a:lnTo>
                  <a:pt x="1139" y="1050"/>
                </a:lnTo>
                <a:close/>
                <a:moveTo>
                  <a:pt x="1169" y="1063"/>
                </a:moveTo>
                <a:lnTo>
                  <a:pt x="1172" y="1067"/>
                </a:lnTo>
                <a:lnTo>
                  <a:pt x="1177" y="1072"/>
                </a:lnTo>
                <a:lnTo>
                  <a:pt x="1185" y="1076"/>
                </a:lnTo>
                <a:lnTo>
                  <a:pt x="1194" y="1080"/>
                </a:lnTo>
                <a:lnTo>
                  <a:pt x="1203" y="1084"/>
                </a:lnTo>
                <a:lnTo>
                  <a:pt x="1212" y="1086"/>
                </a:lnTo>
                <a:lnTo>
                  <a:pt x="1218" y="1087"/>
                </a:lnTo>
                <a:lnTo>
                  <a:pt x="1221" y="1086"/>
                </a:lnTo>
                <a:lnTo>
                  <a:pt x="1228" y="1079"/>
                </a:lnTo>
                <a:lnTo>
                  <a:pt x="1239" y="1068"/>
                </a:lnTo>
                <a:lnTo>
                  <a:pt x="1244" y="1063"/>
                </a:lnTo>
                <a:lnTo>
                  <a:pt x="1248" y="1060"/>
                </a:lnTo>
                <a:lnTo>
                  <a:pt x="1250" y="1059"/>
                </a:lnTo>
                <a:lnTo>
                  <a:pt x="1252" y="1059"/>
                </a:lnTo>
                <a:lnTo>
                  <a:pt x="1254" y="1059"/>
                </a:lnTo>
                <a:lnTo>
                  <a:pt x="1255" y="1060"/>
                </a:lnTo>
                <a:lnTo>
                  <a:pt x="1257" y="1063"/>
                </a:lnTo>
                <a:lnTo>
                  <a:pt x="1260" y="1065"/>
                </a:lnTo>
                <a:lnTo>
                  <a:pt x="1264" y="1067"/>
                </a:lnTo>
                <a:lnTo>
                  <a:pt x="1269" y="1068"/>
                </a:lnTo>
                <a:lnTo>
                  <a:pt x="1280" y="1070"/>
                </a:lnTo>
                <a:lnTo>
                  <a:pt x="1287" y="1072"/>
                </a:lnTo>
                <a:lnTo>
                  <a:pt x="1294" y="1073"/>
                </a:lnTo>
                <a:lnTo>
                  <a:pt x="1304" y="1074"/>
                </a:lnTo>
                <a:lnTo>
                  <a:pt x="1307" y="1075"/>
                </a:lnTo>
                <a:lnTo>
                  <a:pt x="1310" y="1076"/>
                </a:lnTo>
                <a:lnTo>
                  <a:pt x="1311" y="1077"/>
                </a:lnTo>
                <a:lnTo>
                  <a:pt x="1310" y="1079"/>
                </a:lnTo>
                <a:lnTo>
                  <a:pt x="1306" y="1081"/>
                </a:lnTo>
                <a:lnTo>
                  <a:pt x="1302" y="1082"/>
                </a:lnTo>
                <a:lnTo>
                  <a:pt x="1295" y="1083"/>
                </a:lnTo>
                <a:lnTo>
                  <a:pt x="1289" y="1084"/>
                </a:lnTo>
                <a:lnTo>
                  <a:pt x="1282" y="1085"/>
                </a:lnTo>
                <a:lnTo>
                  <a:pt x="1276" y="1086"/>
                </a:lnTo>
                <a:lnTo>
                  <a:pt x="1271" y="1089"/>
                </a:lnTo>
                <a:lnTo>
                  <a:pt x="1268" y="1094"/>
                </a:lnTo>
                <a:lnTo>
                  <a:pt x="1264" y="1098"/>
                </a:lnTo>
                <a:lnTo>
                  <a:pt x="1259" y="1102"/>
                </a:lnTo>
                <a:lnTo>
                  <a:pt x="1251" y="1106"/>
                </a:lnTo>
                <a:lnTo>
                  <a:pt x="1245" y="1110"/>
                </a:lnTo>
                <a:lnTo>
                  <a:pt x="1238" y="1114"/>
                </a:lnTo>
                <a:lnTo>
                  <a:pt x="1233" y="1118"/>
                </a:lnTo>
                <a:lnTo>
                  <a:pt x="1229" y="1121"/>
                </a:lnTo>
                <a:lnTo>
                  <a:pt x="1228" y="1123"/>
                </a:lnTo>
                <a:lnTo>
                  <a:pt x="1230" y="1125"/>
                </a:lnTo>
                <a:lnTo>
                  <a:pt x="1234" y="1128"/>
                </a:lnTo>
                <a:lnTo>
                  <a:pt x="1239" y="1130"/>
                </a:lnTo>
                <a:lnTo>
                  <a:pt x="1244" y="1133"/>
                </a:lnTo>
                <a:lnTo>
                  <a:pt x="1249" y="1134"/>
                </a:lnTo>
                <a:lnTo>
                  <a:pt x="1256" y="1136"/>
                </a:lnTo>
                <a:lnTo>
                  <a:pt x="1261" y="1138"/>
                </a:lnTo>
                <a:lnTo>
                  <a:pt x="1267" y="1138"/>
                </a:lnTo>
                <a:lnTo>
                  <a:pt x="1277" y="1138"/>
                </a:lnTo>
                <a:lnTo>
                  <a:pt x="1286" y="1139"/>
                </a:lnTo>
                <a:lnTo>
                  <a:pt x="1291" y="1138"/>
                </a:lnTo>
                <a:lnTo>
                  <a:pt x="1296" y="1135"/>
                </a:lnTo>
                <a:lnTo>
                  <a:pt x="1303" y="1130"/>
                </a:lnTo>
                <a:lnTo>
                  <a:pt x="1311" y="1123"/>
                </a:lnTo>
                <a:lnTo>
                  <a:pt x="1326" y="1105"/>
                </a:lnTo>
                <a:lnTo>
                  <a:pt x="1338" y="1090"/>
                </a:lnTo>
                <a:lnTo>
                  <a:pt x="1344" y="1085"/>
                </a:lnTo>
                <a:lnTo>
                  <a:pt x="1349" y="1082"/>
                </a:lnTo>
                <a:lnTo>
                  <a:pt x="1351" y="1081"/>
                </a:lnTo>
                <a:lnTo>
                  <a:pt x="1353" y="1080"/>
                </a:lnTo>
                <a:lnTo>
                  <a:pt x="1356" y="1081"/>
                </a:lnTo>
                <a:lnTo>
                  <a:pt x="1358" y="1082"/>
                </a:lnTo>
                <a:lnTo>
                  <a:pt x="1365" y="1089"/>
                </a:lnTo>
                <a:lnTo>
                  <a:pt x="1369" y="1096"/>
                </a:lnTo>
                <a:lnTo>
                  <a:pt x="1370" y="1098"/>
                </a:lnTo>
                <a:lnTo>
                  <a:pt x="1372" y="1100"/>
                </a:lnTo>
                <a:lnTo>
                  <a:pt x="1374" y="1100"/>
                </a:lnTo>
                <a:lnTo>
                  <a:pt x="1377" y="1099"/>
                </a:lnTo>
                <a:lnTo>
                  <a:pt x="1381" y="1097"/>
                </a:lnTo>
                <a:lnTo>
                  <a:pt x="1386" y="1096"/>
                </a:lnTo>
                <a:lnTo>
                  <a:pt x="1390" y="1096"/>
                </a:lnTo>
                <a:lnTo>
                  <a:pt x="1394" y="1096"/>
                </a:lnTo>
                <a:lnTo>
                  <a:pt x="1400" y="1097"/>
                </a:lnTo>
                <a:lnTo>
                  <a:pt x="1403" y="1098"/>
                </a:lnTo>
                <a:lnTo>
                  <a:pt x="1404" y="1099"/>
                </a:lnTo>
                <a:lnTo>
                  <a:pt x="1408" y="1102"/>
                </a:lnTo>
                <a:lnTo>
                  <a:pt x="1410" y="1103"/>
                </a:lnTo>
                <a:lnTo>
                  <a:pt x="1412" y="1103"/>
                </a:lnTo>
                <a:lnTo>
                  <a:pt x="1414" y="1101"/>
                </a:lnTo>
                <a:lnTo>
                  <a:pt x="1415" y="1098"/>
                </a:lnTo>
                <a:lnTo>
                  <a:pt x="1420" y="1086"/>
                </a:lnTo>
                <a:lnTo>
                  <a:pt x="1424" y="1076"/>
                </a:lnTo>
                <a:lnTo>
                  <a:pt x="1427" y="1067"/>
                </a:lnTo>
                <a:lnTo>
                  <a:pt x="1428" y="1064"/>
                </a:lnTo>
                <a:lnTo>
                  <a:pt x="1431" y="1062"/>
                </a:lnTo>
                <a:lnTo>
                  <a:pt x="1436" y="1055"/>
                </a:lnTo>
                <a:lnTo>
                  <a:pt x="1438" y="1050"/>
                </a:lnTo>
                <a:lnTo>
                  <a:pt x="1439" y="1043"/>
                </a:lnTo>
                <a:lnTo>
                  <a:pt x="1439" y="1036"/>
                </a:lnTo>
                <a:lnTo>
                  <a:pt x="1437" y="1029"/>
                </a:lnTo>
                <a:lnTo>
                  <a:pt x="1433" y="1012"/>
                </a:lnTo>
                <a:lnTo>
                  <a:pt x="1427" y="996"/>
                </a:lnTo>
                <a:lnTo>
                  <a:pt x="1426" y="993"/>
                </a:lnTo>
                <a:lnTo>
                  <a:pt x="1425" y="991"/>
                </a:lnTo>
                <a:lnTo>
                  <a:pt x="1423" y="990"/>
                </a:lnTo>
                <a:lnTo>
                  <a:pt x="1421" y="989"/>
                </a:lnTo>
                <a:lnTo>
                  <a:pt x="1419" y="989"/>
                </a:lnTo>
                <a:lnTo>
                  <a:pt x="1417" y="990"/>
                </a:lnTo>
                <a:lnTo>
                  <a:pt x="1414" y="992"/>
                </a:lnTo>
                <a:lnTo>
                  <a:pt x="1412" y="996"/>
                </a:lnTo>
                <a:lnTo>
                  <a:pt x="1401" y="1008"/>
                </a:lnTo>
                <a:lnTo>
                  <a:pt x="1396" y="1013"/>
                </a:lnTo>
                <a:lnTo>
                  <a:pt x="1394" y="1012"/>
                </a:lnTo>
                <a:lnTo>
                  <a:pt x="1393" y="1011"/>
                </a:lnTo>
                <a:lnTo>
                  <a:pt x="1391" y="1009"/>
                </a:lnTo>
                <a:lnTo>
                  <a:pt x="1389" y="1006"/>
                </a:lnTo>
                <a:lnTo>
                  <a:pt x="1382" y="996"/>
                </a:lnTo>
                <a:lnTo>
                  <a:pt x="1375" y="985"/>
                </a:lnTo>
                <a:lnTo>
                  <a:pt x="1371" y="979"/>
                </a:lnTo>
                <a:lnTo>
                  <a:pt x="1369" y="974"/>
                </a:lnTo>
                <a:lnTo>
                  <a:pt x="1368" y="970"/>
                </a:lnTo>
                <a:lnTo>
                  <a:pt x="1368" y="966"/>
                </a:lnTo>
                <a:lnTo>
                  <a:pt x="1371" y="958"/>
                </a:lnTo>
                <a:lnTo>
                  <a:pt x="1374" y="950"/>
                </a:lnTo>
                <a:lnTo>
                  <a:pt x="1374" y="945"/>
                </a:lnTo>
                <a:lnTo>
                  <a:pt x="1373" y="941"/>
                </a:lnTo>
                <a:lnTo>
                  <a:pt x="1371" y="936"/>
                </a:lnTo>
                <a:lnTo>
                  <a:pt x="1368" y="932"/>
                </a:lnTo>
                <a:lnTo>
                  <a:pt x="1365" y="929"/>
                </a:lnTo>
                <a:lnTo>
                  <a:pt x="1361" y="927"/>
                </a:lnTo>
                <a:lnTo>
                  <a:pt x="1359" y="927"/>
                </a:lnTo>
                <a:lnTo>
                  <a:pt x="1356" y="927"/>
                </a:lnTo>
                <a:lnTo>
                  <a:pt x="1350" y="931"/>
                </a:lnTo>
                <a:lnTo>
                  <a:pt x="1340" y="937"/>
                </a:lnTo>
                <a:lnTo>
                  <a:pt x="1335" y="942"/>
                </a:lnTo>
                <a:lnTo>
                  <a:pt x="1332" y="946"/>
                </a:lnTo>
                <a:lnTo>
                  <a:pt x="1329" y="951"/>
                </a:lnTo>
                <a:lnTo>
                  <a:pt x="1328" y="955"/>
                </a:lnTo>
                <a:lnTo>
                  <a:pt x="1328" y="963"/>
                </a:lnTo>
                <a:lnTo>
                  <a:pt x="1328" y="966"/>
                </a:lnTo>
                <a:lnTo>
                  <a:pt x="1331" y="970"/>
                </a:lnTo>
                <a:lnTo>
                  <a:pt x="1336" y="978"/>
                </a:lnTo>
                <a:lnTo>
                  <a:pt x="1342" y="989"/>
                </a:lnTo>
                <a:lnTo>
                  <a:pt x="1344" y="997"/>
                </a:lnTo>
                <a:lnTo>
                  <a:pt x="1343" y="999"/>
                </a:lnTo>
                <a:lnTo>
                  <a:pt x="1342" y="1002"/>
                </a:lnTo>
                <a:lnTo>
                  <a:pt x="1339" y="1004"/>
                </a:lnTo>
                <a:lnTo>
                  <a:pt x="1337" y="1007"/>
                </a:lnTo>
                <a:lnTo>
                  <a:pt x="1336" y="1009"/>
                </a:lnTo>
                <a:lnTo>
                  <a:pt x="1335" y="1011"/>
                </a:lnTo>
                <a:lnTo>
                  <a:pt x="1335" y="1013"/>
                </a:lnTo>
                <a:lnTo>
                  <a:pt x="1336" y="1015"/>
                </a:lnTo>
                <a:lnTo>
                  <a:pt x="1339" y="1017"/>
                </a:lnTo>
                <a:lnTo>
                  <a:pt x="1342" y="1019"/>
                </a:lnTo>
                <a:lnTo>
                  <a:pt x="1345" y="1019"/>
                </a:lnTo>
                <a:lnTo>
                  <a:pt x="1348" y="1020"/>
                </a:lnTo>
                <a:lnTo>
                  <a:pt x="1351" y="1020"/>
                </a:lnTo>
                <a:lnTo>
                  <a:pt x="1352" y="1022"/>
                </a:lnTo>
                <a:lnTo>
                  <a:pt x="1353" y="1024"/>
                </a:lnTo>
                <a:lnTo>
                  <a:pt x="1353" y="1028"/>
                </a:lnTo>
                <a:lnTo>
                  <a:pt x="1350" y="1038"/>
                </a:lnTo>
                <a:lnTo>
                  <a:pt x="1346" y="1050"/>
                </a:lnTo>
                <a:lnTo>
                  <a:pt x="1344" y="1055"/>
                </a:lnTo>
                <a:lnTo>
                  <a:pt x="1340" y="1057"/>
                </a:lnTo>
                <a:lnTo>
                  <a:pt x="1339" y="1058"/>
                </a:lnTo>
                <a:lnTo>
                  <a:pt x="1337" y="1058"/>
                </a:lnTo>
                <a:lnTo>
                  <a:pt x="1336" y="1058"/>
                </a:lnTo>
                <a:lnTo>
                  <a:pt x="1334" y="1056"/>
                </a:lnTo>
                <a:lnTo>
                  <a:pt x="1325" y="1048"/>
                </a:lnTo>
                <a:lnTo>
                  <a:pt x="1313" y="1039"/>
                </a:lnTo>
                <a:lnTo>
                  <a:pt x="1302" y="1032"/>
                </a:lnTo>
                <a:lnTo>
                  <a:pt x="1295" y="1025"/>
                </a:lnTo>
                <a:lnTo>
                  <a:pt x="1292" y="1018"/>
                </a:lnTo>
                <a:lnTo>
                  <a:pt x="1288" y="1007"/>
                </a:lnTo>
                <a:lnTo>
                  <a:pt x="1286" y="999"/>
                </a:lnTo>
                <a:lnTo>
                  <a:pt x="1282" y="993"/>
                </a:lnTo>
                <a:lnTo>
                  <a:pt x="1278" y="988"/>
                </a:lnTo>
                <a:lnTo>
                  <a:pt x="1271" y="984"/>
                </a:lnTo>
                <a:lnTo>
                  <a:pt x="1265" y="979"/>
                </a:lnTo>
                <a:lnTo>
                  <a:pt x="1260" y="973"/>
                </a:lnTo>
                <a:lnTo>
                  <a:pt x="1254" y="966"/>
                </a:lnTo>
                <a:lnTo>
                  <a:pt x="1248" y="959"/>
                </a:lnTo>
                <a:lnTo>
                  <a:pt x="1243" y="954"/>
                </a:lnTo>
                <a:lnTo>
                  <a:pt x="1238" y="951"/>
                </a:lnTo>
                <a:lnTo>
                  <a:pt x="1235" y="951"/>
                </a:lnTo>
                <a:lnTo>
                  <a:pt x="1232" y="951"/>
                </a:lnTo>
                <a:lnTo>
                  <a:pt x="1229" y="953"/>
                </a:lnTo>
                <a:lnTo>
                  <a:pt x="1226" y="956"/>
                </a:lnTo>
                <a:lnTo>
                  <a:pt x="1217" y="967"/>
                </a:lnTo>
                <a:lnTo>
                  <a:pt x="1210" y="975"/>
                </a:lnTo>
                <a:lnTo>
                  <a:pt x="1206" y="978"/>
                </a:lnTo>
                <a:lnTo>
                  <a:pt x="1204" y="980"/>
                </a:lnTo>
                <a:lnTo>
                  <a:pt x="1203" y="984"/>
                </a:lnTo>
                <a:lnTo>
                  <a:pt x="1203" y="987"/>
                </a:lnTo>
                <a:lnTo>
                  <a:pt x="1202" y="988"/>
                </a:lnTo>
                <a:lnTo>
                  <a:pt x="1202" y="989"/>
                </a:lnTo>
                <a:lnTo>
                  <a:pt x="1200" y="990"/>
                </a:lnTo>
                <a:lnTo>
                  <a:pt x="1198" y="990"/>
                </a:lnTo>
                <a:lnTo>
                  <a:pt x="1194" y="991"/>
                </a:lnTo>
                <a:lnTo>
                  <a:pt x="1189" y="991"/>
                </a:lnTo>
                <a:lnTo>
                  <a:pt x="1184" y="993"/>
                </a:lnTo>
                <a:lnTo>
                  <a:pt x="1181" y="995"/>
                </a:lnTo>
                <a:lnTo>
                  <a:pt x="1181" y="997"/>
                </a:lnTo>
                <a:lnTo>
                  <a:pt x="1181" y="999"/>
                </a:lnTo>
                <a:lnTo>
                  <a:pt x="1182" y="1002"/>
                </a:lnTo>
                <a:lnTo>
                  <a:pt x="1184" y="1007"/>
                </a:lnTo>
                <a:lnTo>
                  <a:pt x="1191" y="1013"/>
                </a:lnTo>
                <a:lnTo>
                  <a:pt x="1197" y="1019"/>
                </a:lnTo>
                <a:lnTo>
                  <a:pt x="1203" y="1023"/>
                </a:lnTo>
                <a:lnTo>
                  <a:pt x="1208" y="1026"/>
                </a:lnTo>
                <a:lnTo>
                  <a:pt x="1213" y="1030"/>
                </a:lnTo>
                <a:lnTo>
                  <a:pt x="1216" y="1032"/>
                </a:lnTo>
                <a:lnTo>
                  <a:pt x="1216" y="1033"/>
                </a:lnTo>
                <a:lnTo>
                  <a:pt x="1216" y="1033"/>
                </a:lnTo>
                <a:lnTo>
                  <a:pt x="1215" y="1034"/>
                </a:lnTo>
                <a:lnTo>
                  <a:pt x="1214" y="1035"/>
                </a:lnTo>
                <a:lnTo>
                  <a:pt x="1204" y="1039"/>
                </a:lnTo>
                <a:lnTo>
                  <a:pt x="1196" y="1043"/>
                </a:lnTo>
                <a:lnTo>
                  <a:pt x="1187" y="1046"/>
                </a:lnTo>
                <a:lnTo>
                  <a:pt x="1181" y="1048"/>
                </a:lnTo>
                <a:lnTo>
                  <a:pt x="1179" y="1048"/>
                </a:lnTo>
                <a:lnTo>
                  <a:pt x="1177" y="1051"/>
                </a:lnTo>
                <a:lnTo>
                  <a:pt x="1174" y="1054"/>
                </a:lnTo>
                <a:lnTo>
                  <a:pt x="1173" y="1057"/>
                </a:lnTo>
                <a:lnTo>
                  <a:pt x="1170" y="1062"/>
                </a:lnTo>
                <a:lnTo>
                  <a:pt x="1169" y="1063"/>
                </a:lnTo>
                <a:close/>
                <a:moveTo>
                  <a:pt x="1498" y="1258"/>
                </a:moveTo>
                <a:lnTo>
                  <a:pt x="1499" y="1262"/>
                </a:lnTo>
                <a:lnTo>
                  <a:pt x="1502" y="1266"/>
                </a:lnTo>
                <a:lnTo>
                  <a:pt x="1505" y="1272"/>
                </a:lnTo>
                <a:lnTo>
                  <a:pt x="1510" y="1277"/>
                </a:lnTo>
                <a:lnTo>
                  <a:pt x="1521" y="1287"/>
                </a:lnTo>
                <a:lnTo>
                  <a:pt x="1533" y="1300"/>
                </a:lnTo>
                <a:lnTo>
                  <a:pt x="1545" y="1311"/>
                </a:lnTo>
                <a:lnTo>
                  <a:pt x="1555" y="1322"/>
                </a:lnTo>
                <a:lnTo>
                  <a:pt x="1564" y="1332"/>
                </a:lnTo>
                <a:lnTo>
                  <a:pt x="1568" y="1340"/>
                </a:lnTo>
                <a:lnTo>
                  <a:pt x="1571" y="1352"/>
                </a:lnTo>
                <a:lnTo>
                  <a:pt x="1574" y="1364"/>
                </a:lnTo>
                <a:lnTo>
                  <a:pt x="1576" y="1368"/>
                </a:lnTo>
                <a:lnTo>
                  <a:pt x="1577" y="1372"/>
                </a:lnTo>
                <a:lnTo>
                  <a:pt x="1579" y="1374"/>
                </a:lnTo>
                <a:lnTo>
                  <a:pt x="1583" y="1375"/>
                </a:lnTo>
                <a:lnTo>
                  <a:pt x="1587" y="1374"/>
                </a:lnTo>
                <a:lnTo>
                  <a:pt x="1591" y="1372"/>
                </a:lnTo>
                <a:lnTo>
                  <a:pt x="1596" y="1368"/>
                </a:lnTo>
                <a:lnTo>
                  <a:pt x="1601" y="1364"/>
                </a:lnTo>
                <a:lnTo>
                  <a:pt x="1611" y="1354"/>
                </a:lnTo>
                <a:lnTo>
                  <a:pt x="1616" y="1346"/>
                </a:lnTo>
                <a:lnTo>
                  <a:pt x="1621" y="1337"/>
                </a:lnTo>
                <a:lnTo>
                  <a:pt x="1628" y="1320"/>
                </a:lnTo>
                <a:lnTo>
                  <a:pt x="1631" y="1310"/>
                </a:lnTo>
                <a:lnTo>
                  <a:pt x="1632" y="1301"/>
                </a:lnTo>
                <a:lnTo>
                  <a:pt x="1632" y="1296"/>
                </a:lnTo>
                <a:lnTo>
                  <a:pt x="1632" y="1292"/>
                </a:lnTo>
                <a:lnTo>
                  <a:pt x="1631" y="1287"/>
                </a:lnTo>
                <a:lnTo>
                  <a:pt x="1629" y="1284"/>
                </a:lnTo>
                <a:lnTo>
                  <a:pt x="1623" y="1278"/>
                </a:lnTo>
                <a:lnTo>
                  <a:pt x="1617" y="1272"/>
                </a:lnTo>
                <a:lnTo>
                  <a:pt x="1611" y="1266"/>
                </a:lnTo>
                <a:lnTo>
                  <a:pt x="1605" y="1261"/>
                </a:lnTo>
                <a:lnTo>
                  <a:pt x="1599" y="1257"/>
                </a:lnTo>
                <a:lnTo>
                  <a:pt x="1595" y="1253"/>
                </a:lnTo>
                <a:lnTo>
                  <a:pt x="1594" y="1251"/>
                </a:lnTo>
                <a:lnTo>
                  <a:pt x="1593" y="1249"/>
                </a:lnTo>
                <a:lnTo>
                  <a:pt x="1594" y="1247"/>
                </a:lnTo>
                <a:lnTo>
                  <a:pt x="1595" y="1244"/>
                </a:lnTo>
                <a:lnTo>
                  <a:pt x="1601" y="1232"/>
                </a:lnTo>
                <a:lnTo>
                  <a:pt x="1607" y="1216"/>
                </a:lnTo>
                <a:lnTo>
                  <a:pt x="1611" y="1201"/>
                </a:lnTo>
                <a:lnTo>
                  <a:pt x="1612" y="1193"/>
                </a:lnTo>
                <a:lnTo>
                  <a:pt x="1612" y="1185"/>
                </a:lnTo>
                <a:lnTo>
                  <a:pt x="1612" y="1173"/>
                </a:lnTo>
                <a:lnTo>
                  <a:pt x="1611" y="1168"/>
                </a:lnTo>
                <a:lnTo>
                  <a:pt x="1609" y="1164"/>
                </a:lnTo>
                <a:lnTo>
                  <a:pt x="1608" y="1163"/>
                </a:lnTo>
                <a:lnTo>
                  <a:pt x="1607" y="1163"/>
                </a:lnTo>
                <a:lnTo>
                  <a:pt x="1605" y="1163"/>
                </a:lnTo>
                <a:lnTo>
                  <a:pt x="1602" y="1164"/>
                </a:lnTo>
                <a:lnTo>
                  <a:pt x="1597" y="1169"/>
                </a:lnTo>
                <a:lnTo>
                  <a:pt x="1594" y="1175"/>
                </a:lnTo>
                <a:lnTo>
                  <a:pt x="1591" y="1184"/>
                </a:lnTo>
                <a:lnTo>
                  <a:pt x="1588" y="1192"/>
                </a:lnTo>
                <a:lnTo>
                  <a:pt x="1586" y="1199"/>
                </a:lnTo>
                <a:lnTo>
                  <a:pt x="1583" y="1205"/>
                </a:lnTo>
                <a:lnTo>
                  <a:pt x="1580" y="1207"/>
                </a:lnTo>
                <a:lnTo>
                  <a:pt x="1578" y="1207"/>
                </a:lnTo>
                <a:lnTo>
                  <a:pt x="1576" y="1206"/>
                </a:lnTo>
                <a:lnTo>
                  <a:pt x="1574" y="1204"/>
                </a:lnTo>
                <a:lnTo>
                  <a:pt x="1566" y="1193"/>
                </a:lnTo>
                <a:lnTo>
                  <a:pt x="1560" y="1184"/>
                </a:lnTo>
                <a:lnTo>
                  <a:pt x="1557" y="1182"/>
                </a:lnTo>
                <a:lnTo>
                  <a:pt x="1555" y="1180"/>
                </a:lnTo>
                <a:lnTo>
                  <a:pt x="1552" y="1182"/>
                </a:lnTo>
                <a:lnTo>
                  <a:pt x="1550" y="1187"/>
                </a:lnTo>
                <a:lnTo>
                  <a:pt x="1547" y="1192"/>
                </a:lnTo>
                <a:lnTo>
                  <a:pt x="1543" y="1196"/>
                </a:lnTo>
                <a:lnTo>
                  <a:pt x="1540" y="1199"/>
                </a:lnTo>
                <a:lnTo>
                  <a:pt x="1535" y="1201"/>
                </a:lnTo>
                <a:lnTo>
                  <a:pt x="1532" y="1205"/>
                </a:lnTo>
                <a:lnTo>
                  <a:pt x="1530" y="1207"/>
                </a:lnTo>
                <a:lnTo>
                  <a:pt x="1529" y="1210"/>
                </a:lnTo>
                <a:lnTo>
                  <a:pt x="1529" y="1213"/>
                </a:lnTo>
                <a:lnTo>
                  <a:pt x="1533" y="1223"/>
                </a:lnTo>
                <a:lnTo>
                  <a:pt x="1542" y="1235"/>
                </a:lnTo>
                <a:lnTo>
                  <a:pt x="1549" y="1245"/>
                </a:lnTo>
                <a:lnTo>
                  <a:pt x="1552" y="1253"/>
                </a:lnTo>
                <a:lnTo>
                  <a:pt x="1550" y="1260"/>
                </a:lnTo>
                <a:lnTo>
                  <a:pt x="1546" y="1267"/>
                </a:lnTo>
                <a:lnTo>
                  <a:pt x="1543" y="1271"/>
                </a:lnTo>
                <a:lnTo>
                  <a:pt x="1540" y="1273"/>
                </a:lnTo>
                <a:lnTo>
                  <a:pt x="1538" y="1274"/>
                </a:lnTo>
                <a:lnTo>
                  <a:pt x="1536" y="1274"/>
                </a:lnTo>
                <a:lnTo>
                  <a:pt x="1535" y="1273"/>
                </a:lnTo>
                <a:lnTo>
                  <a:pt x="1533" y="1272"/>
                </a:lnTo>
                <a:lnTo>
                  <a:pt x="1525" y="1265"/>
                </a:lnTo>
                <a:lnTo>
                  <a:pt x="1513" y="1258"/>
                </a:lnTo>
                <a:lnTo>
                  <a:pt x="1504" y="1253"/>
                </a:lnTo>
                <a:lnTo>
                  <a:pt x="1501" y="1251"/>
                </a:lnTo>
                <a:lnTo>
                  <a:pt x="1498" y="1258"/>
                </a:lnTo>
                <a:close/>
                <a:moveTo>
                  <a:pt x="1130" y="1287"/>
                </a:moveTo>
                <a:lnTo>
                  <a:pt x="1136" y="1281"/>
                </a:lnTo>
                <a:lnTo>
                  <a:pt x="1146" y="1273"/>
                </a:lnTo>
                <a:lnTo>
                  <a:pt x="1158" y="1264"/>
                </a:lnTo>
                <a:lnTo>
                  <a:pt x="1173" y="1255"/>
                </a:lnTo>
                <a:lnTo>
                  <a:pt x="1186" y="1245"/>
                </a:lnTo>
                <a:lnTo>
                  <a:pt x="1198" y="1236"/>
                </a:lnTo>
                <a:lnTo>
                  <a:pt x="1203" y="1232"/>
                </a:lnTo>
                <a:lnTo>
                  <a:pt x="1206" y="1228"/>
                </a:lnTo>
                <a:lnTo>
                  <a:pt x="1210" y="1225"/>
                </a:lnTo>
                <a:lnTo>
                  <a:pt x="1211" y="1221"/>
                </a:lnTo>
                <a:lnTo>
                  <a:pt x="1211" y="1216"/>
                </a:lnTo>
                <a:lnTo>
                  <a:pt x="1211" y="1211"/>
                </a:lnTo>
                <a:lnTo>
                  <a:pt x="1210" y="1206"/>
                </a:lnTo>
                <a:lnTo>
                  <a:pt x="1207" y="1199"/>
                </a:lnTo>
                <a:lnTo>
                  <a:pt x="1203" y="1193"/>
                </a:lnTo>
                <a:lnTo>
                  <a:pt x="1197" y="1187"/>
                </a:lnTo>
                <a:lnTo>
                  <a:pt x="1187" y="1179"/>
                </a:lnTo>
                <a:lnTo>
                  <a:pt x="1176" y="1171"/>
                </a:lnTo>
                <a:lnTo>
                  <a:pt x="1159" y="1158"/>
                </a:lnTo>
                <a:lnTo>
                  <a:pt x="1153" y="1152"/>
                </a:lnTo>
                <a:lnTo>
                  <a:pt x="1151" y="1151"/>
                </a:lnTo>
                <a:lnTo>
                  <a:pt x="1150" y="1152"/>
                </a:lnTo>
                <a:lnTo>
                  <a:pt x="1148" y="1155"/>
                </a:lnTo>
                <a:lnTo>
                  <a:pt x="1142" y="1158"/>
                </a:lnTo>
                <a:lnTo>
                  <a:pt x="1136" y="1163"/>
                </a:lnTo>
                <a:lnTo>
                  <a:pt x="1131" y="1166"/>
                </a:lnTo>
                <a:lnTo>
                  <a:pt x="1126" y="1168"/>
                </a:lnTo>
                <a:lnTo>
                  <a:pt x="1121" y="1169"/>
                </a:lnTo>
                <a:lnTo>
                  <a:pt x="1115" y="1170"/>
                </a:lnTo>
                <a:lnTo>
                  <a:pt x="1113" y="1170"/>
                </a:lnTo>
                <a:lnTo>
                  <a:pt x="1111" y="1163"/>
                </a:lnTo>
                <a:lnTo>
                  <a:pt x="1104" y="1148"/>
                </a:lnTo>
                <a:lnTo>
                  <a:pt x="1099" y="1140"/>
                </a:lnTo>
                <a:lnTo>
                  <a:pt x="1093" y="1133"/>
                </a:lnTo>
                <a:lnTo>
                  <a:pt x="1089" y="1130"/>
                </a:lnTo>
                <a:lnTo>
                  <a:pt x="1086" y="1128"/>
                </a:lnTo>
                <a:lnTo>
                  <a:pt x="1082" y="1127"/>
                </a:lnTo>
                <a:lnTo>
                  <a:pt x="1076" y="1127"/>
                </a:lnTo>
                <a:lnTo>
                  <a:pt x="1063" y="1129"/>
                </a:lnTo>
                <a:lnTo>
                  <a:pt x="1054" y="1131"/>
                </a:lnTo>
                <a:lnTo>
                  <a:pt x="1049" y="1133"/>
                </a:lnTo>
                <a:lnTo>
                  <a:pt x="1045" y="1134"/>
                </a:lnTo>
                <a:lnTo>
                  <a:pt x="1036" y="1134"/>
                </a:lnTo>
                <a:lnTo>
                  <a:pt x="1022" y="1134"/>
                </a:lnTo>
                <a:lnTo>
                  <a:pt x="1016" y="1135"/>
                </a:lnTo>
                <a:lnTo>
                  <a:pt x="1010" y="1138"/>
                </a:lnTo>
                <a:lnTo>
                  <a:pt x="1007" y="1139"/>
                </a:lnTo>
                <a:lnTo>
                  <a:pt x="1006" y="1141"/>
                </a:lnTo>
                <a:lnTo>
                  <a:pt x="1005" y="1144"/>
                </a:lnTo>
                <a:lnTo>
                  <a:pt x="1005" y="1147"/>
                </a:lnTo>
                <a:lnTo>
                  <a:pt x="1005" y="1149"/>
                </a:lnTo>
                <a:lnTo>
                  <a:pt x="1006" y="1152"/>
                </a:lnTo>
                <a:lnTo>
                  <a:pt x="1008" y="1154"/>
                </a:lnTo>
                <a:lnTo>
                  <a:pt x="1010" y="1155"/>
                </a:lnTo>
                <a:lnTo>
                  <a:pt x="1015" y="1158"/>
                </a:lnTo>
                <a:lnTo>
                  <a:pt x="1020" y="1161"/>
                </a:lnTo>
                <a:lnTo>
                  <a:pt x="1025" y="1164"/>
                </a:lnTo>
                <a:lnTo>
                  <a:pt x="1028" y="1167"/>
                </a:lnTo>
                <a:lnTo>
                  <a:pt x="1028" y="1169"/>
                </a:lnTo>
                <a:lnTo>
                  <a:pt x="1028" y="1172"/>
                </a:lnTo>
                <a:lnTo>
                  <a:pt x="1028" y="1175"/>
                </a:lnTo>
                <a:lnTo>
                  <a:pt x="1026" y="1179"/>
                </a:lnTo>
                <a:lnTo>
                  <a:pt x="1019" y="1193"/>
                </a:lnTo>
                <a:lnTo>
                  <a:pt x="1011" y="1204"/>
                </a:lnTo>
                <a:lnTo>
                  <a:pt x="1008" y="1207"/>
                </a:lnTo>
                <a:lnTo>
                  <a:pt x="1006" y="1211"/>
                </a:lnTo>
                <a:lnTo>
                  <a:pt x="1005" y="1214"/>
                </a:lnTo>
                <a:lnTo>
                  <a:pt x="1005" y="1217"/>
                </a:lnTo>
                <a:lnTo>
                  <a:pt x="1006" y="1226"/>
                </a:lnTo>
                <a:lnTo>
                  <a:pt x="1008" y="1236"/>
                </a:lnTo>
                <a:lnTo>
                  <a:pt x="1008" y="1241"/>
                </a:lnTo>
                <a:lnTo>
                  <a:pt x="1008" y="1247"/>
                </a:lnTo>
                <a:lnTo>
                  <a:pt x="1007" y="1252"/>
                </a:lnTo>
                <a:lnTo>
                  <a:pt x="1004" y="1256"/>
                </a:lnTo>
                <a:lnTo>
                  <a:pt x="996" y="1266"/>
                </a:lnTo>
                <a:lnTo>
                  <a:pt x="987" y="1280"/>
                </a:lnTo>
                <a:lnTo>
                  <a:pt x="984" y="1286"/>
                </a:lnTo>
                <a:lnTo>
                  <a:pt x="981" y="1293"/>
                </a:lnTo>
                <a:lnTo>
                  <a:pt x="980" y="1298"/>
                </a:lnTo>
                <a:lnTo>
                  <a:pt x="980" y="1302"/>
                </a:lnTo>
                <a:lnTo>
                  <a:pt x="982" y="1310"/>
                </a:lnTo>
                <a:lnTo>
                  <a:pt x="983" y="1319"/>
                </a:lnTo>
                <a:lnTo>
                  <a:pt x="984" y="1323"/>
                </a:lnTo>
                <a:lnTo>
                  <a:pt x="987" y="1327"/>
                </a:lnTo>
                <a:lnTo>
                  <a:pt x="993" y="1332"/>
                </a:lnTo>
                <a:lnTo>
                  <a:pt x="999" y="1339"/>
                </a:lnTo>
                <a:lnTo>
                  <a:pt x="1014" y="1348"/>
                </a:lnTo>
                <a:lnTo>
                  <a:pt x="1025" y="1357"/>
                </a:lnTo>
                <a:lnTo>
                  <a:pt x="1030" y="1361"/>
                </a:lnTo>
                <a:lnTo>
                  <a:pt x="1033" y="1364"/>
                </a:lnTo>
                <a:lnTo>
                  <a:pt x="1036" y="1367"/>
                </a:lnTo>
                <a:lnTo>
                  <a:pt x="1036" y="1371"/>
                </a:lnTo>
                <a:lnTo>
                  <a:pt x="1037" y="1380"/>
                </a:lnTo>
                <a:lnTo>
                  <a:pt x="1039" y="1387"/>
                </a:lnTo>
                <a:lnTo>
                  <a:pt x="1041" y="1390"/>
                </a:lnTo>
                <a:lnTo>
                  <a:pt x="1043" y="1393"/>
                </a:lnTo>
                <a:lnTo>
                  <a:pt x="1045" y="1394"/>
                </a:lnTo>
                <a:lnTo>
                  <a:pt x="1047" y="1394"/>
                </a:lnTo>
                <a:lnTo>
                  <a:pt x="1050" y="1393"/>
                </a:lnTo>
                <a:lnTo>
                  <a:pt x="1054" y="1389"/>
                </a:lnTo>
                <a:lnTo>
                  <a:pt x="1059" y="1383"/>
                </a:lnTo>
                <a:lnTo>
                  <a:pt x="1064" y="1376"/>
                </a:lnTo>
                <a:lnTo>
                  <a:pt x="1072" y="1364"/>
                </a:lnTo>
                <a:lnTo>
                  <a:pt x="1075" y="1358"/>
                </a:lnTo>
                <a:lnTo>
                  <a:pt x="1079" y="1359"/>
                </a:lnTo>
                <a:lnTo>
                  <a:pt x="1086" y="1360"/>
                </a:lnTo>
                <a:lnTo>
                  <a:pt x="1089" y="1359"/>
                </a:lnTo>
                <a:lnTo>
                  <a:pt x="1093" y="1359"/>
                </a:lnTo>
                <a:lnTo>
                  <a:pt x="1095" y="1357"/>
                </a:lnTo>
                <a:lnTo>
                  <a:pt x="1096" y="1353"/>
                </a:lnTo>
                <a:lnTo>
                  <a:pt x="1097" y="1344"/>
                </a:lnTo>
                <a:lnTo>
                  <a:pt x="1099" y="1331"/>
                </a:lnTo>
                <a:lnTo>
                  <a:pt x="1103" y="1319"/>
                </a:lnTo>
                <a:lnTo>
                  <a:pt x="1106" y="1309"/>
                </a:lnTo>
                <a:lnTo>
                  <a:pt x="1119" y="1296"/>
                </a:lnTo>
                <a:lnTo>
                  <a:pt x="1130" y="1287"/>
                </a:lnTo>
                <a:close/>
                <a:moveTo>
                  <a:pt x="1408" y="1198"/>
                </a:moveTo>
                <a:lnTo>
                  <a:pt x="1409" y="1203"/>
                </a:lnTo>
                <a:lnTo>
                  <a:pt x="1413" y="1210"/>
                </a:lnTo>
                <a:lnTo>
                  <a:pt x="1420" y="1217"/>
                </a:lnTo>
                <a:lnTo>
                  <a:pt x="1427" y="1226"/>
                </a:lnTo>
                <a:lnTo>
                  <a:pt x="1436" y="1233"/>
                </a:lnTo>
                <a:lnTo>
                  <a:pt x="1443" y="1237"/>
                </a:lnTo>
                <a:lnTo>
                  <a:pt x="1446" y="1238"/>
                </a:lnTo>
                <a:lnTo>
                  <a:pt x="1449" y="1238"/>
                </a:lnTo>
                <a:lnTo>
                  <a:pt x="1452" y="1238"/>
                </a:lnTo>
                <a:lnTo>
                  <a:pt x="1454" y="1236"/>
                </a:lnTo>
                <a:lnTo>
                  <a:pt x="1458" y="1228"/>
                </a:lnTo>
                <a:lnTo>
                  <a:pt x="1462" y="1222"/>
                </a:lnTo>
                <a:lnTo>
                  <a:pt x="1464" y="1219"/>
                </a:lnTo>
                <a:lnTo>
                  <a:pt x="1464" y="1215"/>
                </a:lnTo>
                <a:lnTo>
                  <a:pt x="1462" y="1211"/>
                </a:lnTo>
                <a:lnTo>
                  <a:pt x="1460" y="1204"/>
                </a:lnTo>
                <a:lnTo>
                  <a:pt x="1456" y="1197"/>
                </a:lnTo>
                <a:lnTo>
                  <a:pt x="1453" y="1193"/>
                </a:lnTo>
                <a:lnTo>
                  <a:pt x="1448" y="1190"/>
                </a:lnTo>
                <a:lnTo>
                  <a:pt x="1445" y="1188"/>
                </a:lnTo>
                <a:lnTo>
                  <a:pt x="1441" y="1188"/>
                </a:lnTo>
                <a:lnTo>
                  <a:pt x="1438" y="1188"/>
                </a:lnTo>
                <a:lnTo>
                  <a:pt x="1434" y="1189"/>
                </a:lnTo>
                <a:lnTo>
                  <a:pt x="1428" y="1191"/>
                </a:lnTo>
                <a:lnTo>
                  <a:pt x="1413" y="1196"/>
                </a:lnTo>
                <a:lnTo>
                  <a:pt x="1408" y="1198"/>
                </a:lnTo>
                <a:close/>
                <a:moveTo>
                  <a:pt x="1507" y="1516"/>
                </a:moveTo>
                <a:lnTo>
                  <a:pt x="1498" y="1505"/>
                </a:lnTo>
                <a:lnTo>
                  <a:pt x="1487" y="1494"/>
                </a:lnTo>
                <a:lnTo>
                  <a:pt x="1483" y="1489"/>
                </a:lnTo>
                <a:lnTo>
                  <a:pt x="1481" y="1483"/>
                </a:lnTo>
                <a:lnTo>
                  <a:pt x="1480" y="1481"/>
                </a:lnTo>
                <a:lnTo>
                  <a:pt x="1480" y="1479"/>
                </a:lnTo>
                <a:lnTo>
                  <a:pt x="1481" y="1477"/>
                </a:lnTo>
                <a:lnTo>
                  <a:pt x="1482" y="1476"/>
                </a:lnTo>
                <a:lnTo>
                  <a:pt x="1487" y="1474"/>
                </a:lnTo>
                <a:lnTo>
                  <a:pt x="1494" y="1472"/>
                </a:lnTo>
                <a:lnTo>
                  <a:pt x="1503" y="1472"/>
                </a:lnTo>
                <a:lnTo>
                  <a:pt x="1511" y="1471"/>
                </a:lnTo>
                <a:lnTo>
                  <a:pt x="1519" y="1470"/>
                </a:lnTo>
                <a:lnTo>
                  <a:pt x="1526" y="1468"/>
                </a:lnTo>
                <a:lnTo>
                  <a:pt x="1528" y="1467"/>
                </a:lnTo>
                <a:lnTo>
                  <a:pt x="1529" y="1465"/>
                </a:lnTo>
                <a:lnTo>
                  <a:pt x="1530" y="1463"/>
                </a:lnTo>
                <a:lnTo>
                  <a:pt x="1530" y="1461"/>
                </a:lnTo>
                <a:lnTo>
                  <a:pt x="1526" y="1455"/>
                </a:lnTo>
                <a:lnTo>
                  <a:pt x="1518" y="1445"/>
                </a:lnTo>
                <a:lnTo>
                  <a:pt x="1507" y="1432"/>
                </a:lnTo>
                <a:lnTo>
                  <a:pt x="1493" y="1418"/>
                </a:lnTo>
                <a:lnTo>
                  <a:pt x="1481" y="1404"/>
                </a:lnTo>
                <a:lnTo>
                  <a:pt x="1469" y="1391"/>
                </a:lnTo>
                <a:lnTo>
                  <a:pt x="1461" y="1381"/>
                </a:lnTo>
                <a:lnTo>
                  <a:pt x="1458" y="1373"/>
                </a:lnTo>
                <a:lnTo>
                  <a:pt x="1454" y="1355"/>
                </a:lnTo>
                <a:lnTo>
                  <a:pt x="1447" y="1330"/>
                </a:lnTo>
                <a:lnTo>
                  <a:pt x="1441" y="1306"/>
                </a:lnTo>
                <a:lnTo>
                  <a:pt x="1437" y="1294"/>
                </a:lnTo>
                <a:lnTo>
                  <a:pt x="1435" y="1284"/>
                </a:lnTo>
                <a:lnTo>
                  <a:pt x="1434" y="1271"/>
                </a:lnTo>
                <a:lnTo>
                  <a:pt x="1433" y="1258"/>
                </a:lnTo>
                <a:lnTo>
                  <a:pt x="1433" y="1252"/>
                </a:lnTo>
                <a:lnTo>
                  <a:pt x="1425" y="1249"/>
                </a:lnTo>
                <a:lnTo>
                  <a:pt x="1408" y="1241"/>
                </a:lnTo>
                <a:lnTo>
                  <a:pt x="1399" y="1238"/>
                </a:lnTo>
                <a:lnTo>
                  <a:pt x="1391" y="1237"/>
                </a:lnTo>
                <a:lnTo>
                  <a:pt x="1388" y="1237"/>
                </a:lnTo>
                <a:lnTo>
                  <a:pt x="1384" y="1238"/>
                </a:lnTo>
                <a:lnTo>
                  <a:pt x="1383" y="1239"/>
                </a:lnTo>
                <a:lnTo>
                  <a:pt x="1382" y="1242"/>
                </a:lnTo>
                <a:lnTo>
                  <a:pt x="1381" y="1255"/>
                </a:lnTo>
                <a:lnTo>
                  <a:pt x="1380" y="1267"/>
                </a:lnTo>
                <a:lnTo>
                  <a:pt x="1380" y="1274"/>
                </a:lnTo>
                <a:lnTo>
                  <a:pt x="1380" y="1279"/>
                </a:lnTo>
                <a:lnTo>
                  <a:pt x="1382" y="1285"/>
                </a:lnTo>
                <a:lnTo>
                  <a:pt x="1386" y="1291"/>
                </a:lnTo>
                <a:lnTo>
                  <a:pt x="1394" y="1301"/>
                </a:lnTo>
                <a:lnTo>
                  <a:pt x="1401" y="1313"/>
                </a:lnTo>
                <a:lnTo>
                  <a:pt x="1403" y="1319"/>
                </a:lnTo>
                <a:lnTo>
                  <a:pt x="1404" y="1323"/>
                </a:lnTo>
                <a:lnTo>
                  <a:pt x="1404" y="1327"/>
                </a:lnTo>
                <a:lnTo>
                  <a:pt x="1403" y="1330"/>
                </a:lnTo>
                <a:lnTo>
                  <a:pt x="1394" y="1337"/>
                </a:lnTo>
                <a:lnTo>
                  <a:pt x="1380" y="1343"/>
                </a:lnTo>
                <a:lnTo>
                  <a:pt x="1374" y="1345"/>
                </a:lnTo>
                <a:lnTo>
                  <a:pt x="1368" y="1346"/>
                </a:lnTo>
                <a:lnTo>
                  <a:pt x="1366" y="1345"/>
                </a:lnTo>
                <a:lnTo>
                  <a:pt x="1364" y="1344"/>
                </a:lnTo>
                <a:lnTo>
                  <a:pt x="1361" y="1342"/>
                </a:lnTo>
                <a:lnTo>
                  <a:pt x="1361" y="1340"/>
                </a:lnTo>
                <a:lnTo>
                  <a:pt x="1360" y="1322"/>
                </a:lnTo>
                <a:lnTo>
                  <a:pt x="1361" y="1299"/>
                </a:lnTo>
                <a:lnTo>
                  <a:pt x="1361" y="1288"/>
                </a:lnTo>
                <a:lnTo>
                  <a:pt x="1359" y="1280"/>
                </a:lnTo>
                <a:lnTo>
                  <a:pt x="1358" y="1277"/>
                </a:lnTo>
                <a:lnTo>
                  <a:pt x="1357" y="1274"/>
                </a:lnTo>
                <a:lnTo>
                  <a:pt x="1354" y="1273"/>
                </a:lnTo>
                <a:lnTo>
                  <a:pt x="1352" y="1272"/>
                </a:lnTo>
                <a:lnTo>
                  <a:pt x="1349" y="1273"/>
                </a:lnTo>
                <a:lnTo>
                  <a:pt x="1346" y="1274"/>
                </a:lnTo>
                <a:lnTo>
                  <a:pt x="1343" y="1277"/>
                </a:lnTo>
                <a:lnTo>
                  <a:pt x="1338" y="1280"/>
                </a:lnTo>
                <a:lnTo>
                  <a:pt x="1332" y="1287"/>
                </a:lnTo>
                <a:lnTo>
                  <a:pt x="1326" y="1296"/>
                </a:lnTo>
                <a:lnTo>
                  <a:pt x="1320" y="1304"/>
                </a:lnTo>
                <a:lnTo>
                  <a:pt x="1313" y="1309"/>
                </a:lnTo>
                <a:lnTo>
                  <a:pt x="1310" y="1310"/>
                </a:lnTo>
                <a:lnTo>
                  <a:pt x="1308" y="1311"/>
                </a:lnTo>
                <a:lnTo>
                  <a:pt x="1305" y="1310"/>
                </a:lnTo>
                <a:lnTo>
                  <a:pt x="1303" y="1308"/>
                </a:lnTo>
                <a:lnTo>
                  <a:pt x="1299" y="1302"/>
                </a:lnTo>
                <a:lnTo>
                  <a:pt x="1296" y="1294"/>
                </a:lnTo>
                <a:lnTo>
                  <a:pt x="1294" y="1285"/>
                </a:lnTo>
                <a:lnTo>
                  <a:pt x="1293" y="1277"/>
                </a:lnTo>
                <a:lnTo>
                  <a:pt x="1293" y="1269"/>
                </a:lnTo>
                <a:lnTo>
                  <a:pt x="1292" y="1261"/>
                </a:lnTo>
                <a:lnTo>
                  <a:pt x="1290" y="1256"/>
                </a:lnTo>
                <a:lnTo>
                  <a:pt x="1288" y="1252"/>
                </a:lnTo>
                <a:lnTo>
                  <a:pt x="1286" y="1252"/>
                </a:lnTo>
                <a:lnTo>
                  <a:pt x="1284" y="1252"/>
                </a:lnTo>
                <a:lnTo>
                  <a:pt x="1281" y="1254"/>
                </a:lnTo>
                <a:lnTo>
                  <a:pt x="1278" y="1256"/>
                </a:lnTo>
                <a:lnTo>
                  <a:pt x="1270" y="1262"/>
                </a:lnTo>
                <a:lnTo>
                  <a:pt x="1262" y="1269"/>
                </a:lnTo>
                <a:lnTo>
                  <a:pt x="1255" y="1276"/>
                </a:lnTo>
                <a:lnTo>
                  <a:pt x="1247" y="1280"/>
                </a:lnTo>
                <a:lnTo>
                  <a:pt x="1245" y="1281"/>
                </a:lnTo>
                <a:lnTo>
                  <a:pt x="1242" y="1282"/>
                </a:lnTo>
                <a:lnTo>
                  <a:pt x="1240" y="1281"/>
                </a:lnTo>
                <a:lnTo>
                  <a:pt x="1239" y="1279"/>
                </a:lnTo>
                <a:lnTo>
                  <a:pt x="1238" y="1273"/>
                </a:lnTo>
                <a:lnTo>
                  <a:pt x="1237" y="1264"/>
                </a:lnTo>
                <a:lnTo>
                  <a:pt x="1238" y="1257"/>
                </a:lnTo>
                <a:lnTo>
                  <a:pt x="1238" y="1249"/>
                </a:lnTo>
                <a:lnTo>
                  <a:pt x="1238" y="1241"/>
                </a:lnTo>
                <a:lnTo>
                  <a:pt x="1238" y="1236"/>
                </a:lnTo>
                <a:lnTo>
                  <a:pt x="1237" y="1235"/>
                </a:lnTo>
                <a:lnTo>
                  <a:pt x="1236" y="1234"/>
                </a:lnTo>
                <a:lnTo>
                  <a:pt x="1235" y="1233"/>
                </a:lnTo>
                <a:lnTo>
                  <a:pt x="1233" y="1234"/>
                </a:lnTo>
                <a:lnTo>
                  <a:pt x="1217" y="1240"/>
                </a:lnTo>
                <a:lnTo>
                  <a:pt x="1191" y="1252"/>
                </a:lnTo>
                <a:lnTo>
                  <a:pt x="1178" y="1259"/>
                </a:lnTo>
                <a:lnTo>
                  <a:pt x="1168" y="1265"/>
                </a:lnTo>
                <a:lnTo>
                  <a:pt x="1163" y="1270"/>
                </a:lnTo>
                <a:lnTo>
                  <a:pt x="1160" y="1273"/>
                </a:lnTo>
                <a:lnTo>
                  <a:pt x="1158" y="1276"/>
                </a:lnTo>
                <a:lnTo>
                  <a:pt x="1158" y="1279"/>
                </a:lnTo>
                <a:lnTo>
                  <a:pt x="1159" y="1299"/>
                </a:lnTo>
                <a:lnTo>
                  <a:pt x="1158" y="1307"/>
                </a:lnTo>
                <a:lnTo>
                  <a:pt x="1152" y="1309"/>
                </a:lnTo>
                <a:lnTo>
                  <a:pt x="1138" y="1314"/>
                </a:lnTo>
                <a:lnTo>
                  <a:pt x="1132" y="1318"/>
                </a:lnTo>
                <a:lnTo>
                  <a:pt x="1127" y="1322"/>
                </a:lnTo>
                <a:lnTo>
                  <a:pt x="1125" y="1324"/>
                </a:lnTo>
                <a:lnTo>
                  <a:pt x="1124" y="1326"/>
                </a:lnTo>
                <a:lnTo>
                  <a:pt x="1124" y="1328"/>
                </a:lnTo>
                <a:lnTo>
                  <a:pt x="1124" y="1331"/>
                </a:lnTo>
                <a:lnTo>
                  <a:pt x="1128" y="1337"/>
                </a:lnTo>
                <a:lnTo>
                  <a:pt x="1134" y="1344"/>
                </a:lnTo>
                <a:lnTo>
                  <a:pt x="1141" y="1350"/>
                </a:lnTo>
                <a:lnTo>
                  <a:pt x="1149" y="1357"/>
                </a:lnTo>
                <a:lnTo>
                  <a:pt x="1157" y="1362"/>
                </a:lnTo>
                <a:lnTo>
                  <a:pt x="1164" y="1366"/>
                </a:lnTo>
                <a:lnTo>
                  <a:pt x="1172" y="1369"/>
                </a:lnTo>
                <a:lnTo>
                  <a:pt x="1176" y="1369"/>
                </a:lnTo>
                <a:lnTo>
                  <a:pt x="1180" y="1367"/>
                </a:lnTo>
                <a:lnTo>
                  <a:pt x="1185" y="1363"/>
                </a:lnTo>
                <a:lnTo>
                  <a:pt x="1191" y="1358"/>
                </a:lnTo>
                <a:lnTo>
                  <a:pt x="1196" y="1352"/>
                </a:lnTo>
                <a:lnTo>
                  <a:pt x="1200" y="1347"/>
                </a:lnTo>
                <a:lnTo>
                  <a:pt x="1204" y="1344"/>
                </a:lnTo>
                <a:lnTo>
                  <a:pt x="1206" y="1344"/>
                </a:lnTo>
                <a:lnTo>
                  <a:pt x="1207" y="1344"/>
                </a:lnTo>
                <a:lnTo>
                  <a:pt x="1208" y="1345"/>
                </a:lnTo>
                <a:lnTo>
                  <a:pt x="1210" y="1346"/>
                </a:lnTo>
                <a:lnTo>
                  <a:pt x="1210" y="1352"/>
                </a:lnTo>
                <a:lnTo>
                  <a:pt x="1206" y="1358"/>
                </a:lnTo>
                <a:lnTo>
                  <a:pt x="1203" y="1364"/>
                </a:lnTo>
                <a:lnTo>
                  <a:pt x="1199" y="1369"/>
                </a:lnTo>
                <a:lnTo>
                  <a:pt x="1190" y="1379"/>
                </a:lnTo>
                <a:lnTo>
                  <a:pt x="1185" y="1383"/>
                </a:lnTo>
                <a:lnTo>
                  <a:pt x="1179" y="1379"/>
                </a:lnTo>
                <a:lnTo>
                  <a:pt x="1167" y="1373"/>
                </a:lnTo>
                <a:lnTo>
                  <a:pt x="1162" y="1372"/>
                </a:lnTo>
                <a:lnTo>
                  <a:pt x="1159" y="1372"/>
                </a:lnTo>
                <a:lnTo>
                  <a:pt x="1156" y="1372"/>
                </a:lnTo>
                <a:lnTo>
                  <a:pt x="1153" y="1373"/>
                </a:lnTo>
                <a:lnTo>
                  <a:pt x="1151" y="1374"/>
                </a:lnTo>
                <a:lnTo>
                  <a:pt x="1149" y="1376"/>
                </a:lnTo>
                <a:lnTo>
                  <a:pt x="1148" y="1380"/>
                </a:lnTo>
                <a:lnTo>
                  <a:pt x="1148" y="1385"/>
                </a:lnTo>
                <a:lnTo>
                  <a:pt x="1149" y="1394"/>
                </a:lnTo>
                <a:lnTo>
                  <a:pt x="1152" y="1403"/>
                </a:lnTo>
                <a:lnTo>
                  <a:pt x="1156" y="1411"/>
                </a:lnTo>
                <a:lnTo>
                  <a:pt x="1161" y="1417"/>
                </a:lnTo>
                <a:lnTo>
                  <a:pt x="1167" y="1423"/>
                </a:lnTo>
                <a:lnTo>
                  <a:pt x="1173" y="1427"/>
                </a:lnTo>
                <a:lnTo>
                  <a:pt x="1178" y="1429"/>
                </a:lnTo>
                <a:lnTo>
                  <a:pt x="1182" y="1429"/>
                </a:lnTo>
                <a:lnTo>
                  <a:pt x="1196" y="1425"/>
                </a:lnTo>
                <a:lnTo>
                  <a:pt x="1218" y="1418"/>
                </a:lnTo>
                <a:lnTo>
                  <a:pt x="1229" y="1416"/>
                </a:lnTo>
                <a:lnTo>
                  <a:pt x="1243" y="1414"/>
                </a:lnTo>
                <a:lnTo>
                  <a:pt x="1255" y="1413"/>
                </a:lnTo>
                <a:lnTo>
                  <a:pt x="1267" y="1414"/>
                </a:lnTo>
                <a:lnTo>
                  <a:pt x="1277" y="1416"/>
                </a:lnTo>
                <a:lnTo>
                  <a:pt x="1286" y="1418"/>
                </a:lnTo>
                <a:lnTo>
                  <a:pt x="1292" y="1420"/>
                </a:lnTo>
                <a:lnTo>
                  <a:pt x="1298" y="1424"/>
                </a:lnTo>
                <a:lnTo>
                  <a:pt x="1301" y="1426"/>
                </a:lnTo>
                <a:lnTo>
                  <a:pt x="1302" y="1429"/>
                </a:lnTo>
                <a:lnTo>
                  <a:pt x="1301" y="1432"/>
                </a:lnTo>
                <a:lnTo>
                  <a:pt x="1298" y="1436"/>
                </a:lnTo>
                <a:lnTo>
                  <a:pt x="1293" y="1438"/>
                </a:lnTo>
                <a:lnTo>
                  <a:pt x="1287" y="1439"/>
                </a:lnTo>
                <a:lnTo>
                  <a:pt x="1282" y="1439"/>
                </a:lnTo>
                <a:lnTo>
                  <a:pt x="1274" y="1438"/>
                </a:lnTo>
                <a:lnTo>
                  <a:pt x="1267" y="1437"/>
                </a:lnTo>
                <a:lnTo>
                  <a:pt x="1259" y="1436"/>
                </a:lnTo>
                <a:lnTo>
                  <a:pt x="1249" y="1436"/>
                </a:lnTo>
                <a:lnTo>
                  <a:pt x="1239" y="1438"/>
                </a:lnTo>
                <a:lnTo>
                  <a:pt x="1227" y="1439"/>
                </a:lnTo>
                <a:lnTo>
                  <a:pt x="1215" y="1440"/>
                </a:lnTo>
                <a:lnTo>
                  <a:pt x="1202" y="1441"/>
                </a:lnTo>
                <a:lnTo>
                  <a:pt x="1190" y="1441"/>
                </a:lnTo>
                <a:lnTo>
                  <a:pt x="1179" y="1441"/>
                </a:lnTo>
                <a:lnTo>
                  <a:pt x="1171" y="1443"/>
                </a:lnTo>
                <a:lnTo>
                  <a:pt x="1168" y="1445"/>
                </a:lnTo>
                <a:lnTo>
                  <a:pt x="1165" y="1447"/>
                </a:lnTo>
                <a:lnTo>
                  <a:pt x="1164" y="1449"/>
                </a:lnTo>
                <a:lnTo>
                  <a:pt x="1165" y="1451"/>
                </a:lnTo>
                <a:lnTo>
                  <a:pt x="1169" y="1463"/>
                </a:lnTo>
                <a:lnTo>
                  <a:pt x="1175" y="1475"/>
                </a:lnTo>
                <a:lnTo>
                  <a:pt x="1179" y="1480"/>
                </a:lnTo>
                <a:lnTo>
                  <a:pt x="1183" y="1485"/>
                </a:lnTo>
                <a:lnTo>
                  <a:pt x="1187" y="1489"/>
                </a:lnTo>
                <a:lnTo>
                  <a:pt x="1193" y="1492"/>
                </a:lnTo>
                <a:lnTo>
                  <a:pt x="1200" y="1494"/>
                </a:lnTo>
                <a:lnTo>
                  <a:pt x="1208" y="1495"/>
                </a:lnTo>
                <a:lnTo>
                  <a:pt x="1219" y="1494"/>
                </a:lnTo>
                <a:lnTo>
                  <a:pt x="1230" y="1494"/>
                </a:lnTo>
                <a:lnTo>
                  <a:pt x="1241" y="1494"/>
                </a:lnTo>
                <a:lnTo>
                  <a:pt x="1249" y="1495"/>
                </a:lnTo>
                <a:lnTo>
                  <a:pt x="1252" y="1496"/>
                </a:lnTo>
                <a:lnTo>
                  <a:pt x="1256" y="1497"/>
                </a:lnTo>
                <a:lnTo>
                  <a:pt x="1258" y="1499"/>
                </a:lnTo>
                <a:lnTo>
                  <a:pt x="1259" y="1501"/>
                </a:lnTo>
                <a:lnTo>
                  <a:pt x="1260" y="1515"/>
                </a:lnTo>
                <a:lnTo>
                  <a:pt x="1262" y="1528"/>
                </a:lnTo>
                <a:lnTo>
                  <a:pt x="1264" y="1539"/>
                </a:lnTo>
                <a:lnTo>
                  <a:pt x="1265" y="1543"/>
                </a:lnTo>
                <a:lnTo>
                  <a:pt x="1272" y="1544"/>
                </a:lnTo>
                <a:lnTo>
                  <a:pt x="1291" y="1544"/>
                </a:lnTo>
                <a:lnTo>
                  <a:pt x="1302" y="1544"/>
                </a:lnTo>
                <a:lnTo>
                  <a:pt x="1311" y="1543"/>
                </a:lnTo>
                <a:lnTo>
                  <a:pt x="1320" y="1542"/>
                </a:lnTo>
                <a:lnTo>
                  <a:pt x="1326" y="1540"/>
                </a:lnTo>
                <a:lnTo>
                  <a:pt x="1338" y="1536"/>
                </a:lnTo>
                <a:lnTo>
                  <a:pt x="1354" y="1531"/>
                </a:lnTo>
                <a:lnTo>
                  <a:pt x="1362" y="1528"/>
                </a:lnTo>
                <a:lnTo>
                  <a:pt x="1370" y="1525"/>
                </a:lnTo>
                <a:lnTo>
                  <a:pt x="1378" y="1521"/>
                </a:lnTo>
                <a:lnTo>
                  <a:pt x="1384" y="1516"/>
                </a:lnTo>
                <a:lnTo>
                  <a:pt x="1395" y="1504"/>
                </a:lnTo>
                <a:lnTo>
                  <a:pt x="1403" y="1496"/>
                </a:lnTo>
                <a:lnTo>
                  <a:pt x="1409" y="1494"/>
                </a:lnTo>
                <a:lnTo>
                  <a:pt x="1413" y="1494"/>
                </a:lnTo>
                <a:lnTo>
                  <a:pt x="1419" y="1496"/>
                </a:lnTo>
                <a:lnTo>
                  <a:pt x="1426" y="1500"/>
                </a:lnTo>
                <a:lnTo>
                  <a:pt x="1435" y="1506"/>
                </a:lnTo>
                <a:lnTo>
                  <a:pt x="1444" y="1512"/>
                </a:lnTo>
                <a:lnTo>
                  <a:pt x="1454" y="1516"/>
                </a:lnTo>
                <a:lnTo>
                  <a:pt x="1463" y="1519"/>
                </a:lnTo>
                <a:lnTo>
                  <a:pt x="1478" y="1523"/>
                </a:lnTo>
                <a:lnTo>
                  <a:pt x="1487" y="1525"/>
                </a:lnTo>
                <a:lnTo>
                  <a:pt x="1492" y="1524"/>
                </a:lnTo>
                <a:lnTo>
                  <a:pt x="1499" y="1521"/>
                </a:lnTo>
                <a:lnTo>
                  <a:pt x="1504" y="1518"/>
                </a:lnTo>
                <a:lnTo>
                  <a:pt x="1507" y="1516"/>
                </a:lnTo>
                <a:close/>
                <a:moveTo>
                  <a:pt x="2165" y="3195"/>
                </a:moveTo>
                <a:lnTo>
                  <a:pt x="2154" y="3200"/>
                </a:lnTo>
                <a:lnTo>
                  <a:pt x="2136" y="3205"/>
                </a:lnTo>
                <a:lnTo>
                  <a:pt x="2127" y="3208"/>
                </a:lnTo>
                <a:lnTo>
                  <a:pt x="2122" y="3211"/>
                </a:lnTo>
                <a:lnTo>
                  <a:pt x="2120" y="3213"/>
                </a:lnTo>
                <a:lnTo>
                  <a:pt x="2120" y="3216"/>
                </a:lnTo>
                <a:lnTo>
                  <a:pt x="2120" y="3218"/>
                </a:lnTo>
                <a:lnTo>
                  <a:pt x="2122" y="3220"/>
                </a:lnTo>
                <a:lnTo>
                  <a:pt x="2126" y="3226"/>
                </a:lnTo>
                <a:lnTo>
                  <a:pt x="2132" y="3229"/>
                </a:lnTo>
                <a:lnTo>
                  <a:pt x="2137" y="3230"/>
                </a:lnTo>
                <a:lnTo>
                  <a:pt x="2142" y="3231"/>
                </a:lnTo>
                <a:lnTo>
                  <a:pt x="2152" y="3231"/>
                </a:lnTo>
                <a:lnTo>
                  <a:pt x="2162" y="3233"/>
                </a:lnTo>
                <a:lnTo>
                  <a:pt x="2172" y="3237"/>
                </a:lnTo>
                <a:lnTo>
                  <a:pt x="2184" y="3240"/>
                </a:lnTo>
                <a:lnTo>
                  <a:pt x="2189" y="3241"/>
                </a:lnTo>
                <a:lnTo>
                  <a:pt x="2193" y="3242"/>
                </a:lnTo>
                <a:lnTo>
                  <a:pt x="2196" y="3242"/>
                </a:lnTo>
                <a:lnTo>
                  <a:pt x="2199" y="3240"/>
                </a:lnTo>
                <a:lnTo>
                  <a:pt x="2200" y="3236"/>
                </a:lnTo>
                <a:lnTo>
                  <a:pt x="2202" y="3231"/>
                </a:lnTo>
                <a:lnTo>
                  <a:pt x="2203" y="3229"/>
                </a:lnTo>
                <a:lnTo>
                  <a:pt x="2205" y="3228"/>
                </a:lnTo>
                <a:lnTo>
                  <a:pt x="2207" y="3227"/>
                </a:lnTo>
                <a:lnTo>
                  <a:pt x="2210" y="3227"/>
                </a:lnTo>
                <a:lnTo>
                  <a:pt x="2222" y="3227"/>
                </a:lnTo>
                <a:lnTo>
                  <a:pt x="2238" y="3225"/>
                </a:lnTo>
                <a:lnTo>
                  <a:pt x="2247" y="3224"/>
                </a:lnTo>
                <a:lnTo>
                  <a:pt x="2253" y="3222"/>
                </a:lnTo>
                <a:lnTo>
                  <a:pt x="2257" y="3219"/>
                </a:lnTo>
                <a:lnTo>
                  <a:pt x="2257" y="3218"/>
                </a:lnTo>
                <a:lnTo>
                  <a:pt x="2251" y="3212"/>
                </a:lnTo>
                <a:lnTo>
                  <a:pt x="2237" y="3202"/>
                </a:lnTo>
                <a:lnTo>
                  <a:pt x="2229" y="3196"/>
                </a:lnTo>
                <a:lnTo>
                  <a:pt x="2222" y="3192"/>
                </a:lnTo>
                <a:lnTo>
                  <a:pt x="2213" y="3189"/>
                </a:lnTo>
                <a:lnTo>
                  <a:pt x="2207" y="3188"/>
                </a:lnTo>
                <a:lnTo>
                  <a:pt x="2198" y="3188"/>
                </a:lnTo>
                <a:lnTo>
                  <a:pt x="2190" y="3188"/>
                </a:lnTo>
                <a:lnTo>
                  <a:pt x="2188" y="3189"/>
                </a:lnTo>
                <a:lnTo>
                  <a:pt x="2185" y="3190"/>
                </a:lnTo>
                <a:lnTo>
                  <a:pt x="2183" y="3191"/>
                </a:lnTo>
                <a:lnTo>
                  <a:pt x="2181" y="3194"/>
                </a:lnTo>
                <a:lnTo>
                  <a:pt x="2179" y="3196"/>
                </a:lnTo>
                <a:lnTo>
                  <a:pt x="2176" y="3197"/>
                </a:lnTo>
                <a:lnTo>
                  <a:pt x="2173" y="3197"/>
                </a:lnTo>
                <a:lnTo>
                  <a:pt x="2170" y="3197"/>
                </a:lnTo>
                <a:lnTo>
                  <a:pt x="2167" y="3196"/>
                </a:lnTo>
                <a:lnTo>
                  <a:pt x="2165" y="3195"/>
                </a:lnTo>
                <a:close/>
                <a:moveTo>
                  <a:pt x="1907" y="3132"/>
                </a:moveTo>
                <a:lnTo>
                  <a:pt x="1918" y="3124"/>
                </a:lnTo>
                <a:lnTo>
                  <a:pt x="1936" y="3112"/>
                </a:lnTo>
                <a:lnTo>
                  <a:pt x="1946" y="3106"/>
                </a:lnTo>
                <a:lnTo>
                  <a:pt x="1956" y="3103"/>
                </a:lnTo>
                <a:lnTo>
                  <a:pt x="1960" y="3102"/>
                </a:lnTo>
                <a:lnTo>
                  <a:pt x="1964" y="3102"/>
                </a:lnTo>
                <a:lnTo>
                  <a:pt x="1967" y="3103"/>
                </a:lnTo>
                <a:lnTo>
                  <a:pt x="1970" y="3105"/>
                </a:lnTo>
                <a:lnTo>
                  <a:pt x="1975" y="3109"/>
                </a:lnTo>
                <a:lnTo>
                  <a:pt x="1983" y="3113"/>
                </a:lnTo>
                <a:lnTo>
                  <a:pt x="1991" y="3115"/>
                </a:lnTo>
                <a:lnTo>
                  <a:pt x="2000" y="3115"/>
                </a:lnTo>
                <a:lnTo>
                  <a:pt x="2015" y="3116"/>
                </a:lnTo>
                <a:lnTo>
                  <a:pt x="2027" y="3118"/>
                </a:lnTo>
                <a:lnTo>
                  <a:pt x="2040" y="3123"/>
                </a:lnTo>
                <a:lnTo>
                  <a:pt x="2062" y="3132"/>
                </a:lnTo>
                <a:lnTo>
                  <a:pt x="2073" y="3138"/>
                </a:lnTo>
                <a:lnTo>
                  <a:pt x="2083" y="3144"/>
                </a:lnTo>
                <a:lnTo>
                  <a:pt x="2092" y="3149"/>
                </a:lnTo>
                <a:lnTo>
                  <a:pt x="2096" y="3154"/>
                </a:lnTo>
                <a:lnTo>
                  <a:pt x="2103" y="3164"/>
                </a:lnTo>
                <a:lnTo>
                  <a:pt x="2112" y="3172"/>
                </a:lnTo>
                <a:lnTo>
                  <a:pt x="2114" y="3175"/>
                </a:lnTo>
                <a:lnTo>
                  <a:pt x="2115" y="3179"/>
                </a:lnTo>
                <a:lnTo>
                  <a:pt x="2114" y="3181"/>
                </a:lnTo>
                <a:lnTo>
                  <a:pt x="2114" y="3182"/>
                </a:lnTo>
                <a:lnTo>
                  <a:pt x="2112" y="3184"/>
                </a:lnTo>
                <a:lnTo>
                  <a:pt x="2110" y="3185"/>
                </a:lnTo>
                <a:lnTo>
                  <a:pt x="2103" y="3187"/>
                </a:lnTo>
                <a:lnTo>
                  <a:pt x="2095" y="3189"/>
                </a:lnTo>
                <a:lnTo>
                  <a:pt x="2086" y="3190"/>
                </a:lnTo>
                <a:lnTo>
                  <a:pt x="2076" y="3190"/>
                </a:lnTo>
                <a:lnTo>
                  <a:pt x="2067" y="3189"/>
                </a:lnTo>
                <a:lnTo>
                  <a:pt x="2057" y="3188"/>
                </a:lnTo>
                <a:lnTo>
                  <a:pt x="2049" y="3184"/>
                </a:lnTo>
                <a:lnTo>
                  <a:pt x="2042" y="3180"/>
                </a:lnTo>
                <a:lnTo>
                  <a:pt x="2030" y="3168"/>
                </a:lnTo>
                <a:lnTo>
                  <a:pt x="2016" y="3158"/>
                </a:lnTo>
                <a:lnTo>
                  <a:pt x="2009" y="3153"/>
                </a:lnTo>
                <a:lnTo>
                  <a:pt x="2003" y="3150"/>
                </a:lnTo>
                <a:lnTo>
                  <a:pt x="1996" y="3148"/>
                </a:lnTo>
                <a:lnTo>
                  <a:pt x="1990" y="3147"/>
                </a:lnTo>
                <a:lnTo>
                  <a:pt x="1976" y="3145"/>
                </a:lnTo>
                <a:lnTo>
                  <a:pt x="1960" y="3142"/>
                </a:lnTo>
                <a:lnTo>
                  <a:pt x="1952" y="3141"/>
                </a:lnTo>
                <a:lnTo>
                  <a:pt x="1945" y="3141"/>
                </a:lnTo>
                <a:lnTo>
                  <a:pt x="1941" y="3141"/>
                </a:lnTo>
                <a:lnTo>
                  <a:pt x="1938" y="3142"/>
                </a:lnTo>
                <a:lnTo>
                  <a:pt x="1937" y="3143"/>
                </a:lnTo>
                <a:lnTo>
                  <a:pt x="1937" y="3145"/>
                </a:lnTo>
                <a:lnTo>
                  <a:pt x="1938" y="3147"/>
                </a:lnTo>
                <a:lnTo>
                  <a:pt x="1939" y="3148"/>
                </a:lnTo>
                <a:lnTo>
                  <a:pt x="1939" y="3150"/>
                </a:lnTo>
                <a:lnTo>
                  <a:pt x="1938" y="3151"/>
                </a:lnTo>
                <a:lnTo>
                  <a:pt x="1936" y="3151"/>
                </a:lnTo>
                <a:lnTo>
                  <a:pt x="1931" y="3151"/>
                </a:lnTo>
                <a:lnTo>
                  <a:pt x="1921" y="3149"/>
                </a:lnTo>
                <a:lnTo>
                  <a:pt x="1914" y="3146"/>
                </a:lnTo>
                <a:lnTo>
                  <a:pt x="1907" y="3144"/>
                </a:lnTo>
                <a:lnTo>
                  <a:pt x="1904" y="3142"/>
                </a:lnTo>
                <a:lnTo>
                  <a:pt x="1905" y="3137"/>
                </a:lnTo>
                <a:lnTo>
                  <a:pt x="1907" y="3132"/>
                </a:lnTo>
                <a:close/>
                <a:moveTo>
                  <a:pt x="3808" y="2685"/>
                </a:moveTo>
                <a:lnTo>
                  <a:pt x="3796" y="2692"/>
                </a:lnTo>
                <a:lnTo>
                  <a:pt x="3783" y="2704"/>
                </a:lnTo>
                <a:lnTo>
                  <a:pt x="3783" y="2707"/>
                </a:lnTo>
                <a:lnTo>
                  <a:pt x="3785" y="2712"/>
                </a:lnTo>
                <a:lnTo>
                  <a:pt x="3786" y="2714"/>
                </a:lnTo>
                <a:lnTo>
                  <a:pt x="3787" y="2716"/>
                </a:lnTo>
                <a:lnTo>
                  <a:pt x="3789" y="2716"/>
                </a:lnTo>
                <a:lnTo>
                  <a:pt x="3790" y="2716"/>
                </a:lnTo>
                <a:lnTo>
                  <a:pt x="3797" y="2706"/>
                </a:lnTo>
                <a:lnTo>
                  <a:pt x="3805" y="2699"/>
                </a:lnTo>
                <a:lnTo>
                  <a:pt x="3808" y="2698"/>
                </a:lnTo>
                <a:lnTo>
                  <a:pt x="3811" y="2697"/>
                </a:lnTo>
                <a:lnTo>
                  <a:pt x="3815" y="2697"/>
                </a:lnTo>
                <a:lnTo>
                  <a:pt x="3823" y="2698"/>
                </a:lnTo>
                <a:lnTo>
                  <a:pt x="3826" y="2699"/>
                </a:lnTo>
                <a:lnTo>
                  <a:pt x="3829" y="2698"/>
                </a:lnTo>
                <a:lnTo>
                  <a:pt x="3831" y="2697"/>
                </a:lnTo>
                <a:lnTo>
                  <a:pt x="3833" y="2696"/>
                </a:lnTo>
                <a:lnTo>
                  <a:pt x="3836" y="2691"/>
                </a:lnTo>
                <a:lnTo>
                  <a:pt x="3840" y="2687"/>
                </a:lnTo>
                <a:lnTo>
                  <a:pt x="3847" y="2685"/>
                </a:lnTo>
                <a:lnTo>
                  <a:pt x="3853" y="2683"/>
                </a:lnTo>
                <a:lnTo>
                  <a:pt x="3856" y="2682"/>
                </a:lnTo>
                <a:lnTo>
                  <a:pt x="3857" y="2680"/>
                </a:lnTo>
                <a:lnTo>
                  <a:pt x="3856" y="2677"/>
                </a:lnTo>
                <a:lnTo>
                  <a:pt x="3853" y="2672"/>
                </a:lnTo>
                <a:lnTo>
                  <a:pt x="3849" y="2667"/>
                </a:lnTo>
                <a:lnTo>
                  <a:pt x="3845" y="2664"/>
                </a:lnTo>
                <a:lnTo>
                  <a:pt x="3840" y="2662"/>
                </a:lnTo>
                <a:lnTo>
                  <a:pt x="3837" y="2661"/>
                </a:lnTo>
                <a:lnTo>
                  <a:pt x="3834" y="2660"/>
                </a:lnTo>
                <a:lnTo>
                  <a:pt x="3832" y="2661"/>
                </a:lnTo>
                <a:lnTo>
                  <a:pt x="3830" y="2662"/>
                </a:lnTo>
                <a:lnTo>
                  <a:pt x="3828" y="2664"/>
                </a:lnTo>
                <a:lnTo>
                  <a:pt x="3818" y="2678"/>
                </a:lnTo>
                <a:lnTo>
                  <a:pt x="3813" y="2685"/>
                </a:lnTo>
                <a:lnTo>
                  <a:pt x="3808" y="2685"/>
                </a:lnTo>
                <a:close/>
                <a:moveTo>
                  <a:pt x="3951" y="2588"/>
                </a:moveTo>
                <a:lnTo>
                  <a:pt x="3947" y="2597"/>
                </a:lnTo>
                <a:lnTo>
                  <a:pt x="3944" y="2604"/>
                </a:lnTo>
                <a:lnTo>
                  <a:pt x="3944" y="2608"/>
                </a:lnTo>
                <a:lnTo>
                  <a:pt x="3944" y="2612"/>
                </a:lnTo>
                <a:lnTo>
                  <a:pt x="3946" y="2615"/>
                </a:lnTo>
                <a:lnTo>
                  <a:pt x="3948" y="2619"/>
                </a:lnTo>
                <a:lnTo>
                  <a:pt x="3951" y="2626"/>
                </a:lnTo>
                <a:lnTo>
                  <a:pt x="3954" y="2634"/>
                </a:lnTo>
                <a:lnTo>
                  <a:pt x="3954" y="2637"/>
                </a:lnTo>
                <a:lnTo>
                  <a:pt x="3953" y="2640"/>
                </a:lnTo>
                <a:lnTo>
                  <a:pt x="3951" y="2642"/>
                </a:lnTo>
                <a:lnTo>
                  <a:pt x="3948" y="2643"/>
                </a:lnTo>
                <a:lnTo>
                  <a:pt x="3942" y="2646"/>
                </a:lnTo>
                <a:lnTo>
                  <a:pt x="3934" y="2647"/>
                </a:lnTo>
                <a:lnTo>
                  <a:pt x="3931" y="2648"/>
                </a:lnTo>
                <a:lnTo>
                  <a:pt x="3928" y="2650"/>
                </a:lnTo>
                <a:lnTo>
                  <a:pt x="3927" y="2653"/>
                </a:lnTo>
                <a:lnTo>
                  <a:pt x="3928" y="2656"/>
                </a:lnTo>
                <a:lnTo>
                  <a:pt x="3934" y="2662"/>
                </a:lnTo>
                <a:lnTo>
                  <a:pt x="3939" y="2668"/>
                </a:lnTo>
                <a:lnTo>
                  <a:pt x="3941" y="2671"/>
                </a:lnTo>
                <a:lnTo>
                  <a:pt x="3943" y="2675"/>
                </a:lnTo>
                <a:lnTo>
                  <a:pt x="3943" y="2679"/>
                </a:lnTo>
                <a:lnTo>
                  <a:pt x="3942" y="2682"/>
                </a:lnTo>
                <a:lnTo>
                  <a:pt x="3941" y="2686"/>
                </a:lnTo>
                <a:lnTo>
                  <a:pt x="3941" y="2690"/>
                </a:lnTo>
                <a:lnTo>
                  <a:pt x="3942" y="2694"/>
                </a:lnTo>
                <a:lnTo>
                  <a:pt x="3943" y="2699"/>
                </a:lnTo>
                <a:lnTo>
                  <a:pt x="3945" y="2706"/>
                </a:lnTo>
                <a:lnTo>
                  <a:pt x="3947" y="2708"/>
                </a:lnTo>
                <a:lnTo>
                  <a:pt x="3951" y="2710"/>
                </a:lnTo>
                <a:lnTo>
                  <a:pt x="3961" y="2713"/>
                </a:lnTo>
                <a:lnTo>
                  <a:pt x="3966" y="2713"/>
                </a:lnTo>
                <a:lnTo>
                  <a:pt x="3971" y="2712"/>
                </a:lnTo>
                <a:lnTo>
                  <a:pt x="3972" y="2711"/>
                </a:lnTo>
                <a:lnTo>
                  <a:pt x="3973" y="2709"/>
                </a:lnTo>
                <a:lnTo>
                  <a:pt x="3975" y="2706"/>
                </a:lnTo>
                <a:lnTo>
                  <a:pt x="3975" y="2703"/>
                </a:lnTo>
                <a:lnTo>
                  <a:pt x="3973" y="2687"/>
                </a:lnTo>
                <a:lnTo>
                  <a:pt x="3975" y="2672"/>
                </a:lnTo>
                <a:lnTo>
                  <a:pt x="3976" y="2661"/>
                </a:lnTo>
                <a:lnTo>
                  <a:pt x="3975" y="2654"/>
                </a:lnTo>
                <a:lnTo>
                  <a:pt x="3971" y="2650"/>
                </a:lnTo>
                <a:lnTo>
                  <a:pt x="3968" y="2646"/>
                </a:lnTo>
                <a:lnTo>
                  <a:pt x="3967" y="2644"/>
                </a:lnTo>
                <a:lnTo>
                  <a:pt x="3966" y="2640"/>
                </a:lnTo>
                <a:lnTo>
                  <a:pt x="3966" y="2635"/>
                </a:lnTo>
                <a:lnTo>
                  <a:pt x="3968" y="2628"/>
                </a:lnTo>
                <a:lnTo>
                  <a:pt x="3971" y="2616"/>
                </a:lnTo>
                <a:lnTo>
                  <a:pt x="3972" y="2605"/>
                </a:lnTo>
                <a:lnTo>
                  <a:pt x="3971" y="2601"/>
                </a:lnTo>
                <a:lnTo>
                  <a:pt x="3970" y="2598"/>
                </a:lnTo>
                <a:lnTo>
                  <a:pt x="3969" y="2595"/>
                </a:lnTo>
                <a:lnTo>
                  <a:pt x="3968" y="2593"/>
                </a:lnTo>
                <a:lnTo>
                  <a:pt x="3963" y="2590"/>
                </a:lnTo>
                <a:lnTo>
                  <a:pt x="3959" y="2589"/>
                </a:lnTo>
                <a:lnTo>
                  <a:pt x="3954" y="2589"/>
                </a:lnTo>
                <a:lnTo>
                  <a:pt x="3951" y="2588"/>
                </a:lnTo>
                <a:close/>
                <a:moveTo>
                  <a:pt x="5530" y="3421"/>
                </a:moveTo>
                <a:lnTo>
                  <a:pt x="5526" y="3429"/>
                </a:lnTo>
                <a:lnTo>
                  <a:pt x="5520" y="3442"/>
                </a:lnTo>
                <a:lnTo>
                  <a:pt x="5517" y="3448"/>
                </a:lnTo>
                <a:lnTo>
                  <a:pt x="5515" y="3454"/>
                </a:lnTo>
                <a:lnTo>
                  <a:pt x="5514" y="3460"/>
                </a:lnTo>
                <a:lnTo>
                  <a:pt x="5515" y="3465"/>
                </a:lnTo>
                <a:lnTo>
                  <a:pt x="5518" y="3474"/>
                </a:lnTo>
                <a:lnTo>
                  <a:pt x="5523" y="3487"/>
                </a:lnTo>
                <a:lnTo>
                  <a:pt x="5526" y="3493"/>
                </a:lnTo>
                <a:lnTo>
                  <a:pt x="5529" y="3498"/>
                </a:lnTo>
                <a:lnTo>
                  <a:pt x="5533" y="3503"/>
                </a:lnTo>
                <a:lnTo>
                  <a:pt x="5537" y="3507"/>
                </a:lnTo>
                <a:lnTo>
                  <a:pt x="5541" y="3509"/>
                </a:lnTo>
                <a:lnTo>
                  <a:pt x="5545" y="3509"/>
                </a:lnTo>
                <a:lnTo>
                  <a:pt x="5549" y="3507"/>
                </a:lnTo>
                <a:lnTo>
                  <a:pt x="5553" y="3504"/>
                </a:lnTo>
                <a:lnTo>
                  <a:pt x="5561" y="3498"/>
                </a:lnTo>
                <a:lnTo>
                  <a:pt x="5563" y="3494"/>
                </a:lnTo>
                <a:lnTo>
                  <a:pt x="5565" y="3490"/>
                </a:lnTo>
                <a:lnTo>
                  <a:pt x="5569" y="3485"/>
                </a:lnTo>
                <a:lnTo>
                  <a:pt x="5571" y="3481"/>
                </a:lnTo>
                <a:lnTo>
                  <a:pt x="5572" y="3478"/>
                </a:lnTo>
                <a:lnTo>
                  <a:pt x="5572" y="3475"/>
                </a:lnTo>
                <a:lnTo>
                  <a:pt x="5572" y="3472"/>
                </a:lnTo>
                <a:lnTo>
                  <a:pt x="5563" y="3458"/>
                </a:lnTo>
                <a:lnTo>
                  <a:pt x="5555" y="3445"/>
                </a:lnTo>
                <a:lnTo>
                  <a:pt x="5544" y="3431"/>
                </a:lnTo>
                <a:lnTo>
                  <a:pt x="5537" y="3424"/>
                </a:lnTo>
                <a:lnTo>
                  <a:pt x="5534" y="3422"/>
                </a:lnTo>
                <a:lnTo>
                  <a:pt x="5530" y="3421"/>
                </a:lnTo>
                <a:close/>
                <a:moveTo>
                  <a:pt x="6631" y="2898"/>
                </a:moveTo>
                <a:lnTo>
                  <a:pt x="6633" y="2902"/>
                </a:lnTo>
                <a:lnTo>
                  <a:pt x="6635" y="2904"/>
                </a:lnTo>
                <a:lnTo>
                  <a:pt x="6637" y="2906"/>
                </a:lnTo>
                <a:lnTo>
                  <a:pt x="6639" y="2906"/>
                </a:lnTo>
                <a:lnTo>
                  <a:pt x="6643" y="2905"/>
                </a:lnTo>
                <a:lnTo>
                  <a:pt x="6648" y="2902"/>
                </a:lnTo>
                <a:lnTo>
                  <a:pt x="6659" y="2890"/>
                </a:lnTo>
                <a:lnTo>
                  <a:pt x="6669" y="2880"/>
                </a:lnTo>
                <a:lnTo>
                  <a:pt x="6677" y="2876"/>
                </a:lnTo>
                <a:lnTo>
                  <a:pt x="6685" y="2872"/>
                </a:lnTo>
                <a:lnTo>
                  <a:pt x="6696" y="2868"/>
                </a:lnTo>
                <a:lnTo>
                  <a:pt x="6706" y="2866"/>
                </a:lnTo>
                <a:lnTo>
                  <a:pt x="6725" y="2862"/>
                </a:lnTo>
                <a:lnTo>
                  <a:pt x="6735" y="2860"/>
                </a:lnTo>
                <a:lnTo>
                  <a:pt x="6742" y="2859"/>
                </a:lnTo>
                <a:lnTo>
                  <a:pt x="6752" y="2854"/>
                </a:lnTo>
                <a:lnTo>
                  <a:pt x="6765" y="2846"/>
                </a:lnTo>
                <a:lnTo>
                  <a:pt x="6776" y="2837"/>
                </a:lnTo>
                <a:lnTo>
                  <a:pt x="6778" y="2834"/>
                </a:lnTo>
                <a:lnTo>
                  <a:pt x="6780" y="2830"/>
                </a:lnTo>
                <a:lnTo>
                  <a:pt x="6781" y="2824"/>
                </a:lnTo>
                <a:lnTo>
                  <a:pt x="6782" y="2819"/>
                </a:lnTo>
                <a:lnTo>
                  <a:pt x="6784" y="2807"/>
                </a:lnTo>
                <a:lnTo>
                  <a:pt x="6785" y="2793"/>
                </a:lnTo>
                <a:lnTo>
                  <a:pt x="6785" y="2781"/>
                </a:lnTo>
                <a:lnTo>
                  <a:pt x="6787" y="2772"/>
                </a:lnTo>
                <a:lnTo>
                  <a:pt x="6788" y="2769"/>
                </a:lnTo>
                <a:lnTo>
                  <a:pt x="6789" y="2767"/>
                </a:lnTo>
                <a:lnTo>
                  <a:pt x="6791" y="2766"/>
                </a:lnTo>
                <a:lnTo>
                  <a:pt x="6794" y="2767"/>
                </a:lnTo>
                <a:lnTo>
                  <a:pt x="6799" y="2771"/>
                </a:lnTo>
                <a:lnTo>
                  <a:pt x="6803" y="2773"/>
                </a:lnTo>
                <a:lnTo>
                  <a:pt x="6809" y="2775"/>
                </a:lnTo>
                <a:lnTo>
                  <a:pt x="6813" y="2777"/>
                </a:lnTo>
                <a:lnTo>
                  <a:pt x="6818" y="2777"/>
                </a:lnTo>
                <a:lnTo>
                  <a:pt x="6823" y="2776"/>
                </a:lnTo>
                <a:lnTo>
                  <a:pt x="6830" y="2775"/>
                </a:lnTo>
                <a:lnTo>
                  <a:pt x="6837" y="2772"/>
                </a:lnTo>
                <a:lnTo>
                  <a:pt x="6844" y="2768"/>
                </a:lnTo>
                <a:lnTo>
                  <a:pt x="6851" y="2763"/>
                </a:lnTo>
                <a:lnTo>
                  <a:pt x="6856" y="2755"/>
                </a:lnTo>
                <a:lnTo>
                  <a:pt x="6860" y="2748"/>
                </a:lnTo>
                <a:lnTo>
                  <a:pt x="6868" y="2734"/>
                </a:lnTo>
                <a:lnTo>
                  <a:pt x="6876" y="2723"/>
                </a:lnTo>
                <a:lnTo>
                  <a:pt x="6889" y="2712"/>
                </a:lnTo>
                <a:lnTo>
                  <a:pt x="6907" y="2700"/>
                </a:lnTo>
                <a:lnTo>
                  <a:pt x="6911" y="2696"/>
                </a:lnTo>
                <a:lnTo>
                  <a:pt x="6915" y="2692"/>
                </a:lnTo>
                <a:lnTo>
                  <a:pt x="6918" y="2688"/>
                </a:lnTo>
                <a:lnTo>
                  <a:pt x="6919" y="2685"/>
                </a:lnTo>
                <a:lnTo>
                  <a:pt x="6920" y="2681"/>
                </a:lnTo>
                <a:lnTo>
                  <a:pt x="6920" y="2678"/>
                </a:lnTo>
                <a:lnTo>
                  <a:pt x="6918" y="2675"/>
                </a:lnTo>
                <a:lnTo>
                  <a:pt x="6915" y="2670"/>
                </a:lnTo>
                <a:lnTo>
                  <a:pt x="6900" y="2658"/>
                </a:lnTo>
                <a:lnTo>
                  <a:pt x="6889" y="2645"/>
                </a:lnTo>
                <a:lnTo>
                  <a:pt x="6886" y="2640"/>
                </a:lnTo>
                <a:lnTo>
                  <a:pt x="6885" y="2636"/>
                </a:lnTo>
                <a:lnTo>
                  <a:pt x="6885" y="2634"/>
                </a:lnTo>
                <a:lnTo>
                  <a:pt x="6885" y="2632"/>
                </a:lnTo>
                <a:lnTo>
                  <a:pt x="6886" y="2630"/>
                </a:lnTo>
                <a:lnTo>
                  <a:pt x="6888" y="2627"/>
                </a:lnTo>
                <a:lnTo>
                  <a:pt x="6901" y="2618"/>
                </a:lnTo>
                <a:lnTo>
                  <a:pt x="6920" y="2604"/>
                </a:lnTo>
                <a:lnTo>
                  <a:pt x="6939" y="2593"/>
                </a:lnTo>
                <a:lnTo>
                  <a:pt x="6950" y="2584"/>
                </a:lnTo>
                <a:lnTo>
                  <a:pt x="6973" y="2566"/>
                </a:lnTo>
                <a:lnTo>
                  <a:pt x="7013" y="2532"/>
                </a:lnTo>
                <a:lnTo>
                  <a:pt x="7048" y="2502"/>
                </a:lnTo>
                <a:lnTo>
                  <a:pt x="7055" y="2493"/>
                </a:lnTo>
                <a:lnTo>
                  <a:pt x="7032" y="2509"/>
                </a:lnTo>
                <a:lnTo>
                  <a:pt x="6998" y="2530"/>
                </a:lnTo>
                <a:lnTo>
                  <a:pt x="6983" y="2540"/>
                </a:lnTo>
                <a:lnTo>
                  <a:pt x="6968" y="2548"/>
                </a:lnTo>
                <a:lnTo>
                  <a:pt x="6962" y="2550"/>
                </a:lnTo>
                <a:lnTo>
                  <a:pt x="6957" y="2552"/>
                </a:lnTo>
                <a:lnTo>
                  <a:pt x="6954" y="2552"/>
                </a:lnTo>
                <a:lnTo>
                  <a:pt x="6952" y="2551"/>
                </a:lnTo>
                <a:lnTo>
                  <a:pt x="6951" y="2549"/>
                </a:lnTo>
                <a:lnTo>
                  <a:pt x="6950" y="2548"/>
                </a:lnTo>
                <a:lnTo>
                  <a:pt x="6948" y="2547"/>
                </a:lnTo>
                <a:lnTo>
                  <a:pt x="6945" y="2546"/>
                </a:lnTo>
                <a:lnTo>
                  <a:pt x="6939" y="2545"/>
                </a:lnTo>
                <a:lnTo>
                  <a:pt x="6931" y="2545"/>
                </a:lnTo>
                <a:lnTo>
                  <a:pt x="6925" y="2545"/>
                </a:lnTo>
                <a:lnTo>
                  <a:pt x="6918" y="2543"/>
                </a:lnTo>
                <a:lnTo>
                  <a:pt x="6915" y="2543"/>
                </a:lnTo>
                <a:lnTo>
                  <a:pt x="6912" y="2540"/>
                </a:lnTo>
                <a:lnTo>
                  <a:pt x="6910" y="2539"/>
                </a:lnTo>
                <a:lnTo>
                  <a:pt x="6908" y="2537"/>
                </a:lnTo>
                <a:lnTo>
                  <a:pt x="6902" y="2527"/>
                </a:lnTo>
                <a:lnTo>
                  <a:pt x="6895" y="2514"/>
                </a:lnTo>
                <a:lnTo>
                  <a:pt x="6891" y="2509"/>
                </a:lnTo>
                <a:lnTo>
                  <a:pt x="6889" y="2505"/>
                </a:lnTo>
                <a:lnTo>
                  <a:pt x="6888" y="2503"/>
                </a:lnTo>
                <a:lnTo>
                  <a:pt x="6889" y="2502"/>
                </a:lnTo>
                <a:lnTo>
                  <a:pt x="6890" y="2500"/>
                </a:lnTo>
                <a:lnTo>
                  <a:pt x="6891" y="2496"/>
                </a:lnTo>
                <a:lnTo>
                  <a:pt x="6891" y="2492"/>
                </a:lnTo>
                <a:lnTo>
                  <a:pt x="6891" y="2487"/>
                </a:lnTo>
                <a:lnTo>
                  <a:pt x="6891" y="2483"/>
                </a:lnTo>
                <a:lnTo>
                  <a:pt x="6893" y="2479"/>
                </a:lnTo>
                <a:lnTo>
                  <a:pt x="6893" y="2477"/>
                </a:lnTo>
                <a:lnTo>
                  <a:pt x="6894" y="2476"/>
                </a:lnTo>
                <a:lnTo>
                  <a:pt x="6895" y="2476"/>
                </a:lnTo>
                <a:lnTo>
                  <a:pt x="6896" y="2476"/>
                </a:lnTo>
                <a:lnTo>
                  <a:pt x="6898" y="2477"/>
                </a:lnTo>
                <a:lnTo>
                  <a:pt x="6902" y="2477"/>
                </a:lnTo>
                <a:lnTo>
                  <a:pt x="6906" y="2477"/>
                </a:lnTo>
                <a:lnTo>
                  <a:pt x="6910" y="2476"/>
                </a:lnTo>
                <a:lnTo>
                  <a:pt x="6915" y="2473"/>
                </a:lnTo>
                <a:lnTo>
                  <a:pt x="6917" y="2471"/>
                </a:lnTo>
                <a:lnTo>
                  <a:pt x="6918" y="2469"/>
                </a:lnTo>
                <a:lnTo>
                  <a:pt x="6918" y="2467"/>
                </a:lnTo>
                <a:lnTo>
                  <a:pt x="6917" y="2464"/>
                </a:lnTo>
                <a:lnTo>
                  <a:pt x="6916" y="2461"/>
                </a:lnTo>
                <a:lnTo>
                  <a:pt x="6911" y="2456"/>
                </a:lnTo>
                <a:lnTo>
                  <a:pt x="6906" y="2451"/>
                </a:lnTo>
                <a:lnTo>
                  <a:pt x="6901" y="2447"/>
                </a:lnTo>
                <a:lnTo>
                  <a:pt x="6896" y="2443"/>
                </a:lnTo>
                <a:lnTo>
                  <a:pt x="6894" y="2441"/>
                </a:lnTo>
                <a:lnTo>
                  <a:pt x="6891" y="2439"/>
                </a:lnTo>
                <a:lnTo>
                  <a:pt x="6890" y="2437"/>
                </a:lnTo>
                <a:lnTo>
                  <a:pt x="6890" y="2435"/>
                </a:lnTo>
                <a:lnTo>
                  <a:pt x="6890" y="2432"/>
                </a:lnTo>
                <a:lnTo>
                  <a:pt x="6891" y="2429"/>
                </a:lnTo>
                <a:lnTo>
                  <a:pt x="6894" y="2426"/>
                </a:lnTo>
                <a:lnTo>
                  <a:pt x="6897" y="2422"/>
                </a:lnTo>
                <a:lnTo>
                  <a:pt x="6913" y="2411"/>
                </a:lnTo>
                <a:lnTo>
                  <a:pt x="6928" y="2402"/>
                </a:lnTo>
                <a:lnTo>
                  <a:pt x="6934" y="2398"/>
                </a:lnTo>
                <a:lnTo>
                  <a:pt x="6938" y="2393"/>
                </a:lnTo>
                <a:lnTo>
                  <a:pt x="6938" y="2390"/>
                </a:lnTo>
                <a:lnTo>
                  <a:pt x="6938" y="2386"/>
                </a:lnTo>
                <a:lnTo>
                  <a:pt x="6937" y="2382"/>
                </a:lnTo>
                <a:lnTo>
                  <a:pt x="6935" y="2378"/>
                </a:lnTo>
                <a:lnTo>
                  <a:pt x="6930" y="2363"/>
                </a:lnTo>
                <a:lnTo>
                  <a:pt x="6925" y="2338"/>
                </a:lnTo>
                <a:lnTo>
                  <a:pt x="6920" y="2309"/>
                </a:lnTo>
                <a:lnTo>
                  <a:pt x="6915" y="2276"/>
                </a:lnTo>
                <a:lnTo>
                  <a:pt x="6909" y="2247"/>
                </a:lnTo>
                <a:lnTo>
                  <a:pt x="6904" y="2224"/>
                </a:lnTo>
                <a:lnTo>
                  <a:pt x="6902" y="2216"/>
                </a:lnTo>
                <a:lnTo>
                  <a:pt x="6899" y="2210"/>
                </a:lnTo>
                <a:lnTo>
                  <a:pt x="6898" y="2209"/>
                </a:lnTo>
                <a:lnTo>
                  <a:pt x="6897" y="2209"/>
                </a:lnTo>
                <a:lnTo>
                  <a:pt x="6896" y="2210"/>
                </a:lnTo>
                <a:lnTo>
                  <a:pt x="6896" y="2213"/>
                </a:lnTo>
                <a:lnTo>
                  <a:pt x="6887" y="2232"/>
                </a:lnTo>
                <a:lnTo>
                  <a:pt x="6880" y="2252"/>
                </a:lnTo>
                <a:lnTo>
                  <a:pt x="6875" y="2269"/>
                </a:lnTo>
                <a:lnTo>
                  <a:pt x="6873" y="2277"/>
                </a:lnTo>
                <a:lnTo>
                  <a:pt x="6872" y="2282"/>
                </a:lnTo>
                <a:lnTo>
                  <a:pt x="6871" y="2287"/>
                </a:lnTo>
                <a:lnTo>
                  <a:pt x="6869" y="2290"/>
                </a:lnTo>
                <a:lnTo>
                  <a:pt x="6871" y="2293"/>
                </a:lnTo>
                <a:lnTo>
                  <a:pt x="6872" y="2297"/>
                </a:lnTo>
                <a:lnTo>
                  <a:pt x="6874" y="2303"/>
                </a:lnTo>
                <a:lnTo>
                  <a:pt x="6876" y="2308"/>
                </a:lnTo>
                <a:lnTo>
                  <a:pt x="6878" y="2315"/>
                </a:lnTo>
                <a:lnTo>
                  <a:pt x="6879" y="2321"/>
                </a:lnTo>
                <a:lnTo>
                  <a:pt x="6880" y="2329"/>
                </a:lnTo>
                <a:lnTo>
                  <a:pt x="6880" y="2342"/>
                </a:lnTo>
                <a:lnTo>
                  <a:pt x="6880" y="2352"/>
                </a:lnTo>
                <a:lnTo>
                  <a:pt x="6880" y="2364"/>
                </a:lnTo>
                <a:lnTo>
                  <a:pt x="6880" y="2386"/>
                </a:lnTo>
                <a:lnTo>
                  <a:pt x="6881" y="2407"/>
                </a:lnTo>
                <a:lnTo>
                  <a:pt x="6882" y="2419"/>
                </a:lnTo>
                <a:lnTo>
                  <a:pt x="6882" y="2422"/>
                </a:lnTo>
                <a:lnTo>
                  <a:pt x="6881" y="2426"/>
                </a:lnTo>
                <a:lnTo>
                  <a:pt x="6879" y="2430"/>
                </a:lnTo>
                <a:lnTo>
                  <a:pt x="6877" y="2436"/>
                </a:lnTo>
                <a:lnTo>
                  <a:pt x="6872" y="2446"/>
                </a:lnTo>
                <a:lnTo>
                  <a:pt x="6868" y="2455"/>
                </a:lnTo>
                <a:lnTo>
                  <a:pt x="6864" y="2469"/>
                </a:lnTo>
                <a:lnTo>
                  <a:pt x="6861" y="2484"/>
                </a:lnTo>
                <a:lnTo>
                  <a:pt x="6864" y="2490"/>
                </a:lnTo>
                <a:lnTo>
                  <a:pt x="6869" y="2495"/>
                </a:lnTo>
                <a:lnTo>
                  <a:pt x="6871" y="2499"/>
                </a:lnTo>
                <a:lnTo>
                  <a:pt x="6872" y="2501"/>
                </a:lnTo>
                <a:lnTo>
                  <a:pt x="6871" y="2503"/>
                </a:lnTo>
                <a:lnTo>
                  <a:pt x="6867" y="2505"/>
                </a:lnTo>
                <a:lnTo>
                  <a:pt x="6858" y="2506"/>
                </a:lnTo>
                <a:lnTo>
                  <a:pt x="6848" y="2506"/>
                </a:lnTo>
                <a:lnTo>
                  <a:pt x="6845" y="2507"/>
                </a:lnTo>
                <a:lnTo>
                  <a:pt x="6843" y="2510"/>
                </a:lnTo>
                <a:lnTo>
                  <a:pt x="6842" y="2513"/>
                </a:lnTo>
                <a:lnTo>
                  <a:pt x="6844" y="2518"/>
                </a:lnTo>
                <a:lnTo>
                  <a:pt x="6845" y="2522"/>
                </a:lnTo>
                <a:lnTo>
                  <a:pt x="6847" y="2524"/>
                </a:lnTo>
                <a:lnTo>
                  <a:pt x="6851" y="2526"/>
                </a:lnTo>
                <a:lnTo>
                  <a:pt x="6853" y="2527"/>
                </a:lnTo>
                <a:lnTo>
                  <a:pt x="6859" y="2529"/>
                </a:lnTo>
                <a:lnTo>
                  <a:pt x="6865" y="2530"/>
                </a:lnTo>
                <a:lnTo>
                  <a:pt x="6867" y="2531"/>
                </a:lnTo>
                <a:lnTo>
                  <a:pt x="6869" y="2532"/>
                </a:lnTo>
                <a:lnTo>
                  <a:pt x="6872" y="2534"/>
                </a:lnTo>
                <a:lnTo>
                  <a:pt x="6873" y="2536"/>
                </a:lnTo>
                <a:lnTo>
                  <a:pt x="6874" y="2538"/>
                </a:lnTo>
                <a:lnTo>
                  <a:pt x="6874" y="2543"/>
                </a:lnTo>
                <a:lnTo>
                  <a:pt x="6873" y="2547"/>
                </a:lnTo>
                <a:lnTo>
                  <a:pt x="6871" y="2553"/>
                </a:lnTo>
                <a:lnTo>
                  <a:pt x="6865" y="2564"/>
                </a:lnTo>
                <a:lnTo>
                  <a:pt x="6860" y="2573"/>
                </a:lnTo>
                <a:lnTo>
                  <a:pt x="6855" y="2580"/>
                </a:lnTo>
                <a:lnTo>
                  <a:pt x="6848" y="2587"/>
                </a:lnTo>
                <a:lnTo>
                  <a:pt x="6843" y="2591"/>
                </a:lnTo>
                <a:lnTo>
                  <a:pt x="6838" y="2594"/>
                </a:lnTo>
                <a:lnTo>
                  <a:pt x="6833" y="2596"/>
                </a:lnTo>
                <a:lnTo>
                  <a:pt x="6828" y="2597"/>
                </a:lnTo>
                <a:lnTo>
                  <a:pt x="6822" y="2596"/>
                </a:lnTo>
                <a:lnTo>
                  <a:pt x="6817" y="2595"/>
                </a:lnTo>
                <a:lnTo>
                  <a:pt x="6812" y="2592"/>
                </a:lnTo>
                <a:lnTo>
                  <a:pt x="6807" y="2591"/>
                </a:lnTo>
                <a:lnTo>
                  <a:pt x="6804" y="2590"/>
                </a:lnTo>
                <a:lnTo>
                  <a:pt x="6802" y="2590"/>
                </a:lnTo>
                <a:lnTo>
                  <a:pt x="6800" y="2590"/>
                </a:lnTo>
                <a:lnTo>
                  <a:pt x="6799" y="2591"/>
                </a:lnTo>
                <a:lnTo>
                  <a:pt x="6798" y="2593"/>
                </a:lnTo>
                <a:lnTo>
                  <a:pt x="6798" y="2595"/>
                </a:lnTo>
                <a:lnTo>
                  <a:pt x="6799" y="2599"/>
                </a:lnTo>
                <a:lnTo>
                  <a:pt x="6799" y="2604"/>
                </a:lnTo>
                <a:lnTo>
                  <a:pt x="6801" y="2609"/>
                </a:lnTo>
                <a:lnTo>
                  <a:pt x="6803" y="2613"/>
                </a:lnTo>
                <a:lnTo>
                  <a:pt x="6806" y="2616"/>
                </a:lnTo>
                <a:lnTo>
                  <a:pt x="6808" y="2619"/>
                </a:lnTo>
                <a:lnTo>
                  <a:pt x="6813" y="2623"/>
                </a:lnTo>
                <a:lnTo>
                  <a:pt x="6818" y="2625"/>
                </a:lnTo>
                <a:lnTo>
                  <a:pt x="6823" y="2627"/>
                </a:lnTo>
                <a:lnTo>
                  <a:pt x="6828" y="2630"/>
                </a:lnTo>
                <a:lnTo>
                  <a:pt x="6830" y="2632"/>
                </a:lnTo>
                <a:lnTo>
                  <a:pt x="6831" y="2634"/>
                </a:lnTo>
                <a:lnTo>
                  <a:pt x="6832" y="2636"/>
                </a:lnTo>
                <a:lnTo>
                  <a:pt x="6833" y="2639"/>
                </a:lnTo>
                <a:lnTo>
                  <a:pt x="6834" y="2652"/>
                </a:lnTo>
                <a:lnTo>
                  <a:pt x="6836" y="2664"/>
                </a:lnTo>
                <a:lnTo>
                  <a:pt x="6837" y="2670"/>
                </a:lnTo>
                <a:lnTo>
                  <a:pt x="6837" y="2677"/>
                </a:lnTo>
                <a:lnTo>
                  <a:pt x="6836" y="2683"/>
                </a:lnTo>
                <a:lnTo>
                  <a:pt x="6835" y="2689"/>
                </a:lnTo>
                <a:lnTo>
                  <a:pt x="6832" y="2694"/>
                </a:lnTo>
                <a:lnTo>
                  <a:pt x="6828" y="2699"/>
                </a:lnTo>
                <a:lnTo>
                  <a:pt x="6823" y="2702"/>
                </a:lnTo>
                <a:lnTo>
                  <a:pt x="6818" y="2705"/>
                </a:lnTo>
                <a:lnTo>
                  <a:pt x="6813" y="2708"/>
                </a:lnTo>
                <a:lnTo>
                  <a:pt x="6808" y="2711"/>
                </a:lnTo>
                <a:lnTo>
                  <a:pt x="6803" y="2715"/>
                </a:lnTo>
                <a:lnTo>
                  <a:pt x="6800" y="2721"/>
                </a:lnTo>
                <a:lnTo>
                  <a:pt x="6798" y="2726"/>
                </a:lnTo>
                <a:lnTo>
                  <a:pt x="6794" y="2729"/>
                </a:lnTo>
                <a:lnTo>
                  <a:pt x="6789" y="2731"/>
                </a:lnTo>
                <a:lnTo>
                  <a:pt x="6782" y="2733"/>
                </a:lnTo>
                <a:lnTo>
                  <a:pt x="6776" y="2735"/>
                </a:lnTo>
                <a:lnTo>
                  <a:pt x="6770" y="2739"/>
                </a:lnTo>
                <a:lnTo>
                  <a:pt x="6765" y="2742"/>
                </a:lnTo>
                <a:lnTo>
                  <a:pt x="6758" y="2747"/>
                </a:lnTo>
                <a:lnTo>
                  <a:pt x="6751" y="2758"/>
                </a:lnTo>
                <a:lnTo>
                  <a:pt x="6745" y="2769"/>
                </a:lnTo>
                <a:lnTo>
                  <a:pt x="6743" y="2773"/>
                </a:lnTo>
                <a:lnTo>
                  <a:pt x="6740" y="2777"/>
                </a:lnTo>
                <a:lnTo>
                  <a:pt x="6736" y="2781"/>
                </a:lnTo>
                <a:lnTo>
                  <a:pt x="6732" y="2785"/>
                </a:lnTo>
                <a:lnTo>
                  <a:pt x="6724" y="2791"/>
                </a:lnTo>
                <a:lnTo>
                  <a:pt x="6715" y="2794"/>
                </a:lnTo>
                <a:lnTo>
                  <a:pt x="6713" y="2794"/>
                </a:lnTo>
                <a:lnTo>
                  <a:pt x="6710" y="2793"/>
                </a:lnTo>
                <a:lnTo>
                  <a:pt x="6708" y="2791"/>
                </a:lnTo>
                <a:lnTo>
                  <a:pt x="6707" y="2788"/>
                </a:lnTo>
                <a:lnTo>
                  <a:pt x="6707" y="2777"/>
                </a:lnTo>
                <a:lnTo>
                  <a:pt x="6707" y="2768"/>
                </a:lnTo>
                <a:lnTo>
                  <a:pt x="6707" y="2766"/>
                </a:lnTo>
                <a:lnTo>
                  <a:pt x="6706" y="2765"/>
                </a:lnTo>
                <a:lnTo>
                  <a:pt x="6705" y="2764"/>
                </a:lnTo>
                <a:lnTo>
                  <a:pt x="6704" y="2764"/>
                </a:lnTo>
                <a:lnTo>
                  <a:pt x="6698" y="2767"/>
                </a:lnTo>
                <a:lnTo>
                  <a:pt x="6690" y="2773"/>
                </a:lnTo>
                <a:lnTo>
                  <a:pt x="6681" y="2783"/>
                </a:lnTo>
                <a:lnTo>
                  <a:pt x="6675" y="2790"/>
                </a:lnTo>
                <a:lnTo>
                  <a:pt x="6670" y="2797"/>
                </a:lnTo>
                <a:lnTo>
                  <a:pt x="6667" y="2805"/>
                </a:lnTo>
                <a:lnTo>
                  <a:pt x="6663" y="2815"/>
                </a:lnTo>
                <a:lnTo>
                  <a:pt x="6659" y="2824"/>
                </a:lnTo>
                <a:lnTo>
                  <a:pt x="6657" y="2828"/>
                </a:lnTo>
                <a:lnTo>
                  <a:pt x="6653" y="2829"/>
                </a:lnTo>
                <a:lnTo>
                  <a:pt x="6648" y="2830"/>
                </a:lnTo>
                <a:lnTo>
                  <a:pt x="6644" y="2831"/>
                </a:lnTo>
                <a:lnTo>
                  <a:pt x="6639" y="2831"/>
                </a:lnTo>
                <a:lnTo>
                  <a:pt x="6635" y="2832"/>
                </a:lnTo>
                <a:lnTo>
                  <a:pt x="6631" y="2834"/>
                </a:lnTo>
                <a:lnTo>
                  <a:pt x="6626" y="2837"/>
                </a:lnTo>
                <a:lnTo>
                  <a:pt x="6623" y="2841"/>
                </a:lnTo>
                <a:lnTo>
                  <a:pt x="6620" y="2846"/>
                </a:lnTo>
                <a:lnTo>
                  <a:pt x="6617" y="2853"/>
                </a:lnTo>
                <a:lnTo>
                  <a:pt x="6615" y="2860"/>
                </a:lnTo>
                <a:lnTo>
                  <a:pt x="6613" y="2866"/>
                </a:lnTo>
                <a:lnTo>
                  <a:pt x="6613" y="2874"/>
                </a:lnTo>
                <a:lnTo>
                  <a:pt x="6613" y="2879"/>
                </a:lnTo>
                <a:lnTo>
                  <a:pt x="6614" y="2884"/>
                </a:lnTo>
                <a:lnTo>
                  <a:pt x="6617" y="2891"/>
                </a:lnTo>
                <a:lnTo>
                  <a:pt x="6618" y="2899"/>
                </a:lnTo>
                <a:lnTo>
                  <a:pt x="6618" y="2902"/>
                </a:lnTo>
                <a:lnTo>
                  <a:pt x="6618" y="2905"/>
                </a:lnTo>
                <a:lnTo>
                  <a:pt x="6617" y="2907"/>
                </a:lnTo>
                <a:lnTo>
                  <a:pt x="6615" y="2909"/>
                </a:lnTo>
                <a:lnTo>
                  <a:pt x="6614" y="2911"/>
                </a:lnTo>
                <a:lnTo>
                  <a:pt x="6614" y="2912"/>
                </a:lnTo>
                <a:lnTo>
                  <a:pt x="6615" y="2912"/>
                </a:lnTo>
                <a:lnTo>
                  <a:pt x="6617" y="2913"/>
                </a:lnTo>
                <a:lnTo>
                  <a:pt x="6621" y="2913"/>
                </a:lnTo>
                <a:lnTo>
                  <a:pt x="6624" y="2915"/>
                </a:lnTo>
                <a:lnTo>
                  <a:pt x="6625" y="2915"/>
                </a:lnTo>
                <a:lnTo>
                  <a:pt x="6627" y="2912"/>
                </a:lnTo>
                <a:lnTo>
                  <a:pt x="6628" y="2908"/>
                </a:lnTo>
                <a:lnTo>
                  <a:pt x="6627" y="2906"/>
                </a:lnTo>
                <a:lnTo>
                  <a:pt x="6627" y="2903"/>
                </a:lnTo>
                <a:lnTo>
                  <a:pt x="6628" y="2901"/>
                </a:lnTo>
                <a:lnTo>
                  <a:pt x="6630" y="2899"/>
                </a:lnTo>
                <a:lnTo>
                  <a:pt x="6631" y="2898"/>
                </a:lnTo>
                <a:close/>
                <a:moveTo>
                  <a:pt x="6397" y="3098"/>
                </a:moveTo>
                <a:lnTo>
                  <a:pt x="6398" y="3104"/>
                </a:lnTo>
                <a:lnTo>
                  <a:pt x="6401" y="3112"/>
                </a:lnTo>
                <a:lnTo>
                  <a:pt x="6404" y="3119"/>
                </a:lnTo>
                <a:lnTo>
                  <a:pt x="6407" y="3126"/>
                </a:lnTo>
                <a:lnTo>
                  <a:pt x="6412" y="3132"/>
                </a:lnTo>
                <a:lnTo>
                  <a:pt x="6416" y="3137"/>
                </a:lnTo>
                <a:lnTo>
                  <a:pt x="6418" y="3138"/>
                </a:lnTo>
                <a:lnTo>
                  <a:pt x="6419" y="3138"/>
                </a:lnTo>
                <a:lnTo>
                  <a:pt x="6421" y="3138"/>
                </a:lnTo>
                <a:lnTo>
                  <a:pt x="6422" y="3137"/>
                </a:lnTo>
                <a:lnTo>
                  <a:pt x="6427" y="3126"/>
                </a:lnTo>
                <a:lnTo>
                  <a:pt x="6433" y="3112"/>
                </a:lnTo>
                <a:lnTo>
                  <a:pt x="6439" y="3096"/>
                </a:lnTo>
                <a:lnTo>
                  <a:pt x="6446" y="3083"/>
                </a:lnTo>
                <a:lnTo>
                  <a:pt x="6452" y="3076"/>
                </a:lnTo>
                <a:lnTo>
                  <a:pt x="6456" y="3071"/>
                </a:lnTo>
                <a:lnTo>
                  <a:pt x="6457" y="3067"/>
                </a:lnTo>
                <a:lnTo>
                  <a:pt x="6457" y="3065"/>
                </a:lnTo>
                <a:lnTo>
                  <a:pt x="6456" y="3064"/>
                </a:lnTo>
                <a:lnTo>
                  <a:pt x="6455" y="3062"/>
                </a:lnTo>
                <a:lnTo>
                  <a:pt x="6449" y="3057"/>
                </a:lnTo>
                <a:lnTo>
                  <a:pt x="6442" y="3053"/>
                </a:lnTo>
                <a:lnTo>
                  <a:pt x="6439" y="3052"/>
                </a:lnTo>
                <a:lnTo>
                  <a:pt x="6435" y="3052"/>
                </a:lnTo>
                <a:lnTo>
                  <a:pt x="6430" y="3053"/>
                </a:lnTo>
                <a:lnTo>
                  <a:pt x="6427" y="3055"/>
                </a:lnTo>
                <a:lnTo>
                  <a:pt x="6416" y="3070"/>
                </a:lnTo>
                <a:lnTo>
                  <a:pt x="6408" y="3080"/>
                </a:lnTo>
                <a:lnTo>
                  <a:pt x="6400" y="3091"/>
                </a:lnTo>
                <a:lnTo>
                  <a:pt x="6397" y="3098"/>
                </a:lnTo>
                <a:close/>
                <a:moveTo>
                  <a:pt x="6463" y="3448"/>
                </a:moveTo>
                <a:lnTo>
                  <a:pt x="6466" y="3454"/>
                </a:lnTo>
                <a:lnTo>
                  <a:pt x="6472" y="3460"/>
                </a:lnTo>
                <a:lnTo>
                  <a:pt x="6479" y="3469"/>
                </a:lnTo>
                <a:lnTo>
                  <a:pt x="6486" y="3478"/>
                </a:lnTo>
                <a:lnTo>
                  <a:pt x="6503" y="3496"/>
                </a:lnTo>
                <a:lnTo>
                  <a:pt x="6515" y="3509"/>
                </a:lnTo>
                <a:lnTo>
                  <a:pt x="6518" y="3510"/>
                </a:lnTo>
                <a:lnTo>
                  <a:pt x="6522" y="3510"/>
                </a:lnTo>
                <a:lnTo>
                  <a:pt x="6525" y="3509"/>
                </a:lnTo>
                <a:lnTo>
                  <a:pt x="6529" y="3507"/>
                </a:lnTo>
                <a:lnTo>
                  <a:pt x="6536" y="3499"/>
                </a:lnTo>
                <a:lnTo>
                  <a:pt x="6544" y="3489"/>
                </a:lnTo>
                <a:lnTo>
                  <a:pt x="6550" y="3477"/>
                </a:lnTo>
                <a:lnTo>
                  <a:pt x="6554" y="3466"/>
                </a:lnTo>
                <a:lnTo>
                  <a:pt x="6555" y="3460"/>
                </a:lnTo>
                <a:lnTo>
                  <a:pt x="6556" y="3456"/>
                </a:lnTo>
                <a:lnTo>
                  <a:pt x="6556" y="3451"/>
                </a:lnTo>
                <a:lnTo>
                  <a:pt x="6555" y="3448"/>
                </a:lnTo>
                <a:lnTo>
                  <a:pt x="6552" y="3442"/>
                </a:lnTo>
                <a:lnTo>
                  <a:pt x="6550" y="3434"/>
                </a:lnTo>
                <a:lnTo>
                  <a:pt x="6549" y="3427"/>
                </a:lnTo>
                <a:lnTo>
                  <a:pt x="6548" y="3420"/>
                </a:lnTo>
                <a:lnTo>
                  <a:pt x="6547" y="3414"/>
                </a:lnTo>
                <a:lnTo>
                  <a:pt x="6545" y="3411"/>
                </a:lnTo>
                <a:lnTo>
                  <a:pt x="6543" y="3410"/>
                </a:lnTo>
                <a:lnTo>
                  <a:pt x="6542" y="3410"/>
                </a:lnTo>
                <a:lnTo>
                  <a:pt x="6538" y="3411"/>
                </a:lnTo>
                <a:lnTo>
                  <a:pt x="6536" y="3413"/>
                </a:lnTo>
                <a:lnTo>
                  <a:pt x="6525" y="3422"/>
                </a:lnTo>
                <a:lnTo>
                  <a:pt x="6515" y="3431"/>
                </a:lnTo>
                <a:lnTo>
                  <a:pt x="6511" y="3435"/>
                </a:lnTo>
                <a:lnTo>
                  <a:pt x="6509" y="3439"/>
                </a:lnTo>
                <a:lnTo>
                  <a:pt x="6508" y="3444"/>
                </a:lnTo>
                <a:lnTo>
                  <a:pt x="6508" y="3448"/>
                </a:lnTo>
                <a:lnTo>
                  <a:pt x="6508" y="3450"/>
                </a:lnTo>
                <a:lnTo>
                  <a:pt x="6507" y="3451"/>
                </a:lnTo>
                <a:lnTo>
                  <a:pt x="6506" y="3452"/>
                </a:lnTo>
                <a:lnTo>
                  <a:pt x="6505" y="3453"/>
                </a:lnTo>
                <a:lnTo>
                  <a:pt x="6502" y="3454"/>
                </a:lnTo>
                <a:lnTo>
                  <a:pt x="6498" y="3454"/>
                </a:lnTo>
                <a:lnTo>
                  <a:pt x="6487" y="3451"/>
                </a:lnTo>
                <a:lnTo>
                  <a:pt x="6480" y="3447"/>
                </a:lnTo>
                <a:lnTo>
                  <a:pt x="6475" y="3443"/>
                </a:lnTo>
                <a:lnTo>
                  <a:pt x="6471" y="3439"/>
                </a:lnTo>
                <a:lnTo>
                  <a:pt x="6469" y="3437"/>
                </a:lnTo>
                <a:lnTo>
                  <a:pt x="6467" y="3438"/>
                </a:lnTo>
                <a:lnTo>
                  <a:pt x="6464" y="3440"/>
                </a:lnTo>
                <a:lnTo>
                  <a:pt x="6463" y="3443"/>
                </a:lnTo>
                <a:lnTo>
                  <a:pt x="6463" y="3446"/>
                </a:lnTo>
                <a:lnTo>
                  <a:pt x="6463" y="3448"/>
                </a:lnTo>
                <a:close/>
                <a:moveTo>
                  <a:pt x="6389" y="3251"/>
                </a:moveTo>
                <a:lnTo>
                  <a:pt x="6387" y="3255"/>
                </a:lnTo>
                <a:lnTo>
                  <a:pt x="6387" y="3259"/>
                </a:lnTo>
                <a:lnTo>
                  <a:pt x="6387" y="3266"/>
                </a:lnTo>
                <a:lnTo>
                  <a:pt x="6390" y="3272"/>
                </a:lnTo>
                <a:lnTo>
                  <a:pt x="6393" y="3286"/>
                </a:lnTo>
                <a:lnTo>
                  <a:pt x="6398" y="3301"/>
                </a:lnTo>
                <a:lnTo>
                  <a:pt x="6408" y="3327"/>
                </a:lnTo>
                <a:lnTo>
                  <a:pt x="6415" y="3341"/>
                </a:lnTo>
                <a:lnTo>
                  <a:pt x="6416" y="3342"/>
                </a:lnTo>
                <a:lnTo>
                  <a:pt x="6420" y="3342"/>
                </a:lnTo>
                <a:lnTo>
                  <a:pt x="6424" y="3340"/>
                </a:lnTo>
                <a:lnTo>
                  <a:pt x="6429" y="3338"/>
                </a:lnTo>
                <a:lnTo>
                  <a:pt x="6435" y="3335"/>
                </a:lnTo>
                <a:lnTo>
                  <a:pt x="6440" y="3332"/>
                </a:lnTo>
                <a:lnTo>
                  <a:pt x="6443" y="3327"/>
                </a:lnTo>
                <a:lnTo>
                  <a:pt x="6446" y="3324"/>
                </a:lnTo>
                <a:lnTo>
                  <a:pt x="6447" y="3315"/>
                </a:lnTo>
                <a:lnTo>
                  <a:pt x="6446" y="3304"/>
                </a:lnTo>
                <a:lnTo>
                  <a:pt x="6446" y="3298"/>
                </a:lnTo>
                <a:lnTo>
                  <a:pt x="6447" y="3292"/>
                </a:lnTo>
                <a:lnTo>
                  <a:pt x="6448" y="3285"/>
                </a:lnTo>
                <a:lnTo>
                  <a:pt x="6452" y="3280"/>
                </a:lnTo>
                <a:lnTo>
                  <a:pt x="6456" y="3273"/>
                </a:lnTo>
                <a:lnTo>
                  <a:pt x="6457" y="3263"/>
                </a:lnTo>
                <a:lnTo>
                  <a:pt x="6458" y="3254"/>
                </a:lnTo>
                <a:lnTo>
                  <a:pt x="6457" y="3246"/>
                </a:lnTo>
                <a:lnTo>
                  <a:pt x="6455" y="3236"/>
                </a:lnTo>
                <a:lnTo>
                  <a:pt x="6452" y="3230"/>
                </a:lnTo>
                <a:lnTo>
                  <a:pt x="6451" y="3227"/>
                </a:lnTo>
                <a:lnTo>
                  <a:pt x="6450" y="3225"/>
                </a:lnTo>
                <a:lnTo>
                  <a:pt x="6448" y="3224"/>
                </a:lnTo>
                <a:lnTo>
                  <a:pt x="6447" y="3224"/>
                </a:lnTo>
                <a:lnTo>
                  <a:pt x="6439" y="3223"/>
                </a:lnTo>
                <a:lnTo>
                  <a:pt x="6429" y="3222"/>
                </a:lnTo>
                <a:lnTo>
                  <a:pt x="6425" y="3222"/>
                </a:lnTo>
                <a:lnTo>
                  <a:pt x="6421" y="3223"/>
                </a:lnTo>
                <a:lnTo>
                  <a:pt x="6419" y="3225"/>
                </a:lnTo>
                <a:lnTo>
                  <a:pt x="6417" y="3227"/>
                </a:lnTo>
                <a:lnTo>
                  <a:pt x="6416" y="3229"/>
                </a:lnTo>
                <a:lnTo>
                  <a:pt x="6415" y="3232"/>
                </a:lnTo>
                <a:lnTo>
                  <a:pt x="6414" y="3237"/>
                </a:lnTo>
                <a:lnTo>
                  <a:pt x="6413" y="3240"/>
                </a:lnTo>
                <a:lnTo>
                  <a:pt x="6412" y="3241"/>
                </a:lnTo>
                <a:lnTo>
                  <a:pt x="6411" y="3242"/>
                </a:lnTo>
                <a:lnTo>
                  <a:pt x="6408" y="3241"/>
                </a:lnTo>
                <a:lnTo>
                  <a:pt x="6406" y="3241"/>
                </a:lnTo>
                <a:lnTo>
                  <a:pt x="6401" y="3245"/>
                </a:lnTo>
                <a:lnTo>
                  <a:pt x="6397" y="3247"/>
                </a:lnTo>
                <a:lnTo>
                  <a:pt x="6392" y="3250"/>
                </a:lnTo>
                <a:lnTo>
                  <a:pt x="6389" y="3251"/>
                </a:lnTo>
                <a:close/>
                <a:moveTo>
                  <a:pt x="6332" y="3679"/>
                </a:moveTo>
                <a:lnTo>
                  <a:pt x="6336" y="3671"/>
                </a:lnTo>
                <a:lnTo>
                  <a:pt x="6340" y="3661"/>
                </a:lnTo>
                <a:lnTo>
                  <a:pt x="6343" y="3648"/>
                </a:lnTo>
                <a:lnTo>
                  <a:pt x="6348" y="3636"/>
                </a:lnTo>
                <a:lnTo>
                  <a:pt x="6351" y="3625"/>
                </a:lnTo>
                <a:lnTo>
                  <a:pt x="6355" y="3615"/>
                </a:lnTo>
                <a:lnTo>
                  <a:pt x="6357" y="3612"/>
                </a:lnTo>
                <a:lnTo>
                  <a:pt x="6359" y="3609"/>
                </a:lnTo>
                <a:lnTo>
                  <a:pt x="6361" y="3608"/>
                </a:lnTo>
                <a:lnTo>
                  <a:pt x="6363" y="3608"/>
                </a:lnTo>
                <a:lnTo>
                  <a:pt x="6369" y="3608"/>
                </a:lnTo>
                <a:lnTo>
                  <a:pt x="6371" y="3607"/>
                </a:lnTo>
                <a:lnTo>
                  <a:pt x="6373" y="3605"/>
                </a:lnTo>
                <a:lnTo>
                  <a:pt x="6374" y="3602"/>
                </a:lnTo>
                <a:lnTo>
                  <a:pt x="6373" y="3598"/>
                </a:lnTo>
                <a:lnTo>
                  <a:pt x="6371" y="3591"/>
                </a:lnTo>
                <a:lnTo>
                  <a:pt x="6368" y="3585"/>
                </a:lnTo>
                <a:lnTo>
                  <a:pt x="6363" y="3578"/>
                </a:lnTo>
                <a:lnTo>
                  <a:pt x="6358" y="3570"/>
                </a:lnTo>
                <a:lnTo>
                  <a:pt x="6355" y="3562"/>
                </a:lnTo>
                <a:lnTo>
                  <a:pt x="6354" y="3554"/>
                </a:lnTo>
                <a:lnTo>
                  <a:pt x="6353" y="3546"/>
                </a:lnTo>
                <a:lnTo>
                  <a:pt x="6354" y="3541"/>
                </a:lnTo>
                <a:lnTo>
                  <a:pt x="6357" y="3537"/>
                </a:lnTo>
                <a:lnTo>
                  <a:pt x="6358" y="3535"/>
                </a:lnTo>
                <a:lnTo>
                  <a:pt x="6361" y="3535"/>
                </a:lnTo>
                <a:lnTo>
                  <a:pt x="6363" y="3535"/>
                </a:lnTo>
                <a:lnTo>
                  <a:pt x="6367" y="3535"/>
                </a:lnTo>
                <a:lnTo>
                  <a:pt x="6371" y="3536"/>
                </a:lnTo>
                <a:lnTo>
                  <a:pt x="6374" y="3536"/>
                </a:lnTo>
                <a:lnTo>
                  <a:pt x="6377" y="3535"/>
                </a:lnTo>
                <a:lnTo>
                  <a:pt x="6380" y="3534"/>
                </a:lnTo>
                <a:lnTo>
                  <a:pt x="6386" y="3529"/>
                </a:lnTo>
                <a:lnTo>
                  <a:pt x="6392" y="3523"/>
                </a:lnTo>
                <a:lnTo>
                  <a:pt x="6395" y="3517"/>
                </a:lnTo>
                <a:lnTo>
                  <a:pt x="6396" y="3512"/>
                </a:lnTo>
                <a:lnTo>
                  <a:pt x="6396" y="3510"/>
                </a:lnTo>
                <a:lnTo>
                  <a:pt x="6395" y="3508"/>
                </a:lnTo>
                <a:lnTo>
                  <a:pt x="6394" y="3507"/>
                </a:lnTo>
                <a:lnTo>
                  <a:pt x="6392" y="3507"/>
                </a:lnTo>
                <a:lnTo>
                  <a:pt x="6385" y="3505"/>
                </a:lnTo>
                <a:lnTo>
                  <a:pt x="6377" y="3502"/>
                </a:lnTo>
                <a:lnTo>
                  <a:pt x="6369" y="3498"/>
                </a:lnTo>
                <a:lnTo>
                  <a:pt x="6358" y="3494"/>
                </a:lnTo>
                <a:lnTo>
                  <a:pt x="6349" y="3490"/>
                </a:lnTo>
                <a:lnTo>
                  <a:pt x="6340" y="3487"/>
                </a:lnTo>
                <a:lnTo>
                  <a:pt x="6337" y="3486"/>
                </a:lnTo>
                <a:lnTo>
                  <a:pt x="6334" y="3486"/>
                </a:lnTo>
                <a:lnTo>
                  <a:pt x="6332" y="3486"/>
                </a:lnTo>
                <a:lnTo>
                  <a:pt x="6330" y="3487"/>
                </a:lnTo>
                <a:lnTo>
                  <a:pt x="6319" y="3500"/>
                </a:lnTo>
                <a:lnTo>
                  <a:pt x="6301" y="3522"/>
                </a:lnTo>
                <a:lnTo>
                  <a:pt x="6282" y="3546"/>
                </a:lnTo>
                <a:lnTo>
                  <a:pt x="6269" y="3563"/>
                </a:lnTo>
                <a:lnTo>
                  <a:pt x="6268" y="3565"/>
                </a:lnTo>
                <a:lnTo>
                  <a:pt x="6268" y="3568"/>
                </a:lnTo>
                <a:lnTo>
                  <a:pt x="6268" y="3573"/>
                </a:lnTo>
                <a:lnTo>
                  <a:pt x="6268" y="3576"/>
                </a:lnTo>
                <a:lnTo>
                  <a:pt x="6270" y="3583"/>
                </a:lnTo>
                <a:lnTo>
                  <a:pt x="6271" y="3589"/>
                </a:lnTo>
                <a:lnTo>
                  <a:pt x="6272" y="3593"/>
                </a:lnTo>
                <a:lnTo>
                  <a:pt x="6271" y="3596"/>
                </a:lnTo>
                <a:lnTo>
                  <a:pt x="6271" y="3599"/>
                </a:lnTo>
                <a:lnTo>
                  <a:pt x="6269" y="3601"/>
                </a:lnTo>
                <a:lnTo>
                  <a:pt x="6267" y="3603"/>
                </a:lnTo>
                <a:lnTo>
                  <a:pt x="6263" y="3605"/>
                </a:lnTo>
                <a:lnTo>
                  <a:pt x="6258" y="3606"/>
                </a:lnTo>
                <a:lnTo>
                  <a:pt x="6251" y="3606"/>
                </a:lnTo>
                <a:lnTo>
                  <a:pt x="6237" y="3606"/>
                </a:lnTo>
                <a:lnTo>
                  <a:pt x="6224" y="3608"/>
                </a:lnTo>
                <a:lnTo>
                  <a:pt x="6213" y="3610"/>
                </a:lnTo>
                <a:lnTo>
                  <a:pt x="6202" y="3612"/>
                </a:lnTo>
                <a:lnTo>
                  <a:pt x="6194" y="3613"/>
                </a:lnTo>
                <a:lnTo>
                  <a:pt x="6187" y="3613"/>
                </a:lnTo>
                <a:lnTo>
                  <a:pt x="6185" y="3613"/>
                </a:lnTo>
                <a:lnTo>
                  <a:pt x="6183" y="3612"/>
                </a:lnTo>
                <a:lnTo>
                  <a:pt x="6182" y="3611"/>
                </a:lnTo>
                <a:lnTo>
                  <a:pt x="6181" y="3610"/>
                </a:lnTo>
                <a:lnTo>
                  <a:pt x="6179" y="3605"/>
                </a:lnTo>
                <a:lnTo>
                  <a:pt x="6175" y="3597"/>
                </a:lnTo>
                <a:lnTo>
                  <a:pt x="6169" y="3588"/>
                </a:lnTo>
                <a:lnTo>
                  <a:pt x="6162" y="3580"/>
                </a:lnTo>
                <a:lnTo>
                  <a:pt x="6158" y="3577"/>
                </a:lnTo>
                <a:lnTo>
                  <a:pt x="6155" y="3575"/>
                </a:lnTo>
                <a:lnTo>
                  <a:pt x="6152" y="3574"/>
                </a:lnTo>
                <a:lnTo>
                  <a:pt x="6150" y="3574"/>
                </a:lnTo>
                <a:lnTo>
                  <a:pt x="6147" y="3575"/>
                </a:lnTo>
                <a:lnTo>
                  <a:pt x="6145" y="3577"/>
                </a:lnTo>
                <a:lnTo>
                  <a:pt x="6143" y="3581"/>
                </a:lnTo>
                <a:lnTo>
                  <a:pt x="6143" y="3587"/>
                </a:lnTo>
                <a:lnTo>
                  <a:pt x="6144" y="3601"/>
                </a:lnTo>
                <a:lnTo>
                  <a:pt x="6148" y="3612"/>
                </a:lnTo>
                <a:lnTo>
                  <a:pt x="6152" y="3623"/>
                </a:lnTo>
                <a:lnTo>
                  <a:pt x="6157" y="3631"/>
                </a:lnTo>
                <a:lnTo>
                  <a:pt x="6166" y="3644"/>
                </a:lnTo>
                <a:lnTo>
                  <a:pt x="6174" y="3654"/>
                </a:lnTo>
                <a:lnTo>
                  <a:pt x="6183" y="3666"/>
                </a:lnTo>
                <a:lnTo>
                  <a:pt x="6197" y="3681"/>
                </a:lnTo>
                <a:lnTo>
                  <a:pt x="6210" y="3695"/>
                </a:lnTo>
                <a:lnTo>
                  <a:pt x="6222" y="3705"/>
                </a:lnTo>
                <a:lnTo>
                  <a:pt x="6227" y="3706"/>
                </a:lnTo>
                <a:lnTo>
                  <a:pt x="6232" y="3706"/>
                </a:lnTo>
                <a:lnTo>
                  <a:pt x="6239" y="3705"/>
                </a:lnTo>
                <a:lnTo>
                  <a:pt x="6245" y="3703"/>
                </a:lnTo>
                <a:lnTo>
                  <a:pt x="6252" y="3702"/>
                </a:lnTo>
                <a:lnTo>
                  <a:pt x="6261" y="3703"/>
                </a:lnTo>
                <a:lnTo>
                  <a:pt x="6265" y="3705"/>
                </a:lnTo>
                <a:lnTo>
                  <a:pt x="6269" y="3707"/>
                </a:lnTo>
                <a:lnTo>
                  <a:pt x="6273" y="3709"/>
                </a:lnTo>
                <a:lnTo>
                  <a:pt x="6277" y="3713"/>
                </a:lnTo>
                <a:lnTo>
                  <a:pt x="6283" y="3716"/>
                </a:lnTo>
                <a:lnTo>
                  <a:pt x="6287" y="3718"/>
                </a:lnTo>
                <a:lnTo>
                  <a:pt x="6291" y="3720"/>
                </a:lnTo>
                <a:lnTo>
                  <a:pt x="6296" y="3721"/>
                </a:lnTo>
                <a:lnTo>
                  <a:pt x="6304" y="3721"/>
                </a:lnTo>
                <a:lnTo>
                  <a:pt x="6312" y="3720"/>
                </a:lnTo>
                <a:lnTo>
                  <a:pt x="6323" y="3715"/>
                </a:lnTo>
                <a:lnTo>
                  <a:pt x="6327" y="3712"/>
                </a:lnTo>
                <a:lnTo>
                  <a:pt x="6328" y="3707"/>
                </a:lnTo>
                <a:lnTo>
                  <a:pt x="6329" y="3696"/>
                </a:lnTo>
                <a:lnTo>
                  <a:pt x="6331" y="3685"/>
                </a:lnTo>
                <a:lnTo>
                  <a:pt x="6332" y="3679"/>
                </a:lnTo>
                <a:close/>
                <a:moveTo>
                  <a:pt x="6464" y="3710"/>
                </a:moveTo>
                <a:lnTo>
                  <a:pt x="6453" y="3697"/>
                </a:lnTo>
                <a:lnTo>
                  <a:pt x="6439" y="3683"/>
                </a:lnTo>
                <a:lnTo>
                  <a:pt x="6433" y="3675"/>
                </a:lnTo>
                <a:lnTo>
                  <a:pt x="6427" y="3669"/>
                </a:lnTo>
                <a:lnTo>
                  <a:pt x="6425" y="3666"/>
                </a:lnTo>
                <a:lnTo>
                  <a:pt x="6424" y="3663"/>
                </a:lnTo>
                <a:lnTo>
                  <a:pt x="6424" y="3661"/>
                </a:lnTo>
                <a:lnTo>
                  <a:pt x="6425" y="3658"/>
                </a:lnTo>
                <a:lnTo>
                  <a:pt x="6434" y="3649"/>
                </a:lnTo>
                <a:lnTo>
                  <a:pt x="6446" y="3639"/>
                </a:lnTo>
                <a:lnTo>
                  <a:pt x="6452" y="3634"/>
                </a:lnTo>
                <a:lnTo>
                  <a:pt x="6460" y="3630"/>
                </a:lnTo>
                <a:lnTo>
                  <a:pt x="6466" y="3627"/>
                </a:lnTo>
                <a:lnTo>
                  <a:pt x="6472" y="3626"/>
                </a:lnTo>
                <a:lnTo>
                  <a:pt x="6480" y="3625"/>
                </a:lnTo>
                <a:lnTo>
                  <a:pt x="6488" y="3622"/>
                </a:lnTo>
                <a:lnTo>
                  <a:pt x="6496" y="3617"/>
                </a:lnTo>
                <a:lnTo>
                  <a:pt x="6506" y="3610"/>
                </a:lnTo>
                <a:lnTo>
                  <a:pt x="6513" y="3604"/>
                </a:lnTo>
                <a:lnTo>
                  <a:pt x="6520" y="3599"/>
                </a:lnTo>
                <a:lnTo>
                  <a:pt x="6522" y="3597"/>
                </a:lnTo>
                <a:lnTo>
                  <a:pt x="6523" y="3595"/>
                </a:lnTo>
                <a:lnTo>
                  <a:pt x="6524" y="3592"/>
                </a:lnTo>
                <a:lnTo>
                  <a:pt x="6523" y="3591"/>
                </a:lnTo>
                <a:lnTo>
                  <a:pt x="6521" y="3590"/>
                </a:lnTo>
                <a:lnTo>
                  <a:pt x="6516" y="3591"/>
                </a:lnTo>
                <a:lnTo>
                  <a:pt x="6512" y="3592"/>
                </a:lnTo>
                <a:lnTo>
                  <a:pt x="6507" y="3595"/>
                </a:lnTo>
                <a:lnTo>
                  <a:pt x="6495" y="3600"/>
                </a:lnTo>
                <a:lnTo>
                  <a:pt x="6485" y="3605"/>
                </a:lnTo>
                <a:lnTo>
                  <a:pt x="6479" y="3607"/>
                </a:lnTo>
                <a:lnTo>
                  <a:pt x="6471" y="3608"/>
                </a:lnTo>
                <a:lnTo>
                  <a:pt x="6463" y="3608"/>
                </a:lnTo>
                <a:lnTo>
                  <a:pt x="6453" y="3608"/>
                </a:lnTo>
                <a:lnTo>
                  <a:pt x="6439" y="3607"/>
                </a:lnTo>
                <a:lnTo>
                  <a:pt x="6433" y="3606"/>
                </a:lnTo>
                <a:lnTo>
                  <a:pt x="6428" y="3607"/>
                </a:lnTo>
                <a:lnTo>
                  <a:pt x="6417" y="3610"/>
                </a:lnTo>
                <a:lnTo>
                  <a:pt x="6411" y="3614"/>
                </a:lnTo>
                <a:lnTo>
                  <a:pt x="6402" y="3621"/>
                </a:lnTo>
                <a:lnTo>
                  <a:pt x="6395" y="3629"/>
                </a:lnTo>
                <a:lnTo>
                  <a:pt x="6386" y="3640"/>
                </a:lnTo>
                <a:lnTo>
                  <a:pt x="6380" y="3651"/>
                </a:lnTo>
                <a:lnTo>
                  <a:pt x="6376" y="3663"/>
                </a:lnTo>
                <a:lnTo>
                  <a:pt x="6373" y="3672"/>
                </a:lnTo>
                <a:lnTo>
                  <a:pt x="6372" y="3681"/>
                </a:lnTo>
                <a:lnTo>
                  <a:pt x="6373" y="3691"/>
                </a:lnTo>
                <a:lnTo>
                  <a:pt x="6375" y="3699"/>
                </a:lnTo>
                <a:lnTo>
                  <a:pt x="6379" y="3708"/>
                </a:lnTo>
                <a:lnTo>
                  <a:pt x="6383" y="3716"/>
                </a:lnTo>
                <a:lnTo>
                  <a:pt x="6389" y="3722"/>
                </a:lnTo>
                <a:lnTo>
                  <a:pt x="6393" y="3729"/>
                </a:lnTo>
                <a:lnTo>
                  <a:pt x="6398" y="3733"/>
                </a:lnTo>
                <a:lnTo>
                  <a:pt x="6402" y="3736"/>
                </a:lnTo>
                <a:lnTo>
                  <a:pt x="6408" y="3741"/>
                </a:lnTo>
                <a:lnTo>
                  <a:pt x="6412" y="3744"/>
                </a:lnTo>
                <a:lnTo>
                  <a:pt x="6414" y="3745"/>
                </a:lnTo>
                <a:lnTo>
                  <a:pt x="6416" y="3745"/>
                </a:lnTo>
                <a:lnTo>
                  <a:pt x="6419" y="3744"/>
                </a:lnTo>
                <a:lnTo>
                  <a:pt x="6423" y="3742"/>
                </a:lnTo>
                <a:lnTo>
                  <a:pt x="6431" y="3736"/>
                </a:lnTo>
                <a:lnTo>
                  <a:pt x="6439" y="3728"/>
                </a:lnTo>
                <a:lnTo>
                  <a:pt x="6446" y="3720"/>
                </a:lnTo>
                <a:lnTo>
                  <a:pt x="6455" y="3714"/>
                </a:lnTo>
                <a:lnTo>
                  <a:pt x="6462" y="3711"/>
                </a:lnTo>
                <a:lnTo>
                  <a:pt x="6464" y="3710"/>
                </a:lnTo>
                <a:close/>
                <a:moveTo>
                  <a:pt x="6807" y="3774"/>
                </a:moveTo>
                <a:lnTo>
                  <a:pt x="6812" y="3785"/>
                </a:lnTo>
                <a:lnTo>
                  <a:pt x="6817" y="3795"/>
                </a:lnTo>
                <a:lnTo>
                  <a:pt x="6822" y="3802"/>
                </a:lnTo>
                <a:lnTo>
                  <a:pt x="6828" y="3807"/>
                </a:lnTo>
                <a:lnTo>
                  <a:pt x="6837" y="3815"/>
                </a:lnTo>
                <a:lnTo>
                  <a:pt x="6845" y="3820"/>
                </a:lnTo>
                <a:lnTo>
                  <a:pt x="6855" y="3828"/>
                </a:lnTo>
                <a:lnTo>
                  <a:pt x="6868" y="3837"/>
                </a:lnTo>
                <a:lnTo>
                  <a:pt x="6876" y="3840"/>
                </a:lnTo>
                <a:lnTo>
                  <a:pt x="6884" y="3841"/>
                </a:lnTo>
                <a:lnTo>
                  <a:pt x="6888" y="3841"/>
                </a:lnTo>
                <a:lnTo>
                  <a:pt x="6891" y="3841"/>
                </a:lnTo>
                <a:lnTo>
                  <a:pt x="6896" y="3839"/>
                </a:lnTo>
                <a:lnTo>
                  <a:pt x="6899" y="3837"/>
                </a:lnTo>
                <a:lnTo>
                  <a:pt x="6907" y="3831"/>
                </a:lnTo>
                <a:lnTo>
                  <a:pt x="6917" y="3826"/>
                </a:lnTo>
                <a:lnTo>
                  <a:pt x="6926" y="3822"/>
                </a:lnTo>
                <a:lnTo>
                  <a:pt x="6935" y="3819"/>
                </a:lnTo>
                <a:lnTo>
                  <a:pt x="6945" y="3817"/>
                </a:lnTo>
                <a:lnTo>
                  <a:pt x="6953" y="3816"/>
                </a:lnTo>
                <a:lnTo>
                  <a:pt x="6956" y="3817"/>
                </a:lnTo>
                <a:lnTo>
                  <a:pt x="6960" y="3817"/>
                </a:lnTo>
                <a:lnTo>
                  <a:pt x="6962" y="3819"/>
                </a:lnTo>
                <a:lnTo>
                  <a:pt x="6964" y="3820"/>
                </a:lnTo>
                <a:lnTo>
                  <a:pt x="6969" y="3825"/>
                </a:lnTo>
                <a:lnTo>
                  <a:pt x="6976" y="3830"/>
                </a:lnTo>
                <a:lnTo>
                  <a:pt x="6986" y="3837"/>
                </a:lnTo>
                <a:lnTo>
                  <a:pt x="6996" y="3843"/>
                </a:lnTo>
                <a:lnTo>
                  <a:pt x="7018" y="3855"/>
                </a:lnTo>
                <a:lnTo>
                  <a:pt x="7035" y="3864"/>
                </a:lnTo>
                <a:lnTo>
                  <a:pt x="7040" y="3866"/>
                </a:lnTo>
                <a:lnTo>
                  <a:pt x="7048" y="3867"/>
                </a:lnTo>
                <a:lnTo>
                  <a:pt x="7054" y="3868"/>
                </a:lnTo>
                <a:lnTo>
                  <a:pt x="7060" y="3868"/>
                </a:lnTo>
                <a:lnTo>
                  <a:pt x="7065" y="3867"/>
                </a:lnTo>
                <a:lnTo>
                  <a:pt x="7071" y="3866"/>
                </a:lnTo>
                <a:lnTo>
                  <a:pt x="7075" y="3864"/>
                </a:lnTo>
                <a:lnTo>
                  <a:pt x="7077" y="3861"/>
                </a:lnTo>
                <a:lnTo>
                  <a:pt x="7081" y="3850"/>
                </a:lnTo>
                <a:lnTo>
                  <a:pt x="7086" y="3837"/>
                </a:lnTo>
                <a:lnTo>
                  <a:pt x="7087" y="3830"/>
                </a:lnTo>
                <a:lnTo>
                  <a:pt x="7088" y="3826"/>
                </a:lnTo>
                <a:lnTo>
                  <a:pt x="7088" y="3824"/>
                </a:lnTo>
                <a:lnTo>
                  <a:pt x="7087" y="3823"/>
                </a:lnTo>
                <a:lnTo>
                  <a:pt x="7086" y="3823"/>
                </a:lnTo>
                <a:lnTo>
                  <a:pt x="7085" y="3823"/>
                </a:lnTo>
                <a:lnTo>
                  <a:pt x="7077" y="3827"/>
                </a:lnTo>
                <a:lnTo>
                  <a:pt x="7067" y="3830"/>
                </a:lnTo>
                <a:lnTo>
                  <a:pt x="7063" y="3831"/>
                </a:lnTo>
                <a:lnTo>
                  <a:pt x="7058" y="3831"/>
                </a:lnTo>
                <a:lnTo>
                  <a:pt x="7054" y="3830"/>
                </a:lnTo>
                <a:lnTo>
                  <a:pt x="7050" y="3827"/>
                </a:lnTo>
                <a:lnTo>
                  <a:pt x="7041" y="3822"/>
                </a:lnTo>
                <a:lnTo>
                  <a:pt x="7031" y="3816"/>
                </a:lnTo>
                <a:lnTo>
                  <a:pt x="7017" y="3807"/>
                </a:lnTo>
                <a:lnTo>
                  <a:pt x="6998" y="3794"/>
                </a:lnTo>
                <a:lnTo>
                  <a:pt x="6990" y="3785"/>
                </a:lnTo>
                <a:lnTo>
                  <a:pt x="6984" y="3779"/>
                </a:lnTo>
                <a:lnTo>
                  <a:pt x="6979" y="3773"/>
                </a:lnTo>
                <a:lnTo>
                  <a:pt x="6977" y="3766"/>
                </a:lnTo>
                <a:lnTo>
                  <a:pt x="6975" y="3761"/>
                </a:lnTo>
                <a:lnTo>
                  <a:pt x="6973" y="3756"/>
                </a:lnTo>
                <a:lnTo>
                  <a:pt x="6971" y="3751"/>
                </a:lnTo>
                <a:lnTo>
                  <a:pt x="6967" y="3745"/>
                </a:lnTo>
                <a:lnTo>
                  <a:pt x="6955" y="3732"/>
                </a:lnTo>
                <a:lnTo>
                  <a:pt x="6940" y="3718"/>
                </a:lnTo>
                <a:lnTo>
                  <a:pt x="6931" y="3711"/>
                </a:lnTo>
                <a:lnTo>
                  <a:pt x="6923" y="3706"/>
                </a:lnTo>
                <a:lnTo>
                  <a:pt x="6915" y="3701"/>
                </a:lnTo>
                <a:lnTo>
                  <a:pt x="6905" y="3699"/>
                </a:lnTo>
                <a:lnTo>
                  <a:pt x="6887" y="3697"/>
                </a:lnTo>
                <a:lnTo>
                  <a:pt x="6869" y="3695"/>
                </a:lnTo>
                <a:lnTo>
                  <a:pt x="6861" y="3694"/>
                </a:lnTo>
                <a:lnTo>
                  <a:pt x="6853" y="3692"/>
                </a:lnTo>
                <a:lnTo>
                  <a:pt x="6844" y="3689"/>
                </a:lnTo>
                <a:lnTo>
                  <a:pt x="6836" y="3685"/>
                </a:lnTo>
                <a:lnTo>
                  <a:pt x="6818" y="3676"/>
                </a:lnTo>
                <a:lnTo>
                  <a:pt x="6800" y="3669"/>
                </a:lnTo>
                <a:lnTo>
                  <a:pt x="6792" y="3666"/>
                </a:lnTo>
                <a:lnTo>
                  <a:pt x="6785" y="3664"/>
                </a:lnTo>
                <a:lnTo>
                  <a:pt x="6778" y="3663"/>
                </a:lnTo>
                <a:lnTo>
                  <a:pt x="6773" y="3663"/>
                </a:lnTo>
                <a:lnTo>
                  <a:pt x="6769" y="3662"/>
                </a:lnTo>
                <a:lnTo>
                  <a:pt x="6764" y="3658"/>
                </a:lnTo>
                <a:lnTo>
                  <a:pt x="6759" y="3655"/>
                </a:lnTo>
                <a:lnTo>
                  <a:pt x="6755" y="3651"/>
                </a:lnTo>
                <a:lnTo>
                  <a:pt x="6751" y="3648"/>
                </a:lnTo>
                <a:lnTo>
                  <a:pt x="6747" y="3645"/>
                </a:lnTo>
                <a:lnTo>
                  <a:pt x="6746" y="3645"/>
                </a:lnTo>
                <a:lnTo>
                  <a:pt x="6745" y="3645"/>
                </a:lnTo>
                <a:lnTo>
                  <a:pt x="6744" y="3646"/>
                </a:lnTo>
                <a:lnTo>
                  <a:pt x="6744" y="3647"/>
                </a:lnTo>
                <a:lnTo>
                  <a:pt x="6743" y="3651"/>
                </a:lnTo>
                <a:lnTo>
                  <a:pt x="6744" y="3655"/>
                </a:lnTo>
                <a:lnTo>
                  <a:pt x="6745" y="3659"/>
                </a:lnTo>
                <a:lnTo>
                  <a:pt x="6747" y="3664"/>
                </a:lnTo>
                <a:lnTo>
                  <a:pt x="6749" y="3673"/>
                </a:lnTo>
                <a:lnTo>
                  <a:pt x="6750" y="3679"/>
                </a:lnTo>
                <a:lnTo>
                  <a:pt x="6749" y="3681"/>
                </a:lnTo>
                <a:lnTo>
                  <a:pt x="6748" y="3681"/>
                </a:lnTo>
                <a:lnTo>
                  <a:pt x="6747" y="3683"/>
                </a:lnTo>
                <a:lnTo>
                  <a:pt x="6746" y="3683"/>
                </a:lnTo>
                <a:lnTo>
                  <a:pt x="6742" y="3681"/>
                </a:lnTo>
                <a:lnTo>
                  <a:pt x="6737" y="3678"/>
                </a:lnTo>
                <a:lnTo>
                  <a:pt x="6729" y="3673"/>
                </a:lnTo>
                <a:lnTo>
                  <a:pt x="6722" y="3667"/>
                </a:lnTo>
                <a:lnTo>
                  <a:pt x="6714" y="3658"/>
                </a:lnTo>
                <a:lnTo>
                  <a:pt x="6705" y="3648"/>
                </a:lnTo>
                <a:lnTo>
                  <a:pt x="6701" y="3644"/>
                </a:lnTo>
                <a:lnTo>
                  <a:pt x="6696" y="3642"/>
                </a:lnTo>
                <a:lnTo>
                  <a:pt x="6692" y="3641"/>
                </a:lnTo>
                <a:lnTo>
                  <a:pt x="6690" y="3641"/>
                </a:lnTo>
                <a:lnTo>
                  <a:pt x="6688" y="3642"/>
                </a:lnTo>
                <a:lnTo>
                  <a:pt x="6686" y="3643"/>
                </a:lnTo>
                <a:lnTo>
                  <a:pt x="6684" y="3645"/>
                </a:lnTo>
                <a:lnTo>
                  <a:pt x="6681" y="3645"/>
                </a:lnTo>
                <a:lnTo>
                  <a:pt x="6679" y="3646"/>
                </a:lnTo>
                <a:lnTo>
                  <a:pt x="6677" y="3646"/>
                </a:lnTo>
                <a:lnTo>
                  <a:pt x="6671" y="3645"/>
                </a:lnTo>
                <a:lnTo>
                  <a:pt x="6667" y="3644"/>
                </a:lnTo>
                <a:lnTo>
                  <a:pt x="6663" y="3643"/>
                </a:lnTo>
                <a:lnTo>
                  <a:pt x="6661" y="3645"/>
                </a:lnTo>
                <a:lnTo>
                  <a:pt x="6660" y="3649"/>
                </a:lnTo>
                <a:lnTo>
                  <a:pt x="6661" y="3657"/>
                </a:lnTo>
                <a:lnTo>
                  <a:pt x="6664" y="3667"/>
                </a:lnTo>
                <a:lnTo>
                  <a:pt x="6667" y="3676"/>
                </a:lnTo>
                <a:lnTo>
                  <a:pt x="6670" y="3686"/>
                </a:lnTo>
                <a:lnTo>
                  <a:pt x="6674" y="3693"/>
                </a:lnTo>
                <a:lnTo>
                  <a:pt x="6681" y="3707"/>
                </a:lnTo>
                <a:lnTo>
                  <a:pt x="6688" y="3717"/>
                </a:lnTo>
                <a:lnTo>
                  <a:pt x="6692" y="3720"/>
                </a:lnTo>
                <a:lnTo>
                  <a:pt x="6700" y="3722"/>
                </a:lnTo>
                <a:lnTo>
                  <a:pt x="6708" y="3723"/>
                </a:lnTo>
                <a:lnTo>
                  <a:pt x="6718" y="3724"/>
                </a:lnTo>
                <a:lnTo>
                  <a:pt x="6727" y="3725"/>
                </a:lnTo>
                <a:lnTo>
                  <a:pt x="6736" y="3727"/>
                </a:lnTo>
                <a:lnTo>
                  <a:pt x="6744" y="3729"/>
                </a:lnTo>
                <a:lnTo>
                  <a:pt x="6750" y="3731"/>
                </a:lnTo>
                <a:lnTo>
                  <a:pt x="6760" y="3740"/>
                </a:lnTo>
                <a:lnTo>
                  <a:pt x="6774" y="3753"/>
                </a:lnTo>
                <a:lnTo>
                  <a:pt x="6785" y="3762"/>
                </a:lnTo>
                <a:lnTo>
                  <a:pt x="6790" y="3767"/>
                </a:lnTo>
                <a:lnTo>
                  <a:pt x="6807" y="3774"/>
                </a:lnTo>
                <a:close/>
                <a:moveTo>
                  <a:pt x="2785" y="1985"/>
                </a:moveTo>
                <a:lnTo>
                  <a:pt x="2790" y="1966"/>
                </a:lnTo>
                <a:lnTo>
                  <a:pt x="2799" y="1923"/>
                </a:lnTo>
                <a:lnTo>
                  <a:pt x="2805" y="1899"/>
                </a:lnTo>
                <a:lnTo>
                  <a:pt x="2812" y="1876"/>
                </a:lnTo>
                <a:lnTo>
                  <a:pt x="2815" y="1866"/>
                </a:lnTo>
                <a:lnTo>
                  <a:pt x="2818" y="1857"/>
                </a:lnTo>
                <a:lnTo>
                  <a:pt x="2821" y="1850"/>
                </a:lnTo>
                <a:lnTo>
                  <a:pt x="2824" y="1846"/>
                </a:lnTo>
                <a:lnTo>
                  <a:pt x="2839" y="1829"/>
                </a:lnTo>
                <a:lnTo>
                  <a:pt x="2853" y="1812"/>
                </a:lnTo>
                <a:lnTo>
                  <a:pt x="2860" y="1804"/>
                </a:lnTo>
                <a:lnTo>
                  <a:pt x="2865" y="1796"/>
                </a:lnTo>
                <a:lnTo>
                  <a:pt x="2866" y="1791"/>
                </a:lnTo>
                <a:lnTo>
                  <a:pt x="2867" y="1788"/>
                </a:lnTo>
                <a:lnTo>
                  <a:pt x="2868" y="1784"/>
                </a:lnTo>
                <a:lnTo>
                  <a:pt x="2867" y="1780"/>
                </a:lnTo>
                <a:lnTo>
                  <a:pt x="2867" y="1771"/>
                </a:lnTo>
                <a:lnTo>
                  <a:pt x="2867" y="1761"/>
                </a:lnTo>
                <a:lnTo>
                  <a:pt x="2869" y="1750"/>
                </a:lnTo>
                <a:lnTo>
                  <a:pt x="2872" y="1740"/>
                </a:lnTo>
                <a:lnTo>
                  <a:pt x="2876" y="1731"/>
                </a:lnTo>
                <a:lnTo>
                  <a:pt x="2881" y="1722"/>
                </a:lnTo>
                <a:lnTo>
                  <a:pt x="2883" y="1719"/>
                </a:lnTo>
                <a:lnTo>
                  <a:pt x="2885" y="1717"/>
                </a:lnTo>
                <a:lnTo>
                  <a:pt x="2888" y="1715"/>
                </a:lnTo>
                <a:lnTo>
                  <a:pt x="2890" y="1714"/>
                </a:lnTo>
                <a:lnTo>
                  <a:pt x="2895" y="1711"/>
                </a:lnTo>
                <a:lnTo>
                  <a:pt x="2903" y="1704"/>
                </a:lnTo>
                <a:lnTo>
                  <a:pt x="2911" y="1696"/>
                </a:lnTo>
                <a:lnTo>
                  <a:pt x="2919" y="1687"/>
                </a:lnTo>
                <a:lnTo>
                  <a:pt x="2929" y="1679"/>
                </a:lnTo>
                <a:lnTo>
                  <a:pt x="2937" y="1673"/>
                </a:lnTo>
                <a:lnTo>
                  <a:pt x="2940" y="1672"/>
                </a:lnTo>
                <a:lnTo>
                  <a:pt x="2944" y="1672"/>
                </a:lnTo>
                <a:lnTo>
                  <a:pt x="2947" y="1673"/>
                </a:lnTo>
                <a:lnTo>
                  <a:pt x="2950" y="1675"/>
                </a:lnTo>
                <a:lnTo>
                  <a:pt x="2954" y="1680"/>
                </a:lnTo>
                <a:lnTo>
                  <a:pt x="2956" y="1681"/>
                </a:lnTo>
                <a:lnTo>
                  <a:pt x="2959" y="1681"/>
                </a:lnTo>
                <a:lnTo>
                  <a:pt x="2961" y="1678"/>
                </a:lnTo>
                <a:lnTo>
                  <a:pt x="2962" y="1674"/>
                </a:lnTo>
                <a:lnTo>
                  <a:pt x="2966" y="1669"/>
                </a:lnTo>
                <a:lnTo>
                  <a:pt x="2969" y="1665"/>
                </a:lnTo>
                <a:lnTo>
                  <a:pt x="2972" y="1660"/>
                </a:lnTo>
                <a:lnTo>
                  <a:pt x="2979" y="1655"/>
                </a:lnTo>
                <a:lnTo>
                  <a:pt x="2990" y="1645"/>
                </a:lnTo>
                <a:lnTo>
                  <a:pt x="3003" y="1631"/>
                </a:lnTo>
                <a:lnTo>
                  <a:pt x="3017" y="1615"/>
                </a:lnTo>
                <a:lnTo>
                  <a:pt x="3029" y="1600"/>
                </a:lnTo>
                <a:lnTo>
                  <a:pt x="3039" y="1585"/>
                </a:lnTo>
                <a:lnTo>
                  <a:pt x="3042" y="1579"/>
                </a:lnTo>
                <a:lnTo>
                  <a:pt x="3044" y="1572"/>
                </a:lnTo>
                <a:lnTo>
                  <a:pt x="3045" y="1568"/>
                </a:lnTo>
                <a:lnTo>
                  <a:pt x="3044" y="1564"/>
                </a:lnTo>
                <a:lnTo>
                  <a:pt x="3041" y="1558"/>
                </a:lnTo>
                <a:lnTo>
                  <a:pt x="3038" y="1551"/>
                </a:lnTo>
                <a:lnTo>
                  <a:pt x="3037" y="1546"/>
                </a:lnTo>
                <a:lnTo>
                  <a:pt x="3035" y="1541"/>
                </a:lnTo>
                <a:lnTo>
                  <a:pt x="3034" y="1533"/>
                </a:lnTo>
                <a:lnTo>
                  <a:pt x="3034" y="1529"/>
                </a:lnTo>
                <a:lnTo>
                  <a:pt x="3038" y="1535"/>
                </a:lnTo>
                <a:lnTo>
                  <a:pt x="3047" y="1547"/>
                </a:lnTo>
                <a:lnTo>
                  <a:pt x="3054" y="1553"/>
                </a:lnTo>
                <a:lnTo>
                  <a:pt x="3061" y="1558"/>
                </a:lnTo>
                <a:lnTo>
                  <a:pt x="3065" y="1560"/>
                </a:lnTo>
                <a:lnTo>
                  <a:pt x="3068" y="1561"/>
                </a:lnTo>
                <a:lnTo>
                  <a:pt x="3072" y="1561"/>
                </a:lnTo>
                <a:lnTo>
                  <a:pt x="3077" y="1560"/>
                </a:lnTo>
                <a:lnTo>
                  <a:pt x="3091" y="1553"/>
                </a:lnTo>
                <a:lnTo>
                  <a:pt x="3114" y="1540"/>
                </a:lnTo>
                <a:lnTo>
                  <a:pt x="3143" y="1521"/>
                </a:lnTo>
                <a:lnTo>
                  <a:pt x="3174" y="1500"/>
                </a:lnTo>
                <a:lnTo>
                  <a:pt x="3203" y="1480"/>
                </a:lnTo>
                <a:lnTo>
                  <a:pt x="3230" y="1462"/>
                </a:lnTo>
                <a:lnTo>
                  <a:pt x="3247" y="1450"/>
                </a:lnTo>
                <a:lnTo>
                  <a:pt x="3254" y="1446"/>
                </a:lnTo>
                <a:lnTo>
                  <a:pt x="3245" y="1440"/>
                </a:lnTo>
                <a:lnTo>
                  <a:pt x="3225" y="1432"/>
                </a:lnTo>
                <a:lnTo>
                  <a:pt x="3214" y="1428"/>
                </a:lnTo>
                <a:lnTo>
                  <a:pt x="3201" y="1425"/>
                </a:lnTo>
                <a:lnTo>
                  <a:pt x="3196" y="1425"/>
                </a:lnTo>
                <a:lnTo>
                  <a:pt x="3190" y="1425"/>
                </a:lnTo>
                <a:lnTo>
                  <a:pt x="3185" y="1425"/>
                </a:lnTo>
                <a:lnTo>
                  <a:pt x="3179" y="1427"/>
                </a:lnTo>
                <a:lnTo>
                  <a:pt x="3175" y="1428"/>
                </a:lnTo>
                <a:lnTo>
                  <a:pt x="3171" y="1429"/>
                </a:lnTo>
                <a:lnTo>
                  <a:pt x="3168" y="1429"/>
                </a:lnTo>
                <a:lnTo>
                  <a:pt x="3165" y="1429"/>
                </a:lnTo>
                <a:lnTo>
                  <a:pt x="3161" y="1428"/>
                </a:lnTo>
                <a:lnTo>
                  <a:pt x="3159" y="1426"/>
                </a:lnTo>
                <a:lnTo>
                  <a:pt x="3157" y="1425"/>
                </a:lnTo>
                <a:lnTo>
                  <a:pt x="3155" y="1423"/>
                </a:lnTo>
                <a:lnTo>
                  <a:pt x="3153" y="1417"/>
                </a:lnTo>
                <a:lnTo>
                  <a:pt x="3153" y="1412"/>
                </a:lnTo>
                <a:lnTo>
                  <a:pt x="3154" y="1408"/>
                </a:lnTo>
                <a:lnTo>
                  <a:pt x="3157" y="1404"/>
                </a:lnTo>
                <a:lnTo>
                  <a:pt x="3168" y="1397"/>
                </a:lnTo>
                <a:lnTo>
                  <a:pt x="3181" y="1392"/>
                </a:lnTo>
                <a:lnTo>
                  <a:pt x="3187" y="1389"/>
                </a:lnTo>
                <a:lnTo>
                  <a:pt x="3191" y="1386"/>
                </a:lnTo>
                <a:lnTo>
                  <a:pt x="3192" y="1384"/>
                </a:lnTo>
                <a:lnTo>
                  <a:pt x="3192" y="1383"/>
                </a:lnTo>
                <a:lnTo>
                  <a:pt x="3192" y="1381"/>
                </a:lnTo>
                <a:lnTo>
                  <a:pt x="3190" y="1380"/>
                </a:lnTo>
                <a:lnTo>
                  <a:pt x="3187" y="1375"/>
                </a:lnTo>
                <a:lnTo>
                  <a:pt x="3183" y="1371"/>
                </a:lnTo>
                <a:lnTo>
                  <a:pt x="3182" y="1366"/>
                </a:lnTo>
                <a:lnTo>
                  <a:pt x="3181" y="1361"/>
                </a:lnTo>
                <a:lnTo>
                  <a:pt x="3182" y="1357"/>
                </a:lnTo>
                <a:lnTo>
                  <a:pt x="3185" y="1353"/>
                </a:lnTo>
                <a:lnTo>
                  <a:pt x="3186" y="1352"/>
                </a:lnTo>
                <a:lnTo>
                  <a:pt x="3188" y="1351"/>
                </a:lnTo>
                <a:lnTo>
                  <a:pt x="3190" y="1352"/>
                </a:lnTo>
                <a:lnTo>
                  <a:pt x="3192" y="1352"/>
                </a:lnTo>
                <a:lnTo>
                  <a:pt x="3197" y="1357"/>
                </a:lnTo>
                <a:lnTo>
                  <a:pt x="3202" y="1363"/>
                </a:lnTo>
                <a:lnTo>
                  <a:pt x="3208" y="1371"/>
                </a:lnTo>
                <a:lnTo>
                  <a:pt x="3212" y="1380"/>
                </a:lnTo>
                <a:lnTo>
                  <a:pt x="3218" y="1395"/>
                </a:lnTo>
                <a:lnTo>
                  <a:pt x="3221" y="1402"/>
                </a:lnTo>
                <a:lnTo>
                  <a:pt x="3223" y="1407"/>
                </a:lnTo>
                <a:lnTo>
                  <a:pt x="3230" y="1416"/>
                </a:lnTo>
                <a:lnTo>
                  <a:pt x="3234" y="1421"/>
                </a:lnTo>
                <a:lnTo>
                  <a:pt x="3239" y="1425"/>
                </a:lnTo>
                <a:lnTo>
                  <a:pt x="3241" y="1426"/>
                </a:lnTo>
                <a:lnTo>
                  <a:pt x="3244" y="1426"/>
                </a:lnTo>
                <a:lnTo>
                  <a:pt x="3246" y="1426"/>
                </a:lnTo>
                <a:lnTo>
                  <a:pt x="3249" y="1425"/>
                </a:lnTo>
                <a:lnTo>
                  <a:pt x="3256" y="1420"/>
                </a:lnTo>
                <a:lnTo>
                  <a:pt x="3262" y="1414"/>
                </a:lnTo>
                <a:lnTo>
                  <a:pt x="3269" y="1408"/>
                </a:lnTo>
                <a:lnTo>
                  <a:pt x="3277" y="1399"/>
                </a:lnTo>
                <a:lnTo>
                  <a:pt x="3282" y="1391"/>
                </a:lnTo>
                <a:lnTo>
                  <a:pt x="3285" y="1383"/>
                </a:lnTo>
                <a:lnTo>
                  <a:pt x="3286" y="1379"/>
                </a:lnTo>
                <a:lnTo>
                  <a:pt x="3286" y="1374"/>
                </a:lnTo>
                <a:lnTo>
                  <a:pt x="3286" y="1370"/>
                </a:lnTo>
                <a:lnTo>
                  <a:pt x="3284" y="1367"/>
                </a:lnTo>
                <a:lnTo>
                  <a:pt x="3275" y="1350"/>
                </a:lnTo>
                <a:lnTo>
                  <a:pt x="3261" y="1329"/>
                </a:lnTo>
                <a:lnTo>
                  <a:pt x="3246" y="1309"/>
                </a:lnTo>
                <a:lnTo>
                  <a:pt x="3235" y="1295"/>
                </a:lnTo>
                <a:lnTo>
                  <a:pt x="3222" y="1282"/>
                </a:lnTo>
                <a:lnTo>
                  <a:pt x="3204" y="1266"/>
                </a:lnTo>
                <a:lnTo>
                  <a:pt x="3190" y="1253"/>
                </a:lnTo>
                <a:lnTo>
                  <a:pt x="3183" y="1248"/>
                </a:lnTo>
                <a:lnTo>
                  <a:pt x="3191" y="1247"/>
                </a:lnTo>
                <a:lnTo>
                  <a:pt x="3207" y="1243"/>
                </a:lnTo>
                <a:lnTo>
                  <a:pt x="3215" y="1242"/>
                </a:lnTo>
                <a:lnTo>
                  <a:pt x="3223" y="1242"/>
                </a:lnTo>
                <a:lnTo>
                  <a:pt x="3226" y="1242"/>
                </a:lnTo>
                <a:lnTo>
                  <a:pt x="3230" y="1243"/>
                </a:lnTo>
                <a:lnTo>
                  <a:pt x="3232" y="1244"/>
                </a:lnTo>
                <a:lnTo>
                  <a:pt x="3233" y="1245"/>
                </a:lnTo>
                <a:lnTo>
                  <a:pt x="3234" y="1248"/>
                </a:lnTo>
                <a:lnTo>
                  <a:pt x="3236" y="1248"/>
                </a:lnTo>
                <a:lnTo>
                  <a:pt x="3237" y="1248"/>
                </a:lnTo>
                <a:lnTo>
                  <a:pt x="3238" y="1248"/>
                </a:lnTo>
                <a:lnTo>
                  <a:pt x="3240" y="1244"/>
                </a:lnTo>
                <a:lnTo>
                  <a:pt x="3241" y="1240"/>
                </a:lnTo>
                <a:lnTo>
                  <a:pt x="3244" y="1232"/>
                </a:lnTo>
                <a:lnTo>
                  <a:pt x="3245" y="1228"/>
                </a:lnTo>
                <a:lnTo>
                  <a:pt x="3246" y="1221"/>
                </a:lnTo>
                <a:lnTo>
                  <a:pt x="3247" y="1211"/>
                </a:lnTo>
                <a:lnTo>
                  <a:pt x="3249" y="1206"/>
                </a:lnTo>
                <a:lnTo>
                  <a:pt x="3252" y="1203"/>
                </a:lnTo>
                <a:lnTo>
                  <a:pt x="3253" y="1201"/>
                </a:lnTo>
                <a:lnTo>
                  <a:pt x="3255" y="1201"/>
                </a:lnTo>
                <a:lnTo>
                  <a:pt x="3256" y="1203"/>
                </a:lnTo>
                <a:lnTo>
                  <a:pt x="3258" y="1205"/>
                </a:lnTo>
                <a:lnTo>
                  <a:pt x="3260" y="1207"/>
                </a:lnTo>
                <a:lnTo>
                  <a:pt x="3262" y="1209"/>
                </a:lnTo>
                <a:lnTo>
                  <a:pt x="3265" y="1210"/>
                </a:lnTo>
                <a:lnTo>
                  <a:pt x="3268" y="1211"/>
                </a:lnTo>
                <a:lnTo>
                  <a:pt x="3276" y="1212"/>
                </a:lnTo>
                <a:lnTo>
                  <a:pt x="3283" y="1211"/>
                </a:lnTo>
                <a:lnTo>
                  <a:pt x="3296" y="1209"/>
                </a:lnTo>
                <a:lnTo>
                  <a:pt x="3301" y="1207"/>
                </a:lnTo>
                <a:lnTo>
                  <a:pt x="3300" y="1201"/>
                </a:lnTo>
                <a:lnTo>
                  <a:pt x="3298" y="1191"/>
                </a:lnTo>
                <a:lnTo>
                  <a:pt x="3295" y="1180"/>
                </a:lnTo>
                <a:lnTo>
                  <a:pt x="3292" y="1174"/>
                </a:lnTo>
                <a:lnTo>
                  <a:pt x="3284" y="1170"/>
                </a:lnTo>
                <a:lnTo>
                  <a:pt x="3270" y="1161"/>
                </a:lnTo>
                <a:lnTo>
                  <a:pt x="3265" y="1155"/>
                </a:lnTo>
                <a:lnTo>
                  <a:pt x="3261" y="1150"/>
                </a:lnTo>
                <a:lnTo>
                  <a:pt x="3260" y="1147"/>
                </a:lnTo>
                <a:lnTo>
                  <a:pt x="3260" y="1145"/>
                </a:lnTo>
                <a:lnTo>
                  <a:pt x="3261" y="1143"/>
                </a:lnTo>
                <a:lnTo>
                  <a:pt x="3263" y="1141"/>
                </a:lnTo>
                <a:lnTo>
                  <a:pt x="3277" y="1133"/>
                </a:lnTo>
                <a:lnTo>
                  <a:pt x="3295" y="1126"/>
                </a:lnTo>
                <a:lnTo>
                  <a:pt x="3311" y="1120"/>
                </a:lnTo>
                <a:lnTo>
                  <a:pt x="3320" y="1119"/>
                </a:lnTo>
                <a:lnTo>
                  <a:pt x="3321" y="1118"/>
                </a:lnTo>
                <a:lnTo>
                  <a:pt x="3320" y="1114"/>
                </a:lnTo>
                <a:lnTo>
                  <a:pt x="3318" y="1110"/>
                </a:lnTo>
                <a:lnTo>
                  <a:pt x="3314" y="1104"/>
                </a:lnTo>
                <a:lnTo>
                  <a:pt x="3306" y="1091"/>
                </a:lnTo>
                <a:lnTo>
                  <a:pt x="3296" y="1080"/>
                </a:lnTo>
                <a:lnTo>
                  <a:pt x="3290" y="1075"/>
                </a:lnTo>
                <a:lnTo>
                  <a:pt x="3284" y="1066"/>
                </a:lnTo>
                <a:lnTo>
                  <a:pt x="3279" y="1058"/>
                </a:lnTo>
                <a:lnTo>
                  <a:pt x="3274" y="1048"/>
                </a:lnTo>
                <a:lnTo>
                  <a:pt x="3270" y="1040"/>
                </a:lnTo>
                <a:lnTo>
                  <a:pt x="3268" y="1034"/>
                </a:lnTo>
                <a:lnTo>
                  <a:pt x="3267" y="1032"/>
                </a:lnTo>
                <a:lnTo>
                  <a:pt x="3267" y="1031"/>
                </a:lnTo>
                <a:lnTo>
                  <a:pt x="3268" y="1030"/>
                </a:lnTo>
                <a:lnTo>
                  <a:pt x="3269" y="1031"/>
                </a:lnTo>
                <a:lnTo>
                  <a:pt x="3281" y="1038"/>
                </a:lnTo>
                <a:lnTo>
                  <a:pt x="3299" y="1048"/>
                </a:lnTo>
                <a:lnTo>
                  <a:pt x="3307" y="1053"/>
                </a:lnTo>
                <a:lnTo>
                  <a:pt x="3315" y="1056"/>
                </a:lnTo>
                <a:lnTo>
                  <a:pt x="3318" y="1056"/>
                </a:lnTo>
                <a:lnTo>
                  <a:pt x="3321" y="1056"/>
                </a:lnTo>
                <a:lnTo>
                  <a:pt x="3322" y="1055"/>
                </a:lnTo>
                <a:lnTo>
                  <a:pt x="3323" y="1054"/>
                </a:lnTo>
                <a:lnTo>
                  <a:pt x="3321" y="1046"/>
                </a:lnTo>
                <a:lnTo>
                  <a:pt x="3317" y="1035"/>
                </a:lnTo>
                <a:lnTo>
                  <a:pt x="3310" y="1022"/>
                </a:lnTo>
                <a:lnTo>
                  <a:pt x="3303" y="1008"/>
                </a:lnTo>
                <a:lnTo>
                  <a:pt x="3295" y="994"/>
                </a:lnTo>
                <a:lnTo>
                  <a:pt x="3288" y="982"/>
                </a:lnTo>
                <a:lnTo>
                  <a:pt x="3282" y="974"/>
                </a:lnTo>
                <a:lnTo>
                  <a:pt x="3279" y="970"/>
                </a:lnTo>
                <a:lnTo>
                  <a:pt x="3271" y="968"/>
                </a:lnTo>
                <a:lnTo>
                  <a:pt x="3262" y="964"/>
                </a:lnTo>
                <a:lnTo>
                  <a:pt x="3258" y="959"/>
                </a:lnTo>
                <a:lnTo>
                  <a:pt x="3256" y="955"/>
                </a:lnTo>
                <a:lnTo>
                  <a:pt x="3256" y="952"/>
                </a:lnTo>
                <a:lnTo>
                  <a:pt x="3256" y="949"/>
                </a:lnTo>
                <a:lnTo>
                  <a:pt x="3257" y="946"/>
                </a:lnTo>
                <a:lnTo>
                  <a:pt x="3258" y="942"/>
                </a:lnTo>
                <a:lnTo>
                  <a:pt x="3263" y="933"/>
                </a:lnTo>
                <a:lnTo>
                  <a:pt x="3269" y="925"/>
                </a:lnTo>
                <a:lnTo>
                  <a:pt x="3276" y="918"/>
                </a:lnTo>
                <a:lnTo>
                  <a:pt x="3282" y="910"/>
                </a:lnTo>
                <a:lnTo>
                  <a:pt x="3289" y="905"/>
                </a:lnTo>
                <a:lnTo>
                  <a:pt x="3296" y="902"/>
                </a:lnTo>
                <a:lnTo>
                  <a:pt x="3299" y="902"/>
                </a:lnTo>
                <a:lnTo>
                  <a:pt x="3302" y="902"/>
                </a:lnTo>
                <a:lnTo>
                  <a:pt x="3304" y="903"/>
                </a:lnTo>
                <a:lnTo>
                  <a:pt x="3306" y="905"/>
                </a:lnTo>
                <a:lnTo>
                  <a:pt x="3317" y="915"/>
                </a:lnTo>
                <a:lnTo>
                  <a:pt x="3328" y="927"/>
                </a:lnTo>
                <a:lnTo>
                  <a:pt x="3332" y="932"/>
                </a:lnTo>
                <a:lnTo>
                  <a:pt x="3336" y="935"/>
                </a:lnTo>
                <a:lnTo>
                  <a:pt x="3339" y="936"/>
                </a:lnTo>
                <a:lnTo>
                  <a:pt x="3340" y="937"/>
                </a:lnTo>
                <a:lnTo>
                  <a:pt x="3341" y="937"/>
                </a:lnTo>
                <a:lnTo>
                  <a:pt x="3342" y="936"/>
                </a:lnTo>
                <a:lnTo>
                  <a:pt x="3343" y="922"/>
                </a:lnTo>
                <a:lnTo>
                  <a:pt x="3343" y="896"/>
                </a:lnTo>
                <a:lnTo>
                  <a:pt x="3344" y="870"/>
                </a:lnTo>
                <a:lnTo>
                  <a:pt x="3344" y="860"/>
                </a:lnTo>
                <a:lnTo>
                  <a:pt x="3335" y="861"/>
                </a:lnTo>
                <a:lnTo>
                  <a:pt x="3325" y="864"/>
                </a:lnTo>
                <a:lnTo>
                  <a:pt x="3318" y="865"/>
                </a:lnTo>
                <a:lnTo>
                  <a:pt x="3306" y="864"/>
                </a:lnTo>
                <a:lnTo>
                  <a:pt x="3301" y="863"/>
                </a:lnTo>
                <a:lnTo>
                  <a:pt x="3297" y="861"/>
                </a:lnTo>
                <a:lnTo>
                  <a:pt x="3296" y="860"/>
                </a:lnTo>
                <a:lnTo>
                  <a:pt x="3295" y="859"/>
                </a:lnTo>
                <a:lnTo>
                  <a:pt x="3295" y="857"/>
                </a:lnTo>
                <a:lnTo>
                  <a:pt x="3295" y="856"/>
                </a:lnTo>
                <a:lnTo>
                  <a:pt x="3301" y="845"/>
                </a:lnTo>
                <a:lnTo>
                  <a:pt x="3308" y="834"/>
                </a:lnTo>
                <a:lnTo>
                  <a:pt x="3314" y="823"/>
                </a:lnTo>
                <a:lnTo>
                  <a:pt x="3317" y="818"/>
                </a:lnTo>
                <a:lnTo>
                  <a:pt x="3312" y="818"/>
                </a:lnTo>
                <a:lnTo>
                  <a:pt x="3304" y="820"/>
                </a:lnTo>
                <a:lnTo>
                  <a:pt x="3295" y="824"/>
                </a:lnTo>
                <a:lnTo>
                  <a:pt x="3287" y="827"/>
                </a:lnTo>
                <a:lnTo>
                  <a:pt x="3281" y="830"/>
                </a:lnTo>
                <a:lnTo>
                  <a:pt x="3274" y="830"/>
                </a:lnTo>
                <a:lnTo>
                  <a:pt x="3270" y="828"/>
                </a:lnTo>
                <a:lnTo>
                  <a:pt x="3268" y="825"/>
                </a:lnTo>
                <a:lnTo>
                  <a:pt x="3266" y="822"/>
                </a:lnTo>
                <a:lnTo>
                  <a:pt x="3266" y="817"/>
                </a:lnTo>
                <a:lnTo>
                  <a:pt x="3267" y="806"/>
                </a:lnTo>
                <a:lnTo>
                  <a:pt x="3267" y="797"/>
                </a:lnTo>
                <a:lnTo>
                  <a:pt x="3268" y="793"/>
                </a:lnTo>
                <a:lnTo>
                  <a:pt x="3270" y="790"/>
                </a:lnTo>
                <a:lnTo>
                  <a:pt x="3273" y="787"/>
                </a:lnTo>
                <a:lnTo>
                  <a:pt x="3276" y="783"/>
                </a:lnTo>
                <a:lnTo>
                  <a:pt x="3283" y="779"/>
                </a:lnTo>
                <a:lnTo>
                  <a:pt x="3290" y="775"/>
                </a:lnTo>
                <a:lnTo>
                  <a:pt x="3292" y="772"/>
                </a:lnTo>
                <a:lnTo>
                  <a:pt x="3293" y="768"/>
                </a:lnTo>
                <a:lnTo>
                  <a:pt x="3293" y="761"/>
                </a:lnTo>
                <a:lnTo>
                  <a:pt x="3290" y="754"/>
                </a:lnTo>
                <a:lnTo>
                  <a:pt x="3284" y="737"/>
                </a:lnTo>
                <a:lnTo>
                  <a:pt x="3280" y="726"/>
                </a:lnTo>
                <a:lnTo>
                  <a:pt x="3279" y="721"/>
                </a:lnTo>
                <a:lnTo>
                  <a:pt x="3278" y="715"/>
                </a:lnTo>
                <a:lnTo>
                  <a:pt x="3279" y="712"/>
                </a:lnTo>
                <a:lnTo>
                  <a:pt x="3281" y="708"/>
                </a:lnTo>
                <a:lnTo>
                  <a:pt x="3291" y="700"/>
                </a:lnTo>
                <a:lnTo>
                  <a:pt x="3306" y="688"/>
                </a:lnTo>
                <a:lnTo>
                  <a:pt x="3314" y="683"/>
                </a:lnTo>
                <a:lnTo>
                  <a:pt x="3321" y="678"/>
                </a:lnTo>
                <a:lnTo>
                  <a:pt x="3325" y="673"/>
                </a:lnTo>
                <a:lnTo>
                  <a:pt x="3327" y="670"/>
                </a:lnTo>
                <a:lnTo>
                  <a:pt x="3325" y="659"/>
                </a:lnTo>
                <a:lnTo>
                  <a:pt x="3323" y="640"/>
                </a:lnTo>
                <a:lnTo>
                  <a:pt x="3320" y="621"/>
                </a:lnTo>
                <a:lnTo>
                  <a:pt x="3319" y="614"/>
                </a:lnTo>
                <a:lnTo>
                  <a:pt x="3324" y="607"/>
                </a:lnTo>
                <a:lnTo>
                  <a:pt x="3336" y="595"/>
                </a:lnTo>
                <a:lnTo>
                  <a:pt x="3348" y="581"/>
                </a:lnTo>
                <a:lnTo>
                  <a:pt x="3354" y="572"/>
                </a:lnTo>
                <a:lnTo>
                  <a:pt x="3353" y="571"/>
                </a:lnTo>
                <a:lnTo>
                  <a:pt x="3351" y="569"/>
                </a:lnTo>
                <a:lnTo>
                  <a:pt x="3348" y="568"/>
                </a:lnTo>
                <a:lnTo>
                  <a:pt x="3344" y="567"/>
                </a:lnTo>
                <a:lnTo>
                  <a:pt x="3337" y="564"/>
                </a:lnTo>
                <a:lnTo>
                  <a:pt x="3334" y="564"/>
                </a:lnTo>
                <a:lnTo>
                  <a:pt x="3334" y="568"/>
                </a:lnTo>
                <a:lnTo>
                  <a:pt x="3334" y="574"/>
                </a:lnTo>
                <a:lnTo>
                  <a:pt x="3333" y="578"/>
                </a:lnTo>
                <a:lnTo>
                  <a:pt x="3331" y="581"/>
                </a:lnTo>
                <a:lnTo>
                  <a:pt x="3327" y="583"/>
                </a:lnTo>
                <a:lnTo>
                  <a:pt x="3321" y="583"/>
                </a:lnTo>
                <a:lnTo>
                  <a:pt x="3309" y="583"/>
                </a:lnTo>
                <a:lnTo>
                  <a:pt x="3303" y="583"/>
                </a:lnTo>
                <a:lnTo>
                  <a:pt x="3302" y="582"/>
                </a:lnTo>
                <a:lnTo>
                  <a:pt x="3302" y="579"/>
                </a:lnTo>
                <a:lnTo>
                  <a:pt x="3302" y="575"/>
                </a:lnTo>
                <a:lnTo>
                  <a:pt x="3304" y="569"/>
                </a:lnTo>
                <a:lnTo>
                  <a:pt x="3307" y="556"/>
                </a:lnTo>
                <a:lnTo>
                  <a:pt x="3311" y="547"/>
                </a:lnTo>
                <a:lnTo>
                  <a:pt x="3315" y="539"/>
                </a:lnTo>
                <a:lnTo>
                  <a:pt x="3323" y="530"/>
                </a:lnTo>
                <a:lnTo>
                  <a:pt x="3325" y="529"/>
                </a:lnTo>
                <a:lnTo>
                  <a:pt x="3328" y="528"/>
                </a:lnTo>
                <a:lnTo>
                  <a:pt x="3330" y="529"/>
                </a:lnTo>
                <a:lnTo>
                  <a:pt x="3332" y="530"/>
                </a:lnTo>
                <a:lnTo>
                  <a:pt x="3339" y="535"/>
                </a:lnTo>
                <a:lnTo>
                  <a:pt x="3345" y="542"/>
                </a:lnTo>
                <a:lnTo>
                  <a:pt x="3348" y="546"/>
                </a:lnTo>
                <a:lnTo>
                  <a:pt x="3351" y="548"/>
                </a:lnTo>
                <a:lnTo>
                  <a:pt x="3354" y="550"/>
                </a:lnTo>
                <a:lnTo>
                  <a:pt x="3357" y="551"/>
                </a:lnTo>
                <a:lnTo>
                  <a:pt x="3362" y="551"/>
                </a:lnTo>
                <a:lnTo>
                  <a:pt x="3365" y="550"/>
                </a:lnTo>
                <a:lnTo>
                  <a:pt x="3369" y="547"/>
                </a:lnTo>
                <a:lnTo>
                  <a:pt x="3372" y="542"/>
                </a:lnTo>
                <a:lnTo>
                  <a:pt x="3385" y="525"/>
                </a:lnTo>
                <a:lnTo>
                  <a:pt x="3393" y="514"/>
                </a:lnTo>
                <a:lnTo>
                  <a:pt x="3395" y="511"/>
                </a:lnTo>
                <a:lnTo>
                  <a:pt x="3396" y="508"/>
                </a:lnTo>
                <a:lnTo>
                  <a:pt x="3395" y="505"/>
                </a:lnTo>
                <a:lnTo>
                  <a:pt x="3393" y="502"/>
                </a:lnTo>
                <a:lnTo>
                  <a:pt x="3388" y="494"/>
                </a:lnTo>
                <a:lnTo>
                  <a:pt x="3383" y="489"/>
                </a:lnTo>
                <a:lnTo>
                  <a:pt x="3378" y="487"/>
                </a:lnTo>
                <a:lnTo>
                  <a:pt x="3373" y="486"/>
                </a:lnTo>
                <a:lnTo>
                  <a:pt x="3366" y="486"/>
                </a:lnTo>
                <a:lnTo>
                  <a:pt x="3355" y="487"/>
                </a:lnTo>
                <a:lnTo>
                  <a:pt x="3346" y="488"/>
                </a:lnTo>
                <a:lnTo>
                  <a:pt x="3337" y="487"/>
                </a:lnTo>
                <a:lnTo>
                  <a:pt x="3331" y="485"/>
                </a:lnTo>
                <a:lnTo>
                  <a:pt x="3326" y="482"/>
                </a:lnTo>
                <a:lnTo>
                  <a:pt x="3322" y="481"/>
                </a:lnTo>
                <a:lnTo>
                  <a:pt x="3318" y="480"/>
                </a:lnTo>
                <a:lnTo>
                  <a:pt x="3315" y="481"/>
                </a:lnTo>
                <a:lnTo>
                  <a:pt x="3312" y="482"/>
                </a:lnTo>
                <a:lnTo>
                  <a:pt x="3310" y="484"/>
                </a:lnTo>
                <a:lnTo>
                  <a:pt x="3307" y="487"/>
                </a:lnTo>
                <a:lnTo>
                  <a:pt x="3302" y="493"/>
                </a:lnTo>
                <a:lnTo>
                  <a:pt x="3297" y="497"/>
                </a:lnTo>
                <a:lnTo>
                  <a:pt x="3291" y="499"/>
                </a:lnTo>
                <a:lnTo>
                  <a:pt x="3288" y="502"/>
                </a:lnTo>
                <a:lnTo>
                  <a:pt x="3285" y="501"/>
                </a:lnTo>
                <a:lnTo>
                  <a:pt x="3283" y="499"/>
                </a:lnTo>
                <a:lnTo>
                  <a:pt x="3283" y="497"/>
                </a:lnTo>
                <a:lnTo>
                  <a:pt x="3284" y="494"/>
                </a:lnTo>
                <a:lnTo>
                  <a:pt x="3289" y="486"/>
                </a:lnTo>
                <a:lnTo>
                  <a:pt x="3297" y="477"/>
                </a:lnTo>
                <a:lnTo>
                  <a:pt x="3301" y="474"/>
                </a:lnTo>
                <a:lnTo>
                  <a:pt x="3305" y="471"/>
                </a:lnTo>
                <a:lnTo>
                  <a:pt x="3308" y="470"/>
                </a:lnTo>
                <a:lnTo>
                  <a:pt x="3311" y="470"/>
                </a:lnTo>
                <a:lnTo>
                  <a:pt x="3320" y="473"/>
                </a:lnTo>
                <a:lnTo>
                  <a:pt x="3330" y="477"/>
                </a:lnTo>
                <a:lnTo>
                  <a:pt x="3335" y="479"/>
                </a:lnTo>
                <a:lnTo>
                  <a:pt x="3342" y="479"/>
                </a:lnTo>
                <a:lnTo>
                  <a:pt x="3345" y="477"/>
                </a:lnTo>
                <a:lnTo>
                  <a:pt x="3348" y="475"/>
                </a:lnTo>
                <a:lnTo>
                  <a:pt x="3351" y="473"/>
                </a:lnTo>
                <a:lnTo>
                  <a:pt x="3354" y="471"/>
                </a:lnTo>
                <a:lnTo>
                  <a:pt x="3357" y="468"/>
                </a:lnTo>
                <a:lnTo>
                  <a:pt x="3361" y="466"/>
                </a:lnTo>
                <a:lnTo>
                  <a:pt x="3364" y="464"/>
                </a:lnTo>
                <a:lnTo>
                  <a:pt x="3367" y="463"/>
                </a:lnTo>
                <a:lnTo>
                  <a:pt x="3374" y="461"/>
                </a:lnTo>
                <a:lnTo>
                  <a:pt x="3380" y="461"/>
                </a:lnTo>
                <a:lnTo>
                  <a:pt x="3392" y="463"/>
                </a:lnTo>
                <a:lnTo>
                  <a:pt x="3396" y="465"/>
                </a:lnTo>
                <a:lnTo>
                  <a:pt x="3397" y="465"/>
                </a:lnTo>
                <a:lnTo>
                  <a:pt x="3402" y="462"/>
                </a:lnTo>
                <a:lnTo>
                  <a:pt x="3407" y="460"/>
                </a:lnTo>
                <a:lnTo>
                  <a:pt x="3412" y="454"/>
                </a:lnTo>
                <a:lnTo>
                  <a:pt x="3417" y="447"/>
                </a:lnTo>
                <a:lnTo>
                  <a:pt x="3423" y="437"/>
                </a:lnTo>
                <a:lnTo>
                  <a:pt x="3432" y="425"/>
                </a:lnTo>
                <a:lnTo>
                  <a:pt x="3441" y="414"/>
                </a:lnTo>
                <a:lnTo>
                  <a:pt x="3452" y="402"/>
                </a:lnTo>
                <a:lnTo>
                  <a:pt x="3462" y="392"/>
                </a:lnTo>
                <a:lnTo>
                  <a:pt x="3472" y="382"/>
                </a:lnTo>
                <a:lnTo>
                  <a:pt x="3479" y="373"/>
                </a:lnTo>
                <a:lnTo>
                  <a:pt x="3481" y="368"/>
                </a:lnTo>
                <a:lnTo>
                  <a:pt x="3482" y="365"/>
                </a:lnTo>
                <a:lnTo>
                  <a:pt x="3483" y="362"/>
                </a:lnTo>
                <a:lnTo>
                  <a:pt x="3482" y="359"/>
                </a:lnTo>
                <a:lnTo>
                  <a:pt x="3477" y="351"/>
                </a:lnTo>
                <a:lnTo>
                  <a:pt x="3470" y="338"/>
                </a:lnTo>
                <a:lnTo>
                  <a:pt x="3459" y="323"/>
                </a:lnTo>
                <a:lnTo>
                  <a:pt x="3446" y="309"/>
                </a:lnTo>
                <a:lnTo>
                  <a:pt x="3439" y="301"/>
                </a:lnTo>
                <a:lnTo>
                  <a:pt x="3432" y="296"/>
                </a:lnTo>
                <a:lnTo>
                  <a:pt x="3424" y="290"/>
                </a:lnTo>
                <a:lnTo>
                  <a:pt x="3417" y="287"/>
                </a:lnTo>
                <a:lnTo>
                  <a:pt x="3410" y="284"/>
                </a:lnTo>
                <a:lnTo>
                  <a:pt x="3402" y="283"/>
                </a:lnTo>
                <a:lnTo>
                  <a:pt x="3399" y="284"/>
                </a:lnTo>
                <a:lnTo>
                  <a:pt x="3395" y="284"/>
                </a:lnTo>
                <a:lnTo>
                  <a:pt x="3392" y="286"/>
                </a:lnTo>
                <a:lnTo>
                  <a:pt x="3389" y="287"/>
                </a:lnTo>
                <a:lnTo>
                  <a:pt x="3383" y="292"/>
                </a:lnTo>
                <a:lnTo>
                  <a:pt x="3377" y="297"/>
                </a:lnTo>
                <a:lnTo>
                  <a:pt x="3373" y="302"/>
                </a:lnTo>
                <a:lnTo>
                  <a:pt x="3370" y="309"/>
                </a:lnTo>
                <a:lnTo>
                  <a:pt x="3365" y="320"/>
                </a:lnTo>
                <a:lnTo>
                  <a:pt x="3362" y="331"/>
                </a:lnTo>
                <a:lnTo>
                  <a:pt x="3359" y="339"/>
                </a:lnTo>
                <a:lnTo>
                  <a:pt x="3357" y="344"/>
                </a:lnTo>
                <a:lnTo>
                  <a:pt x="3355" y="345"/>
                </a:lnTo>
                <a:lnTo>
                  <a:pt x="3354" y="345"/>
                </a:lnTo>
                <a:lnTo>
                  <a:pt x="3351" y="344"/>
                </a:lnTo>
                <a:lnTo>
                  <a:pt x="3349" y="341"/>
                </a:lnTo>
                <a:lnTo>
                  <a:pt x="3339" y="331"/>
                </a:lnTo>
                <a:lnTo>
                  <a:pt x="3331" y="327"/>
                </a:lnTo>
                <a:lnTo>
                  <a:pt x="3330" y="326"/>
                </a:lnTo>
                <a:lnTo>
                  <a:pt x="3328" y="327"/>
                </a:lnTo>
                <a:lnTo>
                  <a:pt x="3328" y="328"/>
                </a:lnTo>
                <a:lnTo>
                  <a:pt x="3327" y="330"/>
                </a:lnTo>
                <a:lnTo>
                  <a:pt x="3328" y="333"/>
                </a:lnTo>
                <a:lnTo>
                  <a:pt x="3332" y="336"/>
                </a:lnTo>
                <a:lnTo>
                  <a:pt x="3337" y="339"/>
                </a:lnTo>
                <a:lnTo>
                  <a:pt x="3344" y="342"/>
                </a:lnTo>
                <a:lnTo>
                  <a:pt x="3349" y="345"/>
                </a:lnTo>
                <a:lnTo>
                  <a:pt x="3351" y="349"/>
                </a:lnTo>
                <a:lnTo>
                  <a:pt x="3352" y="351"/>
                </a:lnTo>
                <a:lnTo>
                  <a:pt x="3352" y="352"/>
                </a:lnTo>
                <a:lnTo>
                  <a:pt x="3350" y="354"/>
                </a:lnTo>
                <a:lnTo>
                  <a:pt x="3348" y="355"/>
                </a:lnTo>
                <a:lnTo>
                  <a:pt x="3337" y="360"/>
                </a:lnTo>
                <a:lnTo>
                  <a:pt x="3331" y="363"/>
                </a:lnTo>
                <a:lnTo>
                  <a:pt x="3328" y="363"/>
                </a:lnTo>
                <a:lnTo>
                  <a:pt x="3325" y="363"/>
                </a:lnTo>
                <a:lnTo>
                  <a:pt x="3321" y="361"/>
                </a:lnTo>
                <a:lnTo>
                  <a:pt x="3315" y="358"/>
                </a:lnTo>
                <a:lnTo>
                  <a:pt x="3313" y="356"/>
                </a:lnTo>
                <a:lnTo>
                  <a:pt x="3311" y="353"/>
                </a:lnTo>
                <a:lnTo>
                  <a:pt x="3309" y="350"/>
                </a:lnTo>
                <a:lnTo>
                  <a:pt x="3308" y="345"/>
                </a:lnTo>
                <a:lnTo>
                  <a:pt x="3306" y="338"/>
                </a:lnTo>
                <a:lnTo>
                  <a:pt x="3305" y="332"/>
                </a:lnTo>
                <a:lnTo>
                  <a:pt x="3303" y="327"/>
                </a:lnTo>
                <a:lnTo>
                  <a:pt x="3302" y="326"/>
                </a:lnTo>
                <a:lnTo>
                  <a:pt x="3299" y="329"/>
                </a:lnTo>
                <a:lnTo>
                  <a:pt x="3295" y="338"/>
                </a:lnTo>
                <a:lnTo>
                  <a:pt x="3288" y="350"/>
                </a:lnTo>
                <a:lnTo>
                  <a:pt x="3283" y="359"/>
                </a:lnTo>
                <a:lnTo>
                  <a:pt x="3277" y="366"/>
                </a:lnTo>
                <a:lnTo>
                  <a:pt x="3270" y="373"/>
                </a:lnTo>
                <a:lnTo>
                  <a:pt x="3265" y="379"/>
                </a:lnTo>
                <a:lnTo>
                  <a:pt x="3260" y="384"/>
                </a:lnTo>
                <a:lnTo>
                  <a:pt x="3256" y="390"/>
                </a:lnTo>
                <a:lnTo>
                  <a:pt x="3254" y="398"/>
                </a:lnTo>
                <a:lnTo>
                  <a:pt x="3249" y="416"/>
                </a:lnTo>
                <a:lnTo>
                  <a:pt x="3245" y="435"/>
                </a:lnTo>
                <a:lnTo>
                  <a:pt x="3243" y="444"/>
                </a:lnTo>
                <a:lnTo>
                  <a:pt x="3241" y="452"/>
                </a:lnTo>
                <a:lnTo>
                  <a:pt x="3238" y="459"/>
                </a:lnTo>
                <a:lnTo>
                  <a:pt x="3235" y="465"/>
                </a:lnTo>
                <a:lnTo>
                  <a:pt x="3230" y="469"/>
                </a:lnTo>
                <a:lnTo>
                  <a:pt x="3223" y="472"/>
                </a:lnTo>
                <a:lnTo>
                  <a:pt x="3216" y="475"/>
                </a:lnTo>
                <a:lnTo>
                  <a:pt x="3210" y="476"/>
                </a:lnTo>
                <a:lnTo>
                  <a:pt x="3207" y="476"/>
                </a:lnTo>
                <a:lnTo>
                  <a:pt x="3203" y="476"/>
                </a:lnTo>
                <a:lnTo>
                  <a:pt x="3201" y="475"/>
                </a:lnTo>
                <a:lnTo>
                  <a:pt x="3200" y="474"/>
                </a:lnTo>
                <a:lnTo>
                  <a:pt x="3199" y="472"/>
                </a:lnTo>
                <a:lnTo>
                  <a:pt x="3200" y="469"/>
                </a:lnTo>
                <a:lnTo>
                  <a:pt x="3201" y="466"/>
                </a:lnTo>
                <a:lnTo>
                  <a:pt x="3204" y="463"/>
                </a:lnTo>
                <a:lnTo>
                  <a:pt x="3215" y="447"/>
                </a:lnTo>
                <a:lnTo>
                  <a:pt x="3223" y="436"/>
                </a:lnTo>
                <a:lnTo>
                  <a:pt x="3230" y="423"/>
                </a:lnTo>
                <a:lnTo>
                  <a:pt x="3235" y="409"/>
                </a:lnTo>
                <a:lnTo>
                  <a:pt x="3241" y="393"/>
                </a:lnTo>
                <a:lnTo>
                  <a:pt x="3248" y="375"/>
                </a:lnTo>
                <a:lnTo>
                  <a:pt x="3253" y="365"/>
                </a:lnTo>
                <a:lnTo>
                  <a:pt x="3255" y="357"/>
                </a:lnTo>
                <a:lnTo>
                  <a:pt x="3257" y="349"/>
                </a:lnTo>
                <a:lnTo>
                  <a:pt x="3258" y="340"/>
                </a:lnTo>
                <a:lnTo>
                  <a:pt x="3257" y="318"/>
                </a:lnTo>
                <a:lnTo>
                  <a:pt x="3257" y="289"/>
                </a:lnTo>
                <a:lnTo>
                  <a:pt x="3256" y="276"/>
                </a:lnTo>
                <a:lnTo>
                  <a:pt x="3253" y="266"/>
                </a:lnTo>
                <a:lnTo>
                  <a:pt x="3252" y="264"/>
                </a:lnTo>
                <a:lnTo>
                  <a:pt x="3248" y="262"/>
                </a:lnTo>
                <a:lnTo>
                  <a:pt x="3246" y="262"/>
                </a:lnTo>
                <a:lnTo>
                  <a:pt x="3243" y="264"/>
                </a:lnTo>
                <a:lnTo>
                  <a:pt x="3229" y="274"/>
                </a:lnTo>
                <a:lnTo>
                  <a:pt x="3215" y="284"/>
                </a:lnTo>
                <a:lnTo>
                  <a:pt x="3209" y="289"/>
                </a:lnTo>
                <a:lnTo>
                  <a:pt x="3203" y="293"/>
                </a:lnTo>
                <a:lnTo>
                  <a:pt x="3200" y="298"/>
                </a:lnTo>
                <a:lnTo>
                  <a:pt x="3199" y="305"/>
                </a:lnTo>
                <a:lnTo>
                  <a:pt x="3197" y="311"/>
                </a:lnTo>
                <a:lnTo>
                  <a:pt x="3195" y="318"/>
                </a:lnTo>
                <a:lnTo>
                  <a:pt x="3191" y="327"/>
                </a:lnTo>
                <a:lnTo>
                  <a:pt x="3186" y="334"/>
                </a:lnTo>
                <a:lnTo>
                  <a:pt x="3180" y="341"/>
                </a:lnTo>
                <a:lnTo>
                  <a:pt x="3174" y="348"/>
                </a:lnTo>
                <a:lnTo>
                  <a:pt x="3169" y="352"/>
                </a:lnTo>
                <a:lnTo>
                  <a:pt x="3164" y="355"/>
                </a:lnTo>
                <a:lnTo>
                  <a:pt x="3152" y="359"/>
                </a:lnTo>
                <a:lnTo>
                  <a:pt x="3138" y="364"/>
                </a:lnTo>
                <a:lnTo>
                  <a:pt x="3127" y="368"/>
                </a:lnTo>
                <a:lnTo>
                  <a:pt x="3122" y="371"/>
                </a:lnTo>
                <a:lnTo>
                  <a:pt x="3128" y="365"/>
                </a:lnTo>
                <a:lnTo>
                  <a:pt x="3142" y="355"/>
                </a:lnTo>
                <a:lnTo>
                  <a:pt x="3156" y="343"/>
                </a:lnTo>
                <a:lnTo>
                  <a:pt x="3165" y="334"/>
                </a:lnTo>
                <a:lnTo>
                  <a:pt x="3169" y="329"/>
                </a:lnTo>
                <a:lnTo>
                  <a:pt x="3174" y="322"/>
                </a:lnTo>
                <a:lnTo>
                  <a:pt x="3176" y="318"/>
                </a:lnTo>
                <a:lnTo>
                  <a:pt x="3178" y="314"/>
                </a:lnTo>
                <a:lnTo>
                  <a:pt x="3179" y="310"/>
                </a:lnTo>
                <a:lnTo>
                  <a:pt x="3178" y="306"/>
                </a:lnTo>
                <a:lnTo>
                  <a:pt x="3177" y="301"/>
                </a:lnTo>
                <a:lnTo>
                  <a:pt x="3175" y="296"/>
                </a:lnTo>
                <a:lnTo>
                  <a:pt x="3172" y="293"/>
                </a:lnTo>
                <a:lnTo>
                  <a:pt x="3169" y="289"/>
                </a:lnTo>
                <a:lnTo>
                  <a:pt x="3166" y="287"/>
                </a:lnTo>
                <a:lnTo>
                  <a:pt x="3163" y="285"/>
                </a:lnTo>
                <a:lnTo>
                  <a:pt x="3158" y="284"/>
                </a:lnTo>
                <a:lnTo>
                  <a:pt x="3155" y="284"/>
                </a:lnTo>
                <a:lnTo>
                  <a:pt x="3144" y="285"/>
                </a:lnTo>
                <a:lnTo>
                  <a:pt x="3127" y="284"/>
                </a:lnTo>
                <a:lnTo>
                  <a:pt x="3117" y="284"/>
                </a:lnTo>
                <a:lnTo>
                  <a:pt x="3107" y="286"/>
                </a:lnTo>
                <a:lnTo>
                  <a:pt x="3102" y="287"/>
                </a:lnTo>
                <a:lnTo>
                  <a:pt x="3097" y="289"/>
                </a:lnTo>
                <a:lnTo>
                  <a:pt x="3091" y="292"/>
                </a:lnTo>
                <a:lnTo>
                  <a:pt x="3086" y="295"/>
                </a:lnTo>
                <a:lnTo>
                  <a:pt x="3069" y="307"/>
                </a:lnTo>
                <a:lnTo>
                  <a:pt x="3057" y="313"/>
                </a:lnTo>
                <a:lnTo>
                  <a:pt x="3045" y="318"/>
                </a:lnTo>
                <a:lnTo>
                  <a:pt x="3030" y="327"/>
                </a:lnTo>
                <a:lnTo>
                  <a:pt x="3021" y="331"/>
                </a:lnTo>
                <a:lnTo>
                  <a:pt x="3013" y="335"/>
                </a:lnTo>
                <a:lnTo>
                  <a:pt x="3005" y="337"/>
                </a:lnTo>
                <a:lnTo>
                  <a:pt x="2999" y="338"/>
                </a:lnTo>
                <a:lnTo>
                  <a:pt x="2996" y="338"/>
                </a:lnTo>
                <a:lnTo>
                  <a:pt x="2994" y="338"/>
                </a:lnTo>
                <a:lnTo>
                  <a:pt x="2993" y="337"/>
                </a:lnTo>
                <a:lnTo>
                  <a:pt x="2992" y="336"/>
                </a:lnTo>
                <a:lnTo>
                  <a:pt x="2991" y="335"/>
                </a:lnTo>
                <a:lnTo>
                  <a:pt x="2991" y="333"/>
                </a:lnTo>
                <a:lnTo>
                  <a:pt x="2992" y="330"/>
                </a:lnTo>
                <a:lnTo>
                  <a:pt x="2994" y="328"/>
                </a:lnTo>
                <a:lnTo>
                  <a:pt x="2998" y="320"/>
                </a:lnTo>
                <a:lnTo>
                  <a:pt x="3004" y="314"/>
                </a:lnTo>
                <a:lnTo>
                  <a:pt x="3011" y="309"/>
                </a:lnTo>
                <a:lnTo>
                  <a:pt x="3017" y="302"/>
                </a:lnTo>
                <a:lnTo>
                  <a:pt x="3029" y="293"/>
                </a:lnTo>
                <a:lnTo>
                  <a:pt x="3042" y="285"/>
                </a:lnTo>
                <a:lnTo>
                  <a:pt x="3057" y="277"/>
                </a:lnTo>
                <a:lnTo>
                  <a:pt x="3076" y="270"/>
                </a:lnTo>
                <a:lnTo>
                  <a:pt x="3086" y="267"/>
                </a:lnTo>
                <a:lnTo>
                  <a:pt x="3097" y="264"/>
                </a:lnTo>
                <a:lnTo>
                  <a:pt x="3106" y="263"/>
                </a:lnTo>
                <a:lnTo>
                  <a:pt x="3113" y="264"/>
                </a:lnTo>
                <a:lnTo>
                  <a:pt x="3129" y="267"/>
                </a:lnTo>
                <a:lnTo>
                  <a:pt x="3144" y="270"/>
                </a:lnTo>
                <a:lnTo>
                  <a:pt x="3151" y="271"/>
                </a:lnTo>
                <a:lnTo>
                  <a:pt x="3157" y="271"/>
                </a:lnTo>
                <a:lnTo>
                  <a:pt x="3163" y="270"/>
                </a:lnTo>
                <a:lnTo>
                  <a:pt x="3166" y="268"/>
                </a:lnTo>
                <a:lnTo>
                  <a:pt x="3175" y="263"/>
                </a:lnTo>
                <a:lnTo>
                  <a:pt x="3189" y="256"/>
                </a:lnTo>
                <a:lnTo>
                  <a:pt x="3205" y="248"/>
                </a:lnTo>
                <a:lnTo>
                  <a:pt x="3223" y="238"/>
                </a:lnTo>
                <a:lnTo>
                  <a:pt x="3239" y="228"/>
                </a:lnTo>
                <a:lnTo>
                  <a:pt x="3251" y="221"/>
                </a:lnTo>
                <a:lnTo>
                  <a:pt x="3254" y="219"/>
                </a:lnTo>
                <a:lnTo>
                  <a:pt x="3257" y="217"/>
                </a:lnTo>
                <a:lnTo>
                  <a:pt x="3258" y="214"/>
                </a:lnTo>
                <a:lnTo>
                  <a:pt x="3258" y="212"/>
                </a:lnTo>
                <a:lnTo>
                  <a:pt x="3260" y="207"/>
                </a:lnTo>
                <a:lnTo>
                  <a:pt x="3262" y="202"/>
                </a:lnTo>
                <a:lnTo>
                  <a:pt x="3263" y="198"/>
                </a:lnTo>
                <a:lnTo>
                  <a:pt x="3263" y="192"/>
                </a:lnTo>
                <a:lnTo>
                  <a:pt x="3261" y="187"/>
                </a:lnTo>
                <a:lnTo>
                  <a:pt x="3258" y="180"/>
                </a:lnTo>
                <a:lnTo>
                  <a:pt x="3251" y="172"/>
                </a:lnTo>
                <a:lnTo>
                  <a:pt x="3242" y="164"/>
                </a:lnTo>
                <a:lnTo>
                  <a:pt x="3233" y="157"/>
                </a:lnTo>
                <a:lnTo>
                  <a:pt x="3223" y="151"/>
                </a:lnTo>
                <a:lnTo>
                  <a:pt x="3213" y="145"/>
                </a:lnTo>
                <a:lnTo>
                  <a:pt x="3204" y="142"/>
                </a:lnTo>
                <a:lnTo>
                  <a:pt x="3198" y="140"/>
                </a:lnTo>
                <a:lnTo>
                  <a:pt x="3195" y="140"/>
                </a:lnTo>
                <a:lnTo>
                  <a:pt x="3190" y="145"/>
                </a:lnTo>
                <a:lnTo>
                  <a:pt x="3182" y="153"/>
                </a:lnTo>
                <a:lnTo>
                  <a:pt x="3179" y="156"/>
                </a:lnTo>
                <a:lnTo>
                  <a:pt x="3176" y="157"/>
                </a:lnTo>
                <a:lnTo>
                  <a:pt x="3175" y="158"/>
                </a:lnTo>
                <a:lnTo>
                  <a:pt x="3174" y="157"/>
                </a:lnTo>
                <a:lnTo>
                  <a:pt x="3173" y="157"/>
                </a:lnTo>
                <a:lnTo>
                  <a:pt x="3172" y="155"/>
                </a:lnTo>
                <a:lnTo>
                  <a:pt x="3172" y="152"/>
                </a:lnTo>
                <a:lnTo>
                  <a:pt x="3173" y="148"/>
                </a:lnTo>
                <a:lnTo>
                  <a:pt x="3174" y="145"/>
                </a:lnTo>
                <a:lnTo>
                  <a:pt x="3176" y="143"/>
                </a:lnTo>
                <a:lnTo>
                  <a:pt x="3178" y="139"/>
                </a:lnTo>
                <a:lnTo>
                  <a:pt x="3180" y="135"/>
                </a:lnTo>
                <a:lnTo>
                  <a:pt x="3181" y="130"/>
                </a:lnTo>
                <a:lnTo>
                  <a:pt x="3181" y="123"/>
                </a:lnTo>
                <a:lnTo>
                  <a:pt x="3181" y="108"/>
                </a:lnTo>
                <a:lnTo>
                  <a:pt x="3180" y="95"/>
                </a:lnTo>
                <a:lnTo>
                  <a:pt x="3178" y="90"/>
                </a:lnTo>
                <a:lnTo>
                  <a:pt x="3176" y="88"/>
                </a:lnTo>
                <a:lnTo>
                  <a:pt x="3174" y="87"/>
                </a:lnTo>
                <a:lnTo>
                  <a:pt x="3172" y="87"/>
                </a:lnTo>
                <a:lnTo>
                  <a:pt x="3169" y="88"/>
                </a:lnTo>
                <a:lnTo>
                  <a:pt x="3166" y="89"/>
                </a:lnTo>
                <a:lnTo>
                  <a:pt x="3154" y="98"/>
                </a:lnTo>
                <a:lnTo>
                  <a:pt x="3143" y="109"/>
                </a:lnTo>
                <a:lnTo>
                  <a:pt x="3136" y="113"/>
                </a:lnTo>
                <a:lnTo>
                  <a:pt x="3130" y="116"/>
                </a:lnTo>
                <a:lnTo>
                  <a:pt x="3127" y="117"/>
                </a:lnTo>
                <a:lnTo>
                  <a:pt x="3124" y="117"/>
                </a:lnTo>
                <a:lnTo>
                  <a:pt x="3120" y="117"/>
                </a:lnTo>
                <a:lnTo>
                  <a:pt x="3115" y="116"/>
                </a:lnTo>
                <a:lnTo>
                  <a:pt x="3099" y="111"/>
                </a:lnTo>
                <a:lnTo>
                  <a:pt x="3082" y="107"/>
                </a:lnTo>
                <a:lnTo>
                  <a:pt x="3073" y="104"/>
                </a:lnTo>
                <a:lnTo>
                  <a:pt x="3065" y="104"/>
                </a:lnTo>
                <a:lnTo>
                  <a:pt x="3058" y="104"/>
                </a:lnTo>
                <a:lnTo>
                  <a:pt x="3052" y="106"/>
                </a:lnTo>
                <a:lnTo>
                  <a:pt x="3040" y="111"/>
                </a:lnTo>
                <a:lnTo>
                  <a:pt x="3026" y="118"/>
                </a:lnTo>
                <a:lnTo>
                  <a:pt x="3020" y="121"/>
                </a:lnTo>
                <a:lnTo>
                  <a:pt x="3013" y="125"/>
                </a:lnTo>
                <a:lnTo>
                  <a:pt x="3005" y="128"/>
                </a:lnTo>
                <a:lnTo>
                  <a:pt x="2999" y="130"/>
                </a:lnTo>
                <a:lnTo>
                  <a:pt x="2981" y="134"/>
                </a:lnTo>
                <a:lnTo>
                  <a:pt x="2961" y="140"/>
                </a:lnTo>
                <a:lnTo>
                  <a:pt x="2953" y="142"/>
                </a:lnTo>
                <a:lnTo>
                  <a:pt x="2946" y="143"/>
                </a:lnTo>
                <a:lnTo>
                  <a:pt x="2944" y="143"/>
                </a:lnTo>
                <a:lnTo>
                  <a:pt x="2942" y="142"/>
                </a:lnTo>
                <a:lnTo>
                  <a:pt x="2941" y="141"/>
                </a:lnTo>
                <a:lnTo>
                  <a:pt x="2942" y="139"/>
                </a:lnTo>
                <a:lnTo>
                  <a:pt x="2946" y="135"/>
                </a:lnTo>
                <a:lnTo>
                  <a:pt x="2951" y="132"/>
                </a:lnTo>
                <a:lnTo>
                  <a:pt x="2957" y="129"/>
                </a:lnTo>
                <a:lnTo>
                  <a:pt x="2964" y="126"/>
                </a:lnTo>
                <a:lnTo>
                  <a:pt x="2973" y="123"/>
                </a:lnTo>
                <a:lnTo>
                  <a:pt x="2981" y="120"/>
                </a:lnTo>
                <a:lnTo>
                  <a:pt x="2991" y="116"/>
                </a:lnTo>
                <a:lnTo>
                  <a:pt x="3000" y="111"/>
                </a:lnTo>
                <a:lnTo>
                  <a:pt x="3019" y="99"/>
                </a:lnTo>
                <a:lnTo>
                  <a:pt x="3037" y="90"/>
                </a:lnTo>
                <a:lnTo>
                  <a:pt x="3045" y="86"/>
                </a:lnTo>
                <a:lnTo>
                  <a:pt x="3051" y="84"/>
                </a:lnTo>
                <a:lnTo>
                  <a:pt x="3058" y="82"/>
                </a:lnTo>
                <a:lnTo>
                  <a:pt x="3063" y="84"/>
                </a:lnTo>
                <a:lnTo>
                  <a:pt x="3068" y="85"/>
                </a:lnTo>
                <a:lnTo>
                  <a:pt x="3079" y="86"/>
                </a:lnTo>
                <a:lnTo>
                  <a:pt x="3091" y="87"/>
                </a:lnTo>
                <a:lnTo>
                  <a:pt x="3105" y="87"/>
                </a:lnTo>
                <a:lnTo>
                  <a:pt x="3119" y="87"/>
                </a:lnTo>
                <a:lnTo>
                  <a:pt x="3130" y="87"/>
                </a:lnTo>
                <a:lnTo>
                  <a:pt x="3137" y="86"/>
                </a:lnTo>
                <a:lnTo>
                  <a:pt x="3142" y="85"/>
                </a:lnTo>
                <a:lnTo>
                  <a:pt x="3156" y="70"/>
                </a:lnTo>
                <a:lnTo>
                  <a:pt x="3168" y="56"/>
                </a:lnTo>
                <a:lnTo>
                  <a:pt x="3166" y="53"/>
                </a:lnTo>
                <a:lnTo>
                  <a:pt x="3159" y="49"/>
                </a:lnTo>
                <a:lnTo>
                  <a:pt x="3151" y="44"/>
                </a:lnTo>
                <a:lnTo>
                  <a:pt x="3141" y="37"/>
                </a:lnTo>
                <a:lnTo>
                  <a:pt x="3129" y="32"/>
                </a:lnTo>
                <a:lnTo>
                  <a:pt x="3116" y="27"/>
                </a:lnTo>
                <a:lnTo>
                  <a:pt x="3106" y="24"/>
                </a:lnTo>
                <a:lnTo>
                  <a:pt x="3098" y="22"/>
                </a:lnTo>
                <a:lnTo>
                  <a:pt x="3080" y="20"/>
                </a:lnTo>
                <a:lnTo>
                  <a:pt x="3060" y="17"/>
                </a:lnTo>
                <a:lnTo>
                  <a:pt x="3049" y="15"/>
                </a:lnTo>
                <a:lnTo>
                  <a:pt x="3040" y="13"/>
                </a:lnTo>
                <a:lnTo>
                  <a:pt x="3032" y="10"/>
                </a:lnTo>
                <a:lnTo>
                  <a:pt x="3024" y="7"/>
                </a:lnTo>
                <a:lnTo>
                  <a:pt x="3017" y="4"/>
                </a:lnTo>
                <a:lnTo>
                  <a:pt x="3007" y="2"/>
                </a:lnTo>
                <a:lnTo>
                  <a:pt x="2996" y="0"/>
                </a:lnTo>
                <a:lnTo>
                  <a:pt x="2983" y="0"/>
                </a:lnTo>
                <a:lnTo>
                  <a:pt x="2970" y="0"/>
                </a:lnTo>
                <a:lnTo>
                  <a:pt x="2957" y="1"/>
                </a:lnTo>
                <a:lnTo>
                  <a:pt x="2946" y="3"/>
                </a:lnTo>
                <a:lnTo>
                  <a:pt x="2935" y="6"/>
                </a:lnTo>
                <a:lnTo>
                  <a:pt x="2931" y="8"/>
                </a:lnTo>
                <a:lnTo>
                  <a:pt x="2928" y="11"/>
                </a:lnTo>
                <a:lnTo>
                  <a:pt x="2927" y="13"/>
                </a:lnTo>
                <a:lnTo>
                  <a:pt x="2926" y="16"/>
                </a:lnTo>
                <a:lnTo>
                  <a:pt x="2925" y="24"/>
                </a:lnTo>
                <a:lnTo>
                  <a:pt x="2927" y="30"/>
                </a:lnTo>
                <a:lnTo>
                  <a:pt x="2929" y="37"/>
                </a:lnTo>
                <a:lnTo>
                  <a:pt x="2931" y="43"/>
                </a:lnTo>
                <a:lnTo>
                  <a:pt x="2932" y="45"/>
                </a:lnTo>
                <a:lnTo>
                  <a:pt x="2932" y="47"/>
                </a:lnTo>
                <a:lnTo>
                  <a:pt x="2931" y="48"/>
                </a:lnTo>
                <a:lnTo>
                  <a:pt x="2930" y="48"/>
                </a:lnTo>
                <a:lnTo>
                  <a:pt x="2927" y="48"/>
                </a:lnTo>
                <a:lnTo>
                  <a:pt x="2922" y="47"/>
                </a:lnTo>
                <a:lnTo>
                  <a:pt x="2917" y="45"/>
                </a:lnTo>
                <a:lnTo>
                  <a:pt x="2912" y="43"/>
                </a:lnTo>
                <a:lnTo>
                  <a:pt x="2904" y="37"/>
                </a:lnTo>
                <a:lnTo>
                  <a:pt x="2901" y="36"/>
                </a:lnTo>
                <a:lnTo>
                  <a:pt x="2902" y="39"/>
                </a:lnTo>
                <a:lnTo>
                  <a:pt x="2903" y="48"/>
                </a:lnTo>
                <a:lnTo>
                  <a:pt x="2903" y="51"/>
                </a:lnTo>
                <a:lnTo>
                  <a:pt x="2902" y="53"/>
                </a:lnTo>
                <a:lnTo>
                  <a:pt x="2901" y="54"/>
                </a:lnTo>
                <a:lnTo>
                  <a:pt x="2898" y="54"/>
                </a:lnTo>
                <a:lnTo>
                  <a:pt x="2896" y="53"/>
                </a:lnTo>
                <a:lnTo>
                  <a:pt x="2894" y="52"/>
                </a:lnTo>
                <a:lnTo>
                  <a:pt x="2886" y="47"/>
                </a:lnTo>
                <a:lnTo>
                  <a:pt x="2881" y="45"/>
                </a:lnTo>
                <a:lnTo>
                  <a:pt x="2880" y="45"/>
                </a:lnTo>
                <a:lnTo>
                  <a:pt x="2879" y="46"/>
                </a:lnTo>
                <a:lnTo>
                  <a:pt x="2878" y="47"/>
                </a:lnTo>
                <a:lnTo>
                  <a:pt x="2876" y="49"/>
                </a:lnTo>
                <a:lnTo>
                  <a:pt x="2875" y="56"/>
                </a:lnTo>
                <a:lnTo>
                  <a:pt x="2874" y="65"/>
                </a:lnTo>
                <a:lnTo>
                  <a:pt x="2874" y="69"/>
                </a:lnTo>
                <a:lnTo>
                  <a:pt x="2875" y="72"/>
                </a:lnTo>
                <a:lnTo>
                  <a:pt x="2878" y="75"/>
                </a:lnTo>
                <a:lnTo>
                  <a:pt x="2881" y="78"/>
                </a:lnTo>
                <a:lnTo>
                  <a:pt x="2890" y="82"/>
                </a:lnTo>
                <a:lnTo>
                  <a:pt x="2901" y="87"/>
                </a:lnTo>
                <a:lnTo>
                  <a:pt x="2904" y="90"/>
                </a:lnTo>
                <a:lnTo>
                  <a:pt x="2905" y="92"/>
                </a:lnTo>
                <a:lnTo>
                  <a:pt x="2905" y="93"/>
                </a:lnTo>
                <a:lnTo>
                  <a:pt x="2904" y="95"/>
                </a:lnTo>
                <a:lnTo>
                  <a:pt x="2902" y="96"/>
                </a:lnTo>
                <a:lnTo>
                  <a:pt x="2900" y="97"/>
                </a:lnTo>
                <a:lnTo>
                  <a:pt x="2893" y="99"/>
                </a:lnTo>
                <a:lnTo>
                  <a:pt x="2886" y="100"/>
                </a:lnTo>
                <a:lnTo>
                  <a:pt x="2879" y="100"/>
                </a:lnTo>
                <a:lnTo>
                  <a:pt x="2872" y="99"/>
                </a:lnTo>
                <a:lnTo>
                  <a:pt x="2867" y="99"/>
                </a:lnTo>
                <a:lnTo>
                  <a:pt x="2863" y="100"/>
                </a:lnTo>
                <a:lnTo>
                  <a:pt x="2863" y="101"/>
                </a:lnTo>
                <a:lnTo>
                  <a:pt x="2863" y="102"/>
                </a:lnTo>
                <a:lnTo>
                  <a:pt x="2863" y="103"/>
                </a:lnTo>
                <a:lnTo>
                  <a:pt x="2865" y="106"/>
                </a:lnTo>
                <a:lnTo>
                  <a:pt x="2872" y="114"/>
                </a:lnTo>
                <a:lnTo>
                  <a:pt x="2878" y="119"/>
                </a:lnTo>
                <a:lnTo>
                  <a:pt x="2879" y="121"/>
                </a:lnTo>
                <a:lnTo>
                  <a:pt x="2880" y="123"/>
                </a:lnTo>
                <a:lnTo>
                  <a:pt x="2879" y="124"/>
                </a:lnTo>
                <a:lnTo>
                  <a:pt x="2876" y="125"/>
                </a:lnTo>
                <a:lnTo>
                  <a:pt x="2871" y="126"/>
                </a:lnTo>
                <a:lnTo>
                  <a:pt x="2867" y="128"/>
                </a:lnTo>
                <a:lnTo>
                  <a:pt x="2866" y="129"/>
                </a:lnTo>
                <a:lnTo>
                  <a:pt x="2865" y="130"/>
                </a:lnTo>
                <a:lnTo>
                  <a:pt x="2865" y="132"/>
                </a:lnTo>
                <a:lnTo>
                  <a:pt x="2866" y="134"/>
                </a:lnTo>
                <a:lnTo>
                  <a:pt x="2871" y="140"/>
                </a:lnTo>
                <a:lnTo>
                  <a:pt x="2879" y="148"/>
                </a:lnTo>
                <a:lnTo>
                  <a:pt x="2882" y="152"/>
                </a:lnTo>
                <a:lnTo>
                  <a:pt x="2883" y="155"/>
                </a:lnTo>
                <a:lnTo>
                  <a:pt x="2882" y="156"/>
                </a:lnTo>
                <a:lnTo>
                  <a:pt x="2881" y="156"/>
                </a:lnTo>
                <a:lnTo>
                  <a:pt x="2879" y="156"/>
                </a:lnTo>
                <a:lnTo>
                  <a:pt x="2875" y="156"/>
                </a:lnTo>
                <a:lnTo>
                  <a:pt x="2868" y="154"/>
                </a:lnTo>
                <a:lnTo>
                  <a:pt x="2860" y="150"/>
                </a:lnTo>
                <a:lnTo>
                  <a:pt x="2851" y="144"/>
                </a:lnTo>
                <a:lnTo>
                  <a:pt x="2842" y="137"/>
                </a:lnTo>
                <a:lnTo>
                  <a:pt x="2832" y="130"/>
                </a:lnTo>
                <a:lnTo>
                  <a:pt x="2824" y="121"/>
                </a:lnTo>
                <a:lnTo>
                  <a:pt x="2817" y="114"/>
                </a:lnTo>
                <a:lnTo>
                  <a:pt x="2810" y="107"/>
                </a:lnTo>
                <a:lnTo>
                  <a:pt x="2800" y="93"/>
                </a:lnTo>
                <a:lnTo>
                  <a:pt x="2791" y="82"/>
                </a:lnTo>
                <a:lnTo>
                  <a:pt x="2787" y="78"/>
                </a:lnTo>
                <a:lnTo>
                  <a:pt x="2784" y="77"/>
                </a:lnTo>
                <a:lnTo>
                  <a:pt x="2783" y="76"/>
                </a:lnTo>
                <a:lnTo>
                  <a:pt x="2781" y="77"/>
                </a:lnTo>
                <a:lnTo>
                  <a:pt x="2780" y="78"/>
                </a:lnTo>
                <a:lnTo>
                  <a:pt x="2779" y="80"/>
                </a:lnTo>
                <a:lnTo>
                  <a:pt x="2779" y="85"/>
                </a:lnTo>
                <a:lnTo>
                  <a:pt x="2780" y="89"/>
                </a:lnTo>
                <a:lnTo>
                  <a:pt x="2783" y="93"/>
                </a:lnTo>
                <a:lnTo>
                  <a:pt x="2786" y="96"/>
                </a:lnTo>
                <a:lnTo>
                  <a:pt x="2788" y="100"/>
                </a:lnTo>
                <a:lnTo>
                  <a:pt x="2791" y="102"/>
                </a:lnTo>
                <a:lnTo>
                  <a:pt x="2791" y="104"/>
                </a:lnTo>
                <a:lnTo>
                  <a:pt x="2790" y="106"/>
                </a:lnTo>
                <a:lnTo>
                  <a:pt x="2788" y="106"/>
                </a:lnTo>
                <a:lnTo>
                  <a:pt x="2786" y="107"/>
                </a:lnTo>
                <a:lnTo>
                  <a:pt x="2776" y="107"/>
                </a:lnTo>
                <a:lnTo>
                  <a:pt x="2764" y="104"/>
                </a:lnTo>
                <a:lnTo>
                  <a:pt x="2759" y="104"/>
                </a:lnTo>
                <a:lnTo>
                  <a:pt x="2755" y="104"/>
                </a:lnTo>
                <a:lnTo>
                  <a:pt x="2754" y="104"/>
                </a:lnTo>
                <a:lnTo>
                  <a:pt x="2753" y="106"/>
                </a:lnTo>
                <a:lnTo>
                  <a:pt x="2752" y="107"/>
                </a:lnTo>
                <a:lnTo>
                  <a:pt x="2752" y="108"/>
                </a:lnTo>
                <a:lnTo>
                  <a:pt x="2751" y="117"/>
                </a:lnTo>
                <a:lnTo>
                  <a:pt x="2749" y="128"/>
                </a:lnTo>
                <a:lnTo>
                  <a:pt x="2750" y="133"/>
                </a:lnTo>
                <a:lnTo>
                  <a:pt x="2751" y="138"/>
                </a:lnTo>
                <a:lnTo>
                  <a:pt x="2752" y="139"/>
                </a:lnTo>
                <a:lnTo>
                  <a:pt x="2754" y="140"/>
                </a:lnTo>
                <a:lnTo>
                  <a:pt x="2757" y="141"/>
                </a:lnTo>
                <a:lnTo>
                  <a:pt x="2760" y="141"/>
                </a:lnTo>
                <a:lnTo>
                  <a:pt x="2775" y="142"/>
                </a:lnTo>
                <a:lnTo>
                  <a:pt x="2792" y="144"/>
                </a:lnTo>
                <a:lnTo>
                  <a:pt x="2799" y="146"/>
                </a:lnTo>
                <a:lnTo>
                  <a:pt x="2807" y="151"/>
                </a:lnTo>
                <a:lnTo>
                  <a:pt x="2816" y="156"/>
                </a:lnTo>
                <a:lnTo>
                  <a:pt x="2822" y="163"/>
                </a:lnTo>
                <a:lnTo>
                  <a:pt x="2829" y="172"/>
                </a:lnTo>
                <a:lnTo>
                  <a:pt x="2835" y="180"/>
                </a:lnTo>
                <a:lnTo>
                  <a:pt x="2839" y="187"/>
                </a:lnTo>
                <a:lnTo>
                  <a:pt x="2843" y="195"/>
                </a:lnTo>
                <a:lnTo>
                  <a:pt x="2847" y="206"/>
                </a:lnTo>
                <a:lnTo>
                  <a:pt x="2849" y="210"/>
                </a:lnTo>
                <a:lnTo>
                  <a:pt x="2849" y="213"/>
                </a:lnTo>
                <a:lnTo>
                  <a:pt x="2847" y="219"/>
                </a:lnTo>
                <a:lnTo>
                  <a:pt x="2846" y="221"/>
                </a:lnTo>
                <a:lnTo>
                  <a:pt x="2843" y="220"/>
                </a:lnTo>
                <a:lnTo>
                  <a:pt x="2840" y="217"/>
                </a:lnTo>
                <a:lnTo>
                  <a:pt x="2835" y="210"/>
                </a:lnTo>
                <a:lnTo>
                  <a:pt x="2825" y="194"/>
                </a:lnTo>
                <a:lnTo>
                  <a:pt x="2818" y="181"/>
                </a:lnTo>
                <a:lnTo>
                  <a:pt x="2813" y="176"/>
                </a:lnTo>
                <a:lnTo>
                  <a:pt x="2807" y="170"/>
                </a:lnTo>
                <a:lnTo>
                  <a:pt x="2801" y="166"/>
                </a:lnTo>
                <a:lnTo>
                  <a:pt x="2793" y="163"/>
                </a:lnTo>
                <a:lnTo>
                  <a:pt x="2781" y="159"/>
                </a:lnTo>
                <a:lnTo>
                  <a:pt x="2766" y="156"/>
                </a:lnTo>
                <a:lnTo>
                  <a:pt x="2751" y="152"/>
                </a:lnTo>
                <a:lnTo>
                  <a:pt x="2735" y="148"/>
                </a:lnTo>
                <a:lnTo>
                  <a:pt x="2729" y="148"/>
                </a:lnTo>
                <a:lnTo>
                  <a:pt x="2722" y="148"/>
                </a:lnTo>
                <a:lnTo>
                  <a:pt x="2717" y="148"/>
                </a:lnTo>
                <a:lnTo>
                  <a:pt x="2713" y="150"/>
                </a:lnTo>
                <a:lnTo>
                  <a:pt x="2711" y="152"/>
                </a:lnTo>
                <a:lnTo>
                  <a:pt x="2711" y="155"/>
                </a:lnTo>
                <a:lnTo>
                  <a:pt x="2713" y="159"/>
                </a:lnTo>
                <a:lnTo>
                  <a:pt x="2717" y="164"/>
                </a:lnTo>
                <a:lnTo>
                  <a:pt x="2735" y="184"/>
                </a:lnTo>
                <a:lnTo>
                  <a:pt x="2750" y="199"/>
                </a:lnTo>
                <a:lnTo>
                  <a:pt x="2755" y="204"/>
                </a:lnTo>
                <a:lnTo>
                  <a:pt x="2759" y="210"/>
                </a:lnTo>
                <a:lnTo>
                  <a:pt x="2762" y="216"/>
                </a:lnTo>
                <a:lnTo>
                  <a:pt x="2765" y="221"/>
                </a:lnTo>
                <a:lnTo>
                  <a:pt x="2766" y="223"/>
                </a:lnTo>
                <a:lnTo>
                  <a:pt x="2770" y="226"/>
                </a:lnTo>
                <a:lnTo>
                  <a:pt x="2773" y="229"/>
                </a:lnTo>
                <a:lnTo>
                  <a:pt x="2777" y="232"/>
                </a:lnTo>
                <a:lnTo>
                  <a:pt x="2786" y="239"/>
                </a:lnTo>
                <a:lnTo>
                  <a:pt x="2796" y="244"/>
                </a:lnTo>
                <a:lnTo>
                  <a:pt x="2803" y="249"/>
                </a:lnTo>
                <a:lnTo>
                  <a:pt x="2807" y="253"/>
                </a:lnTo>
                <a:lnTo>
                  <a:pt x="2806" y="254"/>
                </a:lnTo>
                <a:lnTo>
                  <a:pt x="2805" y="255"/>
                </a:lnTo>
                <a:lnTo>
                  <a:pt x="2801" y="256"/>
                </a:lnTo>
                <a:lnTo>
                  <a:pt x="2796" y="256"/>
                </a:lnTo>
                <a:lnTo>
                  <a:pt x="2790" y="255"/>
                </a:lnTo>
                <a:lnTo>
                  <a:pt x="2783" y="254"/>
                </a:lnTo>
                <a:lnTo>
                  <a:pt x="2778" y="253"/>
                </a:lnTo>
                <a:lnTo>
                  <a:pt x="2774" y="251"/>
                </a:lnTo>
                <a:lnTo>
                  <a:pt x="2765" y="246"/>
                </a:lnTo>
                <a:lnTo>
                  <a:pt x="2759" y="242"/>
                </a:lnTo>
                <a:lnTo>
                  <a:pt x="2755" y="238"/>
                </a:lnTo>
                <a:lnTo>
                  <a:pt x="2752" y="236"/>
                </a:lnTo>
                <a:lnTo>
                  <a:pt x="2750" y="236"/>
                </a:lnTo>
                <a:lnTo>
                  <a:pt x="2749" y="238"/>
                </a:lnTo>
                <a:lnTo>
                  <a:pt x="2749" y="240"/>
                </a:lnTo>
                <a:lnTo>
                  <a:pt x="2748" y="243"/>
                </a:lnTo>
                <a:lnTo>
                  <a:pt x="2744" y="257"/>
                </a:lnTo>
                <a:lnTo>
                  <a:pt x="2741" y="269"/>
                </a:lnTo>
                <a:lnTo>
                  <a:pt x="2739" y="279"/>
                </a:lnTo>
                <a:lnTo>
                  <a:pt x="2739" y="288"/>
                </a:lnTo>
                <a:lnTo>
                  <a:pt x="2741" y="292"/>
                </a:lnTo>
                <a:lnTo>
                  <a:pt x="2746" y="295"/>
                </a:lnTo>
                <a:lnTo>
                  <a:pt x="2751" y="297"/>
                </a:lnTo>
                <a:lnTo>
                  <a:pt x="2756" y="299"/>
                </a:lnTo>
                <a:lnTo>
                  <a:pt x="2760" y="301"/>
                </a:lnTo>
                <a:lnTo>
                  <a:pt x="2762" y="304"/>
                </a:lnTo>
                <a:lnTo>
                  <a:pt x="2762" y="305"/>
                </a:lnTo>
                <a:lnTo>
                  <a:pt x="2757" y="307"/>
                </a:lnTo>
                <a:lnTo>
                  <a:pt x="2751" y="309"/>
                </a:lnTo>
                <a:lnTo>
                  <a:pt x="2747" y="312"/>
                </a:lnTo>
                <a:lnTo>
                  <a:pt x="2744" y="316"/>
                </a:lnTo>
                <a:lnTo>
                  <a:pt x="2743" y="319"/>
                </a:lnTo>
                <a:lnTo>
                  <a:pt x="2742" y="321"/>
                </a:lnTo>
                <a:lnTo>
                  <a:pt x="2741" y="323"/>
                </a:lnTo>
                <a:lnTo>
                  <a:pt x="2739" y="322"/>
                </a:lnTo>
                <a:lnTo>
                  <a:pt x="2736" y="320"/>
                </a:lnTo>
                <a:lnTo>
                  <a:pt x="2729" y="310"/>
                </a:lnTo>
                <a:lnTo>
                  <a:pt x="2721" y="299"/>
                </a:lnTo>
                <a:lnTo>
                  <a:pt x="2714" y="288"/>
                </a:lnTo>
                <a:lnTo>
                  <a:pt x="2708" y="278"/>
                </a:lnTo>
                <a:lnTo>
                  <a:pt x="2696" y="268"/>
                </a:lnTo>
                <a:lnTo>
                  <a:pt x="2679" y="256"/>
                </a:lnTo>
                <a:lnTo>
                  <a:pt x="2673" y="250"/>
                </a:lnTo>
                <a:lnTo>
                  <a:pt x="2669" y="244"/>
                </a:lnTo>
                <a:lnTo>
                  <a:pt x="2668" y="241"/>
                </a:lnTo>
                <a:lnTo>
                  <a:pt x="2668" y="239"/>
                </a:lnTo>
                <a:lnTo>
                  <a:pt x="2670" y="235"/>
                </a:lnTo>
                <a:lnTo>
                  <a:pt x="2673" y="232"/>
                </a:lnTo>
                <a:lnTo>
                  <a:pt x="2691" y="221"/>
                </a:lnTo>
                <a:lnTo>
                  <a:pt x="2694" y="220"/>
                </a:lnTo>
                <a:lnTo>
                  <a:pt x="2693" y="220"/>
                </a:lnTo>
                <a:lnTo>
                  <a:pt x="2690" y="220"/>
                </a:lnTo>
                <a:lnTo>
                  <a:pt x="2685" y="218"/>
                </a:lnTo>
                <a:lnTo>
                  <a:pt x="2677" y="211"/>
                </a:lnTo>
                <a:lnTo>
                  <a:pt x="2674" y="207"/>
                </a:lnTo>
                <a:lnTo>
                  <a:pt x="2672" y="202"/>
                </a:lnTo>
                <a:lnTo>
                  <a:pt x="2670" y="197"/>
                </a:lnTo>
                <a:lnTo>
                  <a:pt x="2669" y="192"/>
                </a:lnTo>
                <a:lnTo>
                  <a:pt x="2667" y="189"/>
                </a:lnTo>
                <a:lnTo>
                  <a:pt x="2666" y="188"/>
                </a:lnTo>
                <a:lnTo>
                  <a:pt x="2663" y="188"/>
                </a:lnTo>
                <a:lnTo>
                  <a:pt x="2660" y="191"/>
                </a:lnTo>
                <a:lnTo>
                  <a:pt x="2653" y="200"/>
                </a:lnTo>
                <a:lnTo>
                  <a:pt x="2651" y="205"/>
                </a:lnTo>
                <a:lnTo>
                  <a:pt x="2651" y="207"/>
                </a:lnTo>
                <a:lnTo>
                  <a:pt x="2651" y="207"/>
                </a:lnTo>
                <a:lnTo>
                  <a:pt x="2650" y="207"/>
                </a:lnTo>
                <a:lnTo>
                  <a:pt x="2649" y="206"/>
                </a:lnTo>
                <a:lnTo>
                  <a:pt x="2646" y="201"/>
                </a:lnTo>
                <a:lnTo>
                  <a:pt x="2644" y="197"/>
                </a:lnTo>
                <a:lnTo>
                  <a:pt x="2643" y="195"/>
                </a:lnTo>
                <a:lnTo>
                  <a:pt x="2642" y="194"/>
                </a:lnTo>
                <a:lnTo>
                  <a:pt x="2641" y="192"/>
                </a:lnTo>
                <a:lnTo>
                  <a:pt x="2639" y="194"/>
                </a:lnTo>
                <a:lnTo>
                  <a:pt x="2633" y="196"/>
                </a:lnTo>
                <a:lnTo>
                  <a:pt x="2625" y="199"/>
                </a:lnTo>
                <a:lnTo>
                  <a:pt x="2620" y="201"/>
                </a:lnTo>
                <a:lnTo>
                  <a:pt x="2617" y="203"/>
                </a:lnTo>
                <a:lnTo>
                  <a:pt x="2613" y="206"/>
                </a:lnTo>
                <a:lnTo>
                  <a:pt x="2612" y="209"/>
                </a:lnTo>
                <a:lnTo>
                  <a:pt x="2612" y="214"/>
                </a:lnTo>
                <a:lnTo>
                  <a:pt x="2613" y="221"/>
                </a:lnTo>
                <a:lnTo>
                  <a:pt x="2613" y="226"/>
                </a:lnTo>
                <a:lnTo>
                  <a:pt x="2616" y="233"/>
                </a:lnTo>
                <a:lnTo>
                  <a:pt x="2617" y="240"/>
                </a:lnTo>
                <a:lnTo>
                  <a:pt x="2617" y="247"/>
                </a:lnTo>
                <a:lnTo>
                  <a:pt x="2617" y="250"/>
                </a:lnTo>
                <a:lnTo>
                  <a:pt x="2618" y="254"/>
                </a:lnTo>
                <a:lnTo>
                  <a:pt x="2620" y="260"/>
                </a:lnTo>
                <a:lnTo>
                  <a:pt x="2624" y="266"/>
                </a:lnTo>
                <a:lnTo>
                  <a:pt x="2632" y="279"/>
                </a:lnTo>
                <a:lnTo>
                  <a:pt x="2640" y="289"/>
                </a:lnTo>
                <a:lnTo>
                  <a:pt x="2642" y="292"/>
                </a:lnTo>
                <a:lnTo>
                  <a:pt x="2643" y="295"/>
                </a:lnTo>
                <a:lnTo>
                  <a:pt x="2644" y="297"/>
                </a:lnTo>
                <a:lnTo>
                  <a:pt x="2643" y="299"/>
                </a:lnTo>
                <a:lnTo>
                  <a:pt x="2642" y="304"/>
                </a:lnTo>
                <a:lnTo>
                  <a:pt x="2640" y="311"/>
                </a:lnTo>
                <a:lnTo>
                  <a:pt x="2639" y="314"/>
                </a:lnTo>
                <a:lnTo>
                  <a:pt x="2638" y="316"/>
                </a:lnTo>
                <a:lnTo>
                  <a:pt x="2635" y="316"/>
                </a:lnTo>
                <a:lnTo>
                  <a:pt x="2632" y="313"/>
                </a:lnTo>
                <a:lnTo>
                  <a:pt x="2623" y="304"/>
                </a:lnTo>
                <a:lnTo>
                  <a:pt x="2612" y="294"/>
                </a:lnTo>
                <a:lnTo>
                  <a:pt x="2607" y="289"/>
                </a:lnTo>
                <a:lnTo>
                  <a:pt x="2604" y="284"/>
                </a:lnTo>
                <a:lnTo>
                  <a:pt x="2603" y="282"/>
                </a:lnTo>
                <a:lnTo>
                  <a:pt x="2602" y="279"/>
                </a:lnTo>
                <a:lnTo>
                  <a:pt x="2602" y="277"/>
                </a:lnTo>
                <a:lnTo>
                  <a:pt x="2602" y="275"/>
                </a:lnTo>
                <a:lnTo>
                  <a:pt x="2604" y="271"/>
                </a:lnTo>
                <a:lnTo>
                  <a:pt x="2605" y="267"/>
                </a:lnTo>
                <a:lnTo>
                  <a:pt x="2605" y="263"/>
                </a:lnTo>
                <a:lnTo>
                  <a:pt x="2604" y="258"/>
                </a:lnTo>
                <a:lnTo>
                  <a:pt x="2603" y="253"/>
                </a:lnTo>
                <a:lnTo>
                  <a:pt x="2601" y="249"/>
                </a:lnTo>
                <a:lnTo>
                  <a:pt x="2599" y="245"/>
                </a:lnTo>
                <a:lnTo>
                  <a:pt x="2596" y="240"/>
                </a:lnTo>
                <a:lnTo>
                  <a:pt x="2591" y="235"/>
                </a:lnTo>
                <a:lnTo>
                  <a:pt x="2588" y="234"/>
                </a:lnTo>
                <a:lnTo>
                  <a:pt x="2584" y="233"/>
                </a:lnTo>
                <a:lnTo>
                  <a:pt x="2581" y="233"/>
                </a:lnTo>
                <a:lnTo>
                  <a:pt x="2576" y="235"/>
                </a:lnTo>
                <a:lnTo>
                  <a:pt x="2574" y="238"/>
                </a:lnTo>
                <a:lnTo>
                  <a:pt x="2575" y="242"/>
                </a:lnTo>
                <a:lnTo>
                  <a:pt x="2576" y="250"/>
                </a:lnTo>
                <a:lnTo>
                  <a:pt x="2577" y="254"/>
                </a:lnTo>
                <a:lnTo>
                  <a:pt x="2576" y="256"/>
                </a:lnTo>
                <a:lnTo>
                  <a:pt x="2575" y="257"/>
                </a:lnTo>
                <a:lnTo>
                  <a:pt x="2574" y="257"/>
                </a:lnTo>
                <a:lnTo>
                  <a:pt x="2573" y="257"/>
                </a:lnTo>
                <a:lnTo>
                  <a:pt x="2571" y="256"/>
                </a:lnTo>
                <a:lnTo>
                  <a:pt x="2559" y="245"/>
                </a:lnTo>
                <a:lnTo>
                  <a:pt x="2551" y="234"/>
                </a:lnTo>
                <a:lnTo>
                  <a:pt x="2549" y="228"/>
                </a:lnTo>
                <a:lnTo>
                  <a:pt x="2546" y="223"/>
                </a:lnTo>
                <a:lnTo>
                  <a:pt x="2545" y="221"/>
                </a:lnTo>
                <a:lnTo>
                  <a:pt x="2542" y="222"/>
                </a:lnTo>
                <a:lnTo>
                  <a:pt x="2537" y="224"/>
                </a:lnTo>
                <a:lnTo>
                  <a:pt x="2530" y="228"/>
                </a:lnTo>
                <a:lnTo>
                  <a:pt x="2515" y="240"/>
                </a:lnTo>
                <a:lnTo>
                  <a:pt x="2506" y="248"/>
                </a:lnTo>
                <a:lnTo>
                  <a:pt x="2498" y="254"/>
                </a:lnTo>
                <a:lnTo>
                  <a:pt x="2491" y="258"/>
                </a:lnTo>
                <a:lnTo>
                  <a:pt x="2477" y="263"/>
                </a:lnTo>
                <a:lnTo>
                  <a:pt x="2458" y="269"/>
                </a:lnTo>
                <a:lnTo>
                  <a:pt x="2450" y="272"/>
                </a:lnTo>
                <a:lnTo>
                  <a:pt x="2442" y="275"/>
                </a:lnTo>
                <a:lnTo>
                  <a:pt x="2436" y="278"/>
                </a:lnTo>
                <a:lnTo>
                  <a:pt x="2433" y="282"/>
                </a:lnTo>
                <a:lnTo>
                  <a:pt x="2435" y="288"/>
                </a:lnTo>
                <a:lnTo>
                  <a:pt x="2442" y="299"/>
                </a:lnTo>
                <a:lnTo>
                  <a:pt x="2451" y="314"/>
                </a:lnTo>
                <a:lnTo>
                  <a:pt x="2462" y="331"/>
                </a:lnTo>
                <a:lnTo>
                  <a:pt x="2471" y="346"/>
                </a:lnTo>
                <a:lnTo>
                  <a:pt x="2479" y="359"/>
                </a:lnTo>
                <a:lnTo>
                  <a:pt x="2485" y="367"/>
                </a:lnTo>
                <a:lnTo>
                  <a:pt x="2484" y="370"/>
                </a:lnTo>
                <a:lnTo>
                  <a:pt x="2472" y="355"/>
                </a:lnTo>
                <a:lnTo>
                  <a:pt x="2453" y="331"/>
                </a:lnTo>
                <a:lnTo>
                  <a:pt x="2443" y="318"/>
                </a:lnTo>
                <a:lnTo>
                  <a:pt x="2433" y="309"/>
                </a:lnTo>
                <a:lnTo>
                  <a:pt x="2428" y="305"/>
                </a:lnTo>
                <a:lnTo>
                  <a:pt x="2424" y="302"/>
                </a:lnTo>
                <a:lnTo>
                  <a:pt x="2420" y="300"/>
                </a:lnTo>
                <a:lnTo>
                  <a:pt x="2417" y="300"/>
                </a:lnTo>
                <a:lnTo>
                  <a:pt x="2405" y="302"/>
                </a:lnTo>
                <a:lnTo>
                  <a:pt x="2398" y="305"/>
                </a:lnTo>
                <a:lnTo>
                  <a:pt x="2396" y="307"/>
                </a:lnTo>
                <a:lnTo>
                  <a:pt x="2395" y="308"/>
                </a:lnTo>
                <a:lnTo>
                  <a:pt x="2393" y="310"/>
                </a:lnTo>
                <a:lnTo>
                  <a:pt x="2393" y="313"/>
                </a:lnTo>
                <a:lnTo>
                  <a:pt x="2393" y="315"/>
                </a:lnTo>
                <a:lnTo>
                  <a:pt x="2392" y="316"/>
                </a:lnTo>
                <a:lnTo>
                  <a:pt x="2391" y="316"/>
                </a:lnTo>
                <a:lnTo>
                  <a:pt x="2390" y="317"/>
                </a:lnTo>
                <a:lnTo>
                  <a:pt x="2386" y="317"/>
                </a:lnTo>
                <a:lnTo>
                  <a:pt x="2382" y="317"/>
                </a:lnTo>
                <a:lnTo>
                  <a:pt x="2379" y="318"/>
                </a:lnTo>
                <a:lnTo>
                  <a:pt x="2376" y="319"/>
                </a:lnTo>
                <a:lnTo>
                  <a:pt x="2375" y="321"/>
                </a:lnTo>
                <a:lnTo>
                  <a:pt x="2375" y="322"/>
                </a:lnTo>
                <a:lnTo>
                  <a:pt x="2375" y="324"/>
                </a:lnTo>
                <a:lnTo>
                  <a:pt x="2376" y="328"/>
                </a:lnTo>
                <a:lnTo>
                  <a:pt x="2378" y="334"/>
                </a:lnTo>
                <a:lnTo>
                  <a:pt x="2381" y="338"/>
                </a:lnTo>
                <a:lnTo>
                  <a:pt x="2385" y="342"/>
                </a:lnTo>
                <a:lnTo>
                  <a:pt x="2388" y="346"/>
                </a:lnTo>
                <a:lnTo>
                  <a:pt x="2396" y="352"/>
                </a:lnTo>
                <a:lnTo>
                  <a:pt x="2401" y="357"/>
                </a:lnTo>
                <a:lnTo>
                  <a:pt x="2402" y="360"/>
                </a:lnTo>
                <a:lnTo>
                  <a:pt x="2402" y="363"/>
                </a:lnTo>
                <a:lnTo>
                  <a:pt x="2402" y="366"/>
                </a:lnTo>
                <a:lnTo>
                  <a:pt x="2400" y="371"/>
                </a:lnTo>
                <a:lnTo>
                  <a:pt x="2397" y="376"/>
                </a:lnTo>
                <a:lnTo>
                  <a:pt x="2395" y="380"/>
                </a:lnTo>
                <a:lnTo>
                  <a:pt x="2397" y="386"/>
                </a:lnTo>
                <a:lnTo>
                  <a:pt x="2403" y="399"/>
                </a:lnTo>
                <a:lnTo>
                  <a:pt x="2406" y="405"/>
                </a:lnTo>
                <a:lnTo>
                  <a:pt x="2407" y="411"/>
                </a:lnTo>
                <a:lnTo>
                  <a:pt x="2407" y="414"/>
                </a:lnTo>
                <a:lnTo>
                  <a:pt x="2406" y="416"/>
                </a:lnTo>
                <a:lnTo>
                  <a:pt x="2404" y="417"/>
                </a:lnTo>
                <a:lnTo>
                  <a:pt x="2402" y="418"/>
                </a:lnTo>
                <a:lnTo>
                  <a:pt x="2396" y="417"/>
                </a:lnTo>
                <a:lnTo>
                  <a:pt x="2389" y="415"/>
                </a:lnTo>
                <a:lnTo>
                  <a:pt x="2383" y="412"/>
                </a:lnTo>
                <a:lnTo>
                  <a:pt x="2376" y="408"/>
                </a:lnTo>
                <a:lnTo>
                  <a:pt x="2370" y="406"/>
                </a:lnTo>
                <a:lnTo>
                  <a:pt x="2365" y="404"/>
                </a:lnTo>
                <a:lnTo>
                  <a:pt x="2364" y="403"/>
                </a:lnTo>
                <a:lnTo>
                  <a:pt x="2362" y="404"/>
                </a:lnTo>
                <a:lnTo>
                  <a:pt x="2361" y="404"/>
                </a:lnTo>
                <a:lnTo>
                  <a:pt x="2361" y="406"/>
                </a:lnTo>
                <a:lnTo>
                  <a:pt x="2360" y="409"/>
                </a:lnTo>
                <a:lnTo>
                  <a:pt x="2358" y="411"/>
                </a:lnTo>
                <a:lnTo>
                  <a:pt x="2356" y="415"/>
                </a:lnTo>
                <a:lnTo>
                  <a:pt x="2352" y="417"/>
                </a:lnTo>
                <a:lnTo>
                  <a:pt x="2347" y="420"/>
                </a:lnTo>
                <a:lnTo>
                  <a:pt x="2342" y="424"/>
                </a:lnTo>
                <a:lnTo>
                  <a:pt x="2336" y="430"/>
                </a:lnTo>
                <a:lnTo>
                  <a:pt x="2330" y="439"/>
                </a:lnTo>
                <a:lnTo>
                  <a:pt x="2314" y="459"/>
                </a:lnTo>
                <a:lnTo>
                  <a:pt x="2299" y="479"/>
                </a:lnTo>
                <a:lnTo>
                  <a:pt x="2287" y="493"/>
                </a:lnTo>
                <a:lnTo>
                  <a:pt x="2279" y="502"/>
                </a:lnTo>
                <a:lnTo>
                  <a:pt x="2277" y="502"/>
                </a:lnTo>
                <a:lnTo>
                  <a:pt x="2277" y="499"/>
                </a:lnTo>
                <a:lnTo>
                  <a:pt x="2276" y="496"/>
                </a:lnTo>
                <a:lnTo>
                  <a:pt x="2275" y="494"/>
                </a:lnTo>
                <a:lnTo>
                  <a:pt x="2275" y="492"/>
                </a:lnTo>
                <a:lnTo>
                  <a:pt x="2274" y="492"/>
                </a:lnTo>
                <a:lnTo>
                  <a:pt x="2273" y="491"/>
                </a:lnTo>
                <a:lnTo>
                  <a:pt x="2272" y="492"/>
                </a:lnTo>
                <a:lnTo>
                  <a:pt x="2269" y="494"/>
                </a:lnTo>
                <a:lnTo>
                  <a:pt x="2264" y="502"/>
                </a:lnTo>
                <a:lnTo>
                  <a:pt x="2258" y="510"/>
                </a:lnTo>
                <a:lnTo>
                  <a:pt x="2255" y="517"/>
                </a:lnTo>
                <a:lnTo>
                  <a:pt x="2252" y="523"/>
                </a:lnTo>
                <a:lnTo>
                  <a:pt x="2251" y="528"/>
                </a:lnTo>
                <a:lnTo>
                  <a:pt x="2251" y="536"/>
                </a:lnTo>
                <a:lnTo>
                  <a:pt x="2252" y="543"/>
                </a:lnTo>
                <a:lnTo>
                  <a:pt x="2252" y="550"/>
                </a:lnTo>
                <a:lnTo>
                  <a:pt x="2253" y="553"/>
                </a:lnTo>
                <a:lnTo>
                  <a:pt x="2256" y="558"/>
                </a:lnTo>
                <a:lnTo>
                  <a:pt x="2266" y="568"/>
                </a:lnTo>
                <a:lnTo>
                  <a:pt x="2269" y="570"/>
                </a:lnTo>
                <a:lnTo>
                  <a:pt x="2272" y="571"/>
                </a:lnTo>
                <a:lnTo>
                  <a:pt x="2276" y="572"/>
                </a:lnTo>
                <a:lnTo>
                  <a:pt x="2279" y="572"/>
                </a:lnTo>
                <a:lnTo>
                  <a:pt x="2287" y="571"/>
                </a:lnTo>
                <a:lnTo>
                  <a:pt x="2295" y="569"/>
                </a:lnTo>
                <a:lnTo>
                  <a:pt x="2302" y="565"/>
                </a:lnTo>
                <a:lnTo>
                  <a:pt x="2311" y="563"/>
                </a:lnTo>
                <a:lnTo>
                  <a:pt x="2315" y="562"/>
                </a:lnTo>
                <a:lnTo>
                  <a:pt x="2319" y="562"/>
                </a:lnTo>
                <a:lnTo>
                  <a:pt x="2323" y="562"/>
                </a:lnTo>
                <a:lnTo>
                  <a:pt x="2329" y="563"/>
                </a:lnTo>
                <a:lnTo>
                  <a:pt x="2342" y="565"/>
                </a:lnTo>
                <a:lnTo>
                  <a:pt x="2347" y="567"/>
                </a:lnTo>
                <a:lnTo>
                  <a:pt x="2347" y="569"/>
                </a:lnTo>
                <a:lnTo>
                  <a:pt x="2342" y="575"/>
                </a:lnTo>
                <a:lnTo>
                  <a:pt x="2338" y="579"/>
                </a:lnTo>
                <a:lnTo>
                  <a:pt x="2334" y="582"/>
                </a:lnTo>
                <a:lnTo>
                  <a:pt x="2329" y="583"/>
                </a:lnTo>
                <a:lnTo>
                  <a:pt x="2323" y="584"/>
                </a:lnTo>
                <a:lnTo>
                  <a:pt x="2320" y="585"/>
                </a:lnTo>
                <a:lnTo>
                  <a:pt x="2317" y="589"/>
                </a:lnTo>
                <a:lnTo>
                  <a:pt x="2317" y="590"/>
                </a:lnTo>
                <a:lnTo>
                  <a:pt x="2317" y="592"/>
                </a:lnTo>
                <a:lnTo>
                  <a:pt x="2318" y="594"/>
                </a:lnTo>
                <a:lnTo>
                  <a:pt x="2319" y="597"/>
                </a:lnTo>
                <a:lnTo>
                  <a:pt x="2326" y="608"/>
                </a:lnTo>
                <a:lnTo>
                  <a:pt x="2335" y="618"/>
                </a:lnTo>
                <a:lnTo>
                  <a:pt x="2337" y="621"/>
                </a:lnTo>
                <a:lnTo>
                  <a:pt x="2338" y="625"/>
                </a:lnTo>
                <a:lnTo>
                  <a:pt x="2337" y="629"/>
                </a:lnTo>
                <a:lnTo>
                  <a:pt x="2335" y="633"/>
                </a:lnTo>
                <a:lnTo>
                  <a:pt x="2326" y="641"/>
                </a:lnTo>
                <a:lnTo>
                  <a:pt x="2319" y="648"/>
                </a:lnTo>
                <a:lnTo>
                  <a:pt x="2312" y="657"/>
                </a:lnTo>
                <a:lnTo>
                  <a:pt x="2304" y="666"/>
                </a:lnTo>
                <a:lnTo>
                  <a:pt x="2300" y="670"/>
                </a:lnTo>
                <a:lnTo>
                  <a:pt x="2294" y="673"/>
                </a:lnTo>
                <a:lnTo>
                  <a:pt x="2288" y="678"/>
                </a:lnTo>
                <a:lnTo>
                  <a:pt x="2279" y="680"/>
                </a:lnTo>
                <a:lnTo>
                  <a:pt x="2271" y="682"/>
                </a:lnTo>
                <a:lnTo>
                  <a:pt x="2262" y="683"/>
                </a:lnTo>
                <a:lnTo>
                  <a:pt x="2253" y="684"/>
                </a:lnTo>
                <a:lnTo>
                  <a:pt x="2245" y="684"/>
                </a:lnTo>
                <a:lnTo>
                  <a:pt x="2238" y="685"/>
                </a:lnTo>
                <a:lnTo>
                  <a:pt x="2234" y="686"/>
                </a:lnTo>
                <a:lnTo>
                  <a:pt x="2232" y="689"/>
                </a:lnTo>
                <a:lnTo>
                  <a:pt x="2230" y="692"/>
                </a:lnTo>
                <a:lnTo>
                  <a:pt x="2229" y="696"/>
                </a:lnTo>
                <a:lnTo>
                  <a:pt x="2228" y="701"/>
                </a:lnTo>
                <a:lnTo>
                  <a:pt x="2226" y="705"/>
                </a:lnTo>
                <a:lnTo>
                  <a:pt x="2222" y="708"/>
                </a:lnTo>
                <a:lnTo>
                  <a:pt x="2204" y="716"/>
                </a:lnTo>
                <a:lnTo>
                  <a:pt x="2179" y="730"/>
                </a:lnTo>
                <a:lnTo>
                  <a:pt x="2173" y="734"/>
                </a:lnTo>
                <a:lnTo>
                  <a:pt x="2167" y="738"/>
                </a:lnTo>
                <a:lnTo>
                  <a:pt x="2162" y="743"/>
                </a:lnTo>
                <a:lnTo>
                  <a:pt x="2158" y="748"/>
                </a:lnTo>
                <a:lnTo>
                  <a:pt x="2155" y="752"/>
                </a:lnTo>
                <a:lnTo>
                  <a:pt x="2152" y="757"/>
                </a:lnTo>
                <a:lnTo>
                  <a:pt x="2151" y="762"/>
                </a:lnTo>
                <a:lnTo>
                  <a:pt x="2152" y="768"/>
                </a:lnTo>
                <a:lnTo>
                  <a:pt x="2155" y="772"/>
                </a:lnTo>
                <a:lnTo>
                  <a:pt x="2157" y="776"/>
                </a:lnTo>
                <a:lnTo>
                  <a:pt x="2159" y="780"/>
                </a:lnTo>
                <a:lnTo>
                  <a:pt x="2162" y="783"/>
                </a:lnTo>
                <a:lnTo>
                  <a:pt x="2169" y="790"/>
                </a:lnTo>
                <a:lnTo>
                  <a:pt x="2176" y="796"/>
                </a:lnTo>
                <a:lnTo>
                  <a:pt x="2183" y="801"/>
                </a:lnTo>
                <a:lnTo>
                  <a:pt x="2190" y="809"/>
                </a:lnTo>
                <a:lnTo>
                  <a:pt x="2193" y="812"/>
                </a:lnTo>
                <a:lnTo>
                  <a:pt x="2195" y="816"/>
                </a:lnTo>
                <a:lnTo>
                  <a:pt x="2198" y="820"/>
                </a:lnTo>
                <a:lnTo>
                  <a:pt x="2200" y="825"/>
                </a:lnTo>
                <a:lnTo>
                  <a:pt x="2206" y="842"/>
                </a:lnTo>
                <a:lnTo>
                  <a:pt x="2208" y="850"/>
                </a:lnTo>
                <a:lnTo>
                  <a:pt x="2207" y="854"/>
                </a:lnTo>
                <a:lnTo>
                  <a:pt x="2206" y="856"/>
                </a:lnTo>
                <a:lnTo>
                  <a:pt x="2203" y="858"/>
                </a:lnTo>
                <a:lnTo>
                  <a:pt x="2199" y="860"/>
                </a:lnTo>
                <a:lnTo>
                  <a:pt x="2195" y="862"/>
                </a:lnTo>
                <a:lnTo>
                  <a:pt x="2194" y="864"/>
                </a:lnTo>
                <a:lnTo>
                  <a:pt x="2195" y="867"/>
                </a:lnTo>
                <a:lnTo>
                  <a:pt x="2198" y="869"/>
                </a:lnTo>
                <a:lnTo>
                  <a:pt x="2201" y="870"/>
                </a:lnTo>
                <a:lnTo>
                  <a:pt x="2206" y="871"/>
                </a:lnTo>
                <a:lnTo>
                  <a:pt x="2210" y="871"/>
                </a:lnTo>
                <a:lnTo>
                  <a:pt x="2215" y="869"/>
                </a:lnTo>
                <a:lnTo>
                  <a:pt x="2228" y="862"/>
                </a:lnTo>
                <a:lnTo>
                  <a:pt x="2242" y="853"/>
                </a:lnTo>
                <a:lnTo>
                  <a:pt x="2249" y="848"/>
                </a:lnTo>
                <a:lnTo>
                  <a:pt x="2255" y="845"/>
                </a:lnTo>
                <a:lnTo>
                  <a:pt x="2259" y="844"/>
                </a:lnTo>
                <a:lnTo>
                  <a:pt x="2262" y="844"/>
                </a:lnTo>
                <a:lnTo>
                  <a:pt x="2270" y="846"/>
                </a:lnTo>
                <a:lnTo>
                  <a:pt x="2279" y="849"/>
                </a:lnTo>
                <a:lnTo>
                  <a:pt x="2282" y="850"/>
                </a:lnTo>
                <a:lnTo>
                  <a:pt x="2284" y="853"/>
                </a:lnTo>
                <a:lnTo>
                  <a:pt x="2286" y="855"/>
                </a:lnTo>
                <a:lnTo>
                  <a:pt x="2284" y="856"/>
                </a:lnTo>
                <a:lnTo>
                  <a:pt x="2283" y="858"/>
                </a:lnTo>
                <a:lnTo>
                  <a:pt x="2281" y="860"/>
                </a:lnTo>
                <a:lnTo>
                  <a:pt x="2278" y="861"/>
                </a:lnTo>
                <a:lnTo>
                  <a:pt x="2275" y="862"/>
                </a:lnTo>
                <a:lnTo>
                  <a:pt x="2272" y="863"/>
                </a:lnTo>
                <a:lnTo>
                  <a:pt x="2269" y="862"/>
                </a:lnTo>
                <a:lnTo>
                  <a:pt x="2262" y="861"/>
                </a:lnTo>
                <a:lnTo>
                  <a:pt x="2256" y="860"/>
                </a:lnTo>
                <a:lnTo>
                  <a:pt x="2250" y="859"/>
                </a:lnTo>
                <a:lnTo>
                  <a:pt x="2245" y="860"/>
                </a:lnTo>
                <a:lnTo>
                  <a:pt x="2242" y="861"/>
                </a:lnTo>
                <a:lnTo>
                  <a:pt x="2239" y="863"/>
                </a:lnTo>
                <a:lnTo>
                  <a:pt x="2237" y="866"/>
                </a:lnTo>
                <a:lnTo>
                  <a:pt x="2235" y="869"/>
                </a:lnTo>
                <a:lnTo>
                  <a:pt x="2231" y="877"/>
                </a:lnTo>
                <a:lnTo>
                  <a:pt x="2228" y="881"/>
                </a:lnTo>
                <a:lnTo>
                  <a:pt x="2224" y="883"/>
                </a:lnTo>
                <a:lnTo>
                  <a:pt x="2222" y="883"/>
                </a:lnTo>
                <a:lnTo>
                  <a:pt x="2218" y="883"/>
                </a:lnTo>
                <a:lnTo>
                  <a:pt x="2216" y="883"/>
                </a:lnTo>
                <a:lnTo>
                  <a:pt x="2214" y="884"/>
                </a:lnTo>
                <a:lnTo>
                  <a:pt x="2212" y="887"/>
                </a:lnTo>
                <a:lnTo>
                  <a:pt x="2211" y="889"/>
                </a:lnTo>
                <a:lnTo>
                  <a:pt x="2210" y="890"/>
                </a:lnTo>
                <a:lnTo>
                  <a:pt x="2208" y="891"/>
                </a:lnTo>
                <a:lnTo>
                  <a:pt x="2206" y="891"/>
                </a:lnTo>
                <a:lnTo>
                  <a:pt x="2201" y="891"/>
                </a:lnTo>
                <a:lnTo>
                  <a:pt x="2194" y="891"/>
                </a:lnTo>
                <a:lnTo>
                  <a:pt x="2189" y="891"/>
                </a:lnTo>
                <a:lnTo>
                  <a:pt x="2185" y="891"/>
                </a:lnTo>
                <a:lnTo>
                  <a:pt x="2183" y="892"/>
                </a:lnTo>
                <a:lnTo>
                  <a:pt x="2182" y="894"/>
                </a:lnTo>
                <a:lnTo>
                  <a:pt x="2181" y="897"/>
                </a:lnTo>
                <a:lnTo>
                  <a:pt x="2181" y="900"/>
                </a:lnTo>
                <a:lnTo>
                  <a:pt x="2181" y="905"/>
                </a:lnTo>
                <a:lnTo>
                  <a:pt x="2183" y="910"/>
                </a:lnTo>
                <a:lnTo>
                  <a:pt x="2186" y="913"/>
                </a:lnTo>
                <a:lnTo>
                  <a:pt x="2189" y="918"/>
                </a:lnTo>
                <a:lnTo>
                  <a:pt x="2193" y="922"/>
                </a:lnTo>
                <a:lnTo>
                  <a:pt x="2199" y="927"/>
                </a:lnTo>
                <a:lnTo>
                  <a:pt x="2203" y="932"/>
                </a:lnTo>
                <a:lnTo>
                  <a:pt x="2207" y="941"/>
                </a:lnTo>
                <a:lnTo>
                  <a:pt x="2210" y="948"/>
                </a:lnTo>
                <a:lnTo>
                  <a:pt x="2212" y="954"/>
                </a:lnTo>
                <a:lnTo>
                  <a:pt x="2212" y="958"/>
                </a:lnTo>
                <a:lnTo>
                  <a:pt x="2212" y="962"/>
                </a:lnTo>
                <a:lnTo>
                  <a:pt x="2213" y="965"/>
                </a:lnTo>
                <a:lnTo>
                  <a:pt x="2214" y="968"/>
                </a:lnTo>
                <a:lnTo>
                  <a:pt x="2216" y="972"/>
                </a:lnTo>
                <a:lnTo>
                  <a:pt x="2221" y="977"/>
                </a:lnTo>
                <a:lnTo>
                  <a:pt x="2226" y="984"/>
                </a:lnTo>
                <a:lnTo>
                  <a:pt x="2233" y="990"/>
                </a:lnTo>
                <a:lnTo>
                  <a:pt x="2240" y="995"/>
                </a:lnTo>
                <a:lnTo>
                  <a:pt x="2249" y="999"/>
                </a:lnTo>
                <a:lnTo>
                  <a:pt x="2258" y="1002"/>
                </a:lnTo>
                <a:lnTo>
                  <a:pt x="2270" y="1006"/>
                </a:lnTo>
                <a:lnTo>
                  <a:pt x="2282" y="1007"/>
                </a:lnTo>
                <a:lnTo>
                  <a:pt x="2296" y="1007"/>
                </a:lnTo>
                <a:lnTo>
                  <a:pt x="2303" y="1007"/>
                </a:lnTo>
                <a:lnTo>
                  <a:pt x="2311" y="1006"/>
                </a:lnTo>
                <a:lnTo>
                  <a:pt x="2317" y="1003"/>
                </a:lnTo>
                <a:lnTo>
                  <a:pt x="2323" y="1001"/>
                </a:lnTo>
                <a:lnTo>
                  <a:pt x="2336" y="996"/>
                </a:lnTo>
                <a:lnTo>
                  <a:pt x="2346" y="991"/>
                </a:lnTo>
                <a:lnTo>
                  <a:pt x="2356" y="986"/>
                </a:lnTo>
                <a:lnTo>
                  <a:pt x="2363" y="981"/>
                </a:lnTo>
                <a:lnTo>
                  <a:pt x="2367" y="980"/>
                </a:lnTo>
                <a:lnTo>
                  <a:pt x="2370" y="980"/>
                </a:lnTo>
                <a:lnTo>
                  <a:pt x="2374" y="980"/>
                </a:lnTo>
                <a:lnTo>
                  <a:pt x="2377" y="981"/>
                </a:lnTo>
                <a:lnTo>
                  <a:pt x="2390" y="988"/>
                </a:lnTo>
                <a:lnTo>
                  <a:pt x="2409" y="997"/>
                </a:lnTo>
                <a:lnTo>
                  <a:pt x="2419" y="1002"/>
                </a:lnTo>
                <a:lnTo>
                  <a:pt x="2428" y="1008"/>
                </a:lnTo>
                <a:lnTo>
                  <a:pt x="2437" y="1015"/>
                </a:lnTo>
                <a:lnTo>
                  <a:pt x="2446" y="1023"/>
                </a:lnTo>
                <a:lnTo>
                  <a:pt x="2454" y="1032"/>
                </a:lnTo>
                <a:lnTo>
                  <a:pt x="2462" y="1037"/>
                </a:lnTo>
                <a:lnTo>
                  <a:pt x="2468" y="1042"/>
                </a:lnTo>
                <a:lnTo>
                  <a:pt x="2475" y="1046"/>
                </a:lnTo>
                <a:lnTo>
                  <a:pt x="2480" y="1051"/>
                </a:lnTo>
                <a:lnTo>
                  <a:pt x="2484" y="1056"/>
                </a:lnTo>
                <a:lnTo>
                  <a:pt x="2486" y="1059"/>
                </a:lnTo>
                <a:lnTo>
                  <a:pt x="2487" y="1062"/>
                </a:lnTo>
                <a:lnTo>
                  <a:pt x="2487" y="1066"/>
                </a:lnTo>
                <a:lnTo>
                  <a:pt x="2487" y="1070"/>
                </a:lnTo>
                <a:lnTo>
                  <a:pt x="2487" y="1089"/>
                </a:lnTo>
                <a:lnTo>
                  <a:pt x="2489" y="1106"/>
                </a:lnTo>
                <a:lnTo>
                  <a:pt x="2491" y="1120"/>
                </a:lnTo>
                <a:lnTo>
                  <a:pt x="2494" y="1129"/>
                </a:lnTo>
                <a:lnTo>
                  <a:pt x="2498" y="1138"/>
                </a:lnTo>
                <a:lnTo>
                  <a:pt x="2503" y="1148"/>
                </a:lnTo>
                <a:lnTo>
                  <a:pt x="2509" y="1157"/>
                </a:lnTo>
                <a:lnTo>
                  <a:pt x="2511" y="1165"/>
                </a:lnTo>
                <a:lnTo>
                  <a:pt x="2515" y="1173"/>
                </a:lnTo>
                <a:lnTo>
                  <a:pt x="2521" y="1185"/>
                </a:lnTo>
                <a:lnTo>
                  <a:pt x="2524" y="1191"/>
                </a:lnTo>
                <a:lnTo>
                  <a:pt x="2525" y="1198"/>
                </a:lnTo>
                <a:lnTo>
                  <a:pt x="2525" y="1201"/>
                </a:lnTo>
                <a:lnTo>
                  <a:pt x="2525" y="1205"/>
                </a:lnTo>
                <a:lnTo>
                  <a:pt x="2524" y="1208"/>
                </a:lnTo>
                <a:lnTo>
                  <a:pt x="2522" y="1211"/>
                </a:lnTo>
                <a:lnTo>
                  <a:pt x="2519" y="1216"/>
                </a:lnTo>
                <a:lnTo>
                  <a:pt x="2519" y="1218"/>
                </a:lnTo>
                <a:lnTo>
                  <a:pt x="2520" y="1219"/>
                </a:lnTo>
                <a:lnTo>
                  <a:pt x="2523" y="1220"/>
                </a:lnTo>
                <a:lnTo>
                  <a:pt x="2529" y="1221"/>
                </a:lnTo>
                <a:lnTo>
                  <a:pt x="2534" y="1225"/>
                </a:lnTo>
                <a:lnTo>
                  <a:pt x="2537" y="1227"/>
                </a:lnTo>
                <a:lnTo>
                  <a:pt x="2539" y="1230"/>
                </a:lnTo>
                <a:lnTo>
                  <a:pt x="2542" y="1233"/>
                </a:lnTo>
                <a:lnTo>
                  <a:pt x="2545" y="1237"/>
                </a:lnTo>
                <a:lnTo>
                  <a:pt x="2551" y="1245"/>
                </a:lnTo>
                <a:lnTo>
                  <a:pt x="2555" y="1252"/>
                </a:lnTo>
                <a:lnTo>
                  <a:pt x="2559" y="1255"/>
                </a:lnTo>
                <a:lnTo>
                  <a:pt x="2562" y="1257"/>
                </a:lnTo>
                <a:lnTo>
                  <a:pt x="2563" y="1258"/>
                </a:lnTo>
                <a:lnTo>
                  <a:pt x="2564" y="1259"/>
                </a:lnTo>
                <a:lnTo>
                  <a:pt x="2563" y="1262"/>
                </a:lnTo>
                <a:lnTo>
                  <a:pt x="2561" y="1266"/>
                </a:lnTo>
                <a:lnTo>
                  <a:pt x="2555" y="1274"/>
                </a:lnTo>
                <a:lnTo>
                  <a:pt x="2550" y="1278"/>
                </a:lnTo>
                <a:lnTo>
                  <a:pt x="2547" y="1280"/>
                </a:lnTo>
                <a:lnTo>
                  <a:pt x="2547" y="1282"/>
                </a:lnTo>
                <a:lnTo>
                  <a:pt x="2549" y="1286"/>
                </a:lnTo>
                <a:lnTo>
                  <a:pt x="2551" y="1291"/>
                </a:lnTo>
                <a:lnTo>
                  <a:pt x="2554" y="1297"/>
                </a:lnTo>
                <a:lnTo>
                  <a:pt x="2555" y="1300"/>
                </a:lnTo>
                <a:lnTo>
                  <a:pt x="2554" y="1303"/>
                </a:lnTo>
                <a:lnTo>
                  <a:pt x="2551" y="1305"/>
                </a:lnTo>
                <a:lnTo>
                  <a:pt x="2544" y="1309"/>
                </a:lnTo>
                <a:lnTo>
                  <a:pt x="2539" y="1316"/>
                </a:lnTo>
                <a:lnTo>
                  <a:pt x="2535" y="1323"/>
                </a:lnTo>
                <a:lnTo>
                  <a:pt x="2532" y="1328"/>
                </a:lnTo>
                <a:lnTo>
                  <a:pt x="2532" y="1332"/>
                </a:lnTo>
                <a:lnTo>
                  <a:pt x="2532" y="1337"/>
                </a:lnTo>
                <a:lnTo>
                  <a:pt x="2533" y="1341"/>
                </a:lnTo>
                <a:lnTo>
                  <a:pt x="2535" y="1346"/>
                </a:lnTo>
                <a:lnTo>
                  <a:pt x="2536" y="1349"/>
                </a:lnTo>
                <a:lnTo>
                  <a:pt x="2538" y="1351"/>
                </a:lnTo>
                <a:lnTo>
                  <a:pt x="2539" y="1351"/>
                </a:lnTo>
                <a:lnTo>
                  <a:pt x="2542" y="1352"/>
                </a:lnTo>
                <a:lnTo>
                  <a:pt x="2546" y="1351"/>
                </a:lnTo>
                <a:lnTo>
                  <a:pt x="2553" y="1348"/>
                </a:lnTo>
                <a:lnTo>
                  <a:pt x="2565" y="1340"/>
                </a:lnTo>
                <a:lnTo>
                  <a:pt x="2578" y="1335"/>
                </a:lnTo>
                <a:lnTo>
                  <a:pt x="2590" y="1329"/>
                </a:lnTo>
                <a:lnTo>
                  <a:pt x="2603" y="1325"/>
                </a:lnTo>
                <a:lnTo>
                  <a:pt x="2605" y="1325"/>
                </a:lnTo>
                <a:lnTo>
                  <a:pt x="2608" y="1325"/>
                </a:lnTo>
                <a:lnTo>
                  <a:pt x="2610" y="1326"/>
                </a:lnTo>
                <a:lnTo>
                  <a:pt x="2612" y="1327"/>
                </a:lnTo>
                <a:lnTo>
                  <a:pt x="2613" y="1330"/>
                </a:lnTo>
                <a:lnTo>
                  <a:pt x="2616" y="1333"/>
                </a:lnTo>
                <a:lnTo>
                  <a:pt x="2617" y="1338"/>
                </a:lnTo>
                <a:lnTo>
                  <a:pt x="2617" y="1342"/>
                </a:lnTo>
                <a:lnTo>
                  <a:pt x="2618" y="1353"/>
                </a:lnTo>
                <a:lnTo>
                  <a:pt x="2620" y="1363"/>
                </a:lnTo>
                <a:lnTo>
                  <a:pt x="2623" y="1371"/>
                </a:lnTo>
                <a:lnTo>
                  <a:pt x="2626" y="1379"/>
                </a:lnTo>
                <a:lnTo>
                  <a:pt x="2628" y="1386"/>
                </a:lnTo>
                <a:lnTo>
                  <a:pt x="2631" y="1392"/>
                </a:lnTo>
                <a:lnTo>
                  <a:pt x="2632" y="1397"/>
                </a:lnTo>
                <a:lnTo>
                  <a:pt x="2633" y="1404"/>
                </a:lnTo>
                <a:lnTo>
                  <a:pt x="2632" y="1410"/>
                </a:lnTo>
                <a:lnTo>
                  <a:pt x="2631" y="1414"/>
                </a:lnTo>
                <a:lnTo>
                  <a:pt x="2629" y="1417"/>
                </a:lnTo>
                <a:lnTo>
                  <a:pt x="2625" y="1418"/>
                </a:lnTo>
                <a:lnTo>
                  <a:pt x="2620" y="1417"/>
                </a:lnTo>
                <a:lnTo>
                  <a:pt x="2615" y="1415"/>
                </a:lnTo>
                <a:lnTo>
                  <a:pt x="2607" y="1410"/>
                </a:lnTo>
                <a:lnTo>
                  <a:pt x="2599" y="1402"/>
                </a:lnTo>
                <a:lnTo>
                  <a:pt x="2594" y="1397"/>
                </a:lnTo>
                <a:lnTo>
                  <a:pt x="2589" y="1394"/>
                </a:lnTo>
                <a:lnTo>
                  <a:pt x="2585" y="1392"/>
                </a:lnTo>
                <a:lnTo>
                  <a:pt x="2581" y="1391"/>
                </a:lnTo>
                <a:lnTo>
                  <a:pt x="2578" y="1390"/>
                </a:lnTo>
                <a:lnTo>
                  <a:pt x="2575" y="1390"/>
                </a:lnTo>
                <a:lnTo>
                  <a:pt x="2571" y="1390"/>
                </a:lnTo>
                <a:lnTo>
                  <a:pt x="2567" y="1391"/>
                </a:lnTo>
                <a:lnTo>
                  <a:pt x="2562" y="1394"/>
                </a:lnTo>
                <a:lnTo>
                  <a:pt x="2558" y="1397"/>
                </a:lnTo>
                <a:lnTo>
                  <a:pt x="2554" y="1402"/>
                </a:lnTo>
                <a:lnTo>
                  <a:pt x="2551" y="1406"/>
                </a:lnTo>
                <a:lnTo>
                  <a:pt x="2551" y="1408"/>
                </a:lnTo>
                <a:lnTo>
                  <a:pt x="2551" y="1410"/>
                </a:lnTo>
                <a:lnTo>
                  <a:pt x="2552" y="1411"/>
                </a:lnTo>
                <a:lnTo>
                  <a:pt x="2554" y="1412"/>
                </a:lnTo>
                <a:lnTo>
                  <a:pt x="2560" y="1415"/>
                </a:lnTo>
                <a:lnTo>
                  <a:pt x="2566" y="1417"/>
                </a:lnTo>
                <a:lnTo>
                  <a:pt x="2574" y="1420"/>
                </a:lnTo>
                <a:lnTo>
                  <a:pt x="2581" y="1424"/>
                </a:lnTo>
                <a:lnTo>
                  <a:pt x="2583" y="1425"/>
                </a:lnTo>
                <a:lnTo>
                  <a:pt x="2585" y="1427"/>
                </a:lnTo>
                <a:lnTo>
                  <a:pt x="2587" y="1429"/>
                </a:lnTo>
                <a:lnTo>
                  <a:pt x="2588" y="1431"/>
                </a:lnTo>
                <a:lnTo>
                  <a:pt x="2588" y="1433"/>
                </a:lnTo>
                <a:lnTo>
                  <a:pt x="2587" y="1434"/>
                </a:lnTo>
                <a:lnTo>
                  <a:pt x="2585" y="1435"/>
                </a:lnTo>
                <a:lnTo>
                  <a:pt x="2582" y="1436"/>
                </a:lnTo>
                <a:lnTo>
                  <a:pt x="2576" y="1437"/>
                </a:lnTo>
                <a:lnTo>
                  <a:pt x="2567" y="1437"/>
                </a:lnTo>
                <a:lnTo>
                  <a:pt x="2560" y="1437"/>
                </a:lnTo>
                <a:lnTo>
                  <a:pt x="2553" y="1438"/>
                </a:lnTo>
                <a:lnTo>
                  <a:pt x="2551" y="1439"/>
                </a:lnTo>
                <a:lnTo>
                  <a:pt x="2549" y="1440"/>
                </a:lnTo>
                <a:lnTo>
                  <a:pt x="2547" y="1442"/>
                </a:lnTo>
                <a:lnTo>
                  <a:pt x="2547" y="1446"/>
                </a:lnTo>
                <a:lnTo>
                  <a:pt x="2550" y="1452"/>
                </a:lnTo>
                <a:lnTo>
                  <a:pt x="2554" y="1461"/>
                </a:lnTo>
                <a:lnTo>
                  <a:pt x="2560" y="1472"/>
                </a:lnTo>
                <a:lnTo>
                  <a:pt x="2567" y="1482"/>
                </a:lnTo>
                <a:lnTo>
                  <a:pt x="2580" y="1501"/>
                </a:lnTo>
                <a:lnTo>
                  <a:pt x="2586" y="1508"/>
                </a:lnTo>
                <a:lnTo>
                  <a:pt x="2615" y="1465"/>
                </a:lnTo>
                <a:lnTo>
                  <a:pt x="2611" y="1459"/>
                </a:lnTo>
                <a:lnTo>
                  <a:pt x="2606" y="1447"/>
                </a:lnTo>
                <a:lnTo>
                  <a:pt x="2605" y="1441"/>
                </a:lnTo>
                <a:lnTo>
                  <a:pt x="2605" y="1436"/>
                </a:lnTo>
                <a:lnTo>
                  <a:pt x="2606" y="1435"/>
                </a:lnTo>
                <a:lnTo>
                  <a:pt x="2608" y="1434"/>
                </a:lnTo>
                <a:lnTo>
                  <a:pt x="2611" y="1434"/>
                </a:lnTo>
                <a:lnTo>
                  <a:pt x="2615" y="1435"/>
                </a:lnTo>
                <a:lnTo>
                  <a:pt x="2628" y="1439"/>
                </a:lnTo>
                <a:lnTo>
                  <a:pt x="2637" y="1443"/>
                </a:lnTo>
                <a:lnTo>
                  <a:pt x="2639" y="1446"/>
                </a:lnTo>
                <a:lnTo>
                  <a:pt x="2641" y="1448"/>
                </a:lnTo>
                <a:lnTo>
                  <a:pt x="2642" y="1452"/>
                </a:lnTo>
                <a:lnTo>
                  <a:pt x="2642" y="1457"/>
                </a:lnTo>
                <a:lnTo>
                  <a:pt x="2641" y="1463"/>
                </a:lnTo>
                <a:lnTo>
                  <a:pt x="2640" y="1469"/>
                </a:lnTo>
                <a:lnTo>
                  <a:pt x="2637" y="1473"/>
                </a:lnTo>
                <a:lnTo>
                  <a:pt x="2634" y="1478"/>
                </a:lnTo>
                <a:lnTo>
                  <a:pt x="2631" y="1482"/>
                </a:lnTo>
                <a:lnTo>
                  <a:pt x="2629" y="1489"/>
                </a:lnTo>
                <a:lnTo>
                  <a:pt x="2628" y="1495"/>
                </a:lnTo>
                <a:lnTo>
                  <a:pt x="2627" y="1502"/>
                </a:lnTo>
                <a:lnTo>
                  <a:pt x="2626" y="1511"/>
                </a:lnTo>
                <a:lnTo>
                  <a:pt x="2625" y="1518"/>
                </a:lnTo>
                <a:lnTo>
                  <a:pt x="2622" y="1525"/>
                </a:lnTo>
                <a:lnTo>
                  <a:pt x="2618" y="1531"/>
                </a:lnTo>
                <a:lnTo>
                  <a:pt x="2613" y="1537"/>
                </a:lnTo>
                <a:lnTo>
                  <a:pt x="2608" y="1542"/>
                </a:lnTo>
                <a:lnTo>
                  <a:pt x="2602" y="1547"/>
                </a:lnTo>
                <a:lnTo>
                  <a:pt x="2597" y="1551"/>
                </a:lnTo>
                <a:lnTo>
                  <a:pt x="2590" y="1558"/>
                </a:lnTo>
                <a:lnTo>
                  <a:pt x="2586" y="1564"/>
                </a:lnTo>
                <a:lnTo>
                  <a:pt x="2582" y="1571"/>
                </a:lnTo>
                <a:lnTo>
                  <a:pt x="2578" y="1579"/>
                </a:lnTo>
                <a:lnTo>
                  <a:pt x="2574" y="1593"/>
                </a:lnTo>
                <a:lnTo>
                  <a:pt x="2569" y="1605"/>
                </a:lnTo>
                <a:lnTo>
                  <a:pt x="2569" y="1611"/>
                </a:lnTo>
                <a:lnTo>
                  <a:pt x="2572" y="1621"/>
                </a:lnTo>
                <a:lnTo>
                  <a:pt x="2575" y="1631"/>
                </a:lnTo>
                <a:lnTo>
                  <a:pt x="2578" y="1643"/>
                </a:lnTo>
                <a:lnTo>
                  <a:pt x="2586" y="1665"/>
                </a:lnTo>
                <a:lnTo>
                  <a:pt x="2590" y="1679"/>
                </a:lnTo>
                <a:lnTo>
                  <a:pt x="2591" y="1684"/>
                </a:lnTo>
                <a:lnTo>
                  <a:pt x="2595" y="1692"/>
                </a:lnTo>
                <a:lnTo>
                  <a:pt x="2600" y="1699"/>
                </a:lnTo>
                <a:lnTo>
                  <a:pt x="2605" y="1706"/>
                </a:lnTo>
                <a:lnTo>
                  <a:pt x="2618" y="1722"/>
                </a:lnTo>
                <a:lnTo>
                  <a:pt x="2627" y="1733"/>
                </a:lnTo>
                <a:lnTo>
                  <a:pt x="2640" y="1740"/>
                </a:lnTo>
                <a:lnTo>
                  <a:pt x="2657" y="1748"/>
                </a:lnTo>
                <a:lnTo>
                  <a:pt x="2661" y="1749"/>
                </a:lnTo>
                <a:lnTo>
                  <a:pt x="2664" y="1752"/>
                </a:lnTo>
                <a:lnTo>
                  <a:pt x="2666" y="1754"/>
                </a:lnTo>
                <a:lnTo>
                  <a:pt x="2667" y="1756"/>
                </a:lnTo>
                <a:lnTo>
                  <a:pt x="2666" y="1758"/>
                </a:lnTo>
                <a:lnTo>
                  <a:pt x="2664" y="1760"/>
                </a:lnTo>
                <a:lnTo>
                  <a:pt x="2660" y="1762"/>
                </a:lnTo>
                <a:lnTo>
                  <a:pt x="2654" y="1763"/>
                </a:lnTo>
                <a:lnTo>
                  <a:pt x="2642" y="1767"/>
                </a:lnTo>
                <a:lnTo>
                  <a:pt x="2632" y="1770"/>
                </a:lnTo>
                <a:lnTo>
                  <a:pt x="2625" y="1775"/>
                </a:lnTo>
                <a:lnTo>
                  <a:pt x="2621" y="1778"/>
                </a:lnTo>
                <a:lnTo>
                  <a:pt x="2619" y="1782"/>
                </a:lnTo>
                <a:lnTo>
                  <a:pt x="2619" y="1786"/>
                </a:lnTo>
                <a:lnTo>
                  <a:pt x="2620" y="1792"/>
                </a:lnTo>
                <a:lnTo>
                  <a:pt x="2623" y="1799"/>
                </a:lnTo>
                <a:lnTo>
                  <a:pt x="2642" y="1822"/>
                </a:lnTo>
                <a:lnTo>
                  <a:pt x="2671" y="1857"/>
                </a:lnTo>
                <a:lnTo>
                  <a:pt x="2686" y="1876"/>
                </a:lnTo>
                <a:lnTo>
                  <a:pt x="2698" y="1893"/>
                </a:lnTo>
                <a:lnTo>
                  <a:pt x="2703" y="1901"/>
                </a:lnTo>
                <a:lnTo>
                  <a:pt x="2707" y="1908"/>
                </a:lnTo>
                <a:lnTo>
                  <a:pt x="2708" y="1914"/>
                </a:lnTo>
                <a:lnTo>
                  <a:pt x="2708" y="1918"/>
                </a:lnTo>
                <a:lnTo>
                  <a:pt x="2706" y="1924"/>
                </a:lnTo>
                <a:lnTo>
                  <a:pt x="2704" y="1929"/>
                </a:lnTo>
                <a:lnTo>
                  <a:pt x="2699" y="1931"/>
                </a:lnTo>
                <a:lnTo>
                  <a:pt x="2696" y="1932"/>
                </a:lnTo>
                <a:lnTo>
                  <a:pt x="2694" y="1933"/>
                </a:lnTo>
                <a:lnTo>
                  <a:pt x="2692" y="1934"/>
                </a:lnTo>
                <a:lnTo>
                  <a:pt x="2691" y="1936"/>
                </a:lnTo>
                <a:lnTo>
                  <a:pt x="2692" y="1940"/>
                </a:lnTo>
                <a:lnTo>
                  <a:pt x="2693" y="1942"/>
                </a:lnTo>
                <a:lnTo>
                  <a:pt x="2695" y="1944"/>
                </a:lnTo>
                <a:lnTo>
                  <a:pt x="2697" y="1945"/>
                </a:lnTo>
                <a:lnTo>
                  <a:pt x="2700" y="1945"/>
                </a:lnTo>
                <a:lnTo>
                  <a:pt x="2707" y="1944"/>
                </a:lnTo>
                <a:lnTo>
                  <a:pt x="2713" y="1943"/>
                </a:lnTo>
                <a:lnTo>
                  <a:pt x="2720" y="1941"/>
                </a:lnTo>
                <a:lnTo>
                  <a:pt x="2727" y="1940"/>
                </a:lnTo>
                <a:lnTo>
                  <a:pt x="2729" y="1940"/>
                </a:lnTo>
                <a:lnTo>
                  <a:pt x="2732" y="1941"/>
                </a:lnTo>
                <a:lnTo>
                  <a:pt x="2733" y="1942"/>
                </a:lnTo>
                <a:lnTo>
                  <a:pt x="2735" y="1944"/>
                </a:lnTo>
                <a:lnTo>
                  <a:pt x="2737" y="1947"/>
                </a:lnTo>
                <a:lnTo>
                  <a:pt x="2740" y="1948"/>
                </a:lnTo>
                <a:lnTo>
                  <a:pt x="2742" y="1950"/>
                </a:lnTo>
                <a:lnTo>
                  <a:pt x="2746" y="1948"/>
                </a:lnTo>
                <a:lnTo>
                  <a:pt x="2749" y="1948"/>
                </a:lnTo>
                <a:lnTo>
                  <a:pt x="2752" y="1950"/>
                </a:lnTo>
                <a:lnTo>
                  <a:pt x="2754" y="1953"/>
                </a:lnTo>
                <a:lnTo>
                  <a:pt x="2756" y="1957"/>
                </a:lnTo>
                <a:lnTo>
                  <a:pt x="2761" y="1969"/>
                </a:lnTo>
                <a:lnTo>
                  <a:pt x="2768" y="1980"/>
                </a:lnTo>
                <a:lnTo>
                  <a:pt x="2773" y="1987"/>
                </a:lnTo>
                <a:lnTo>
                  <a:pt x="2775" y="1990"/>
                </a:lnTo>
                <a:lnTo>
                  <a:pt x="2780" y="1988"/>
                </a:lnTo>
                <a:lnTo>
                  <a:pt x="2785" y="1985"/>
                </a:lnTo>
                <a:close/>
                <a:moveTo>
                  <a:pt x="4946" y="1406"/>
                </a:moveTo>
                <a:lnTo>
                  <a:pt x="4943" y="1405"/>
                </a:lnTo>
                <a:lnTo>
                  <a:pt x="4941" y="1402"/>
                </a:lnTo>
                <a:lnTo>
                  <a:pt x="4939" y="1399"/>
                </a:lnTo>
                <a:lnTo>
                  <a:pt x="4937" y="1396"/>
                </a:lnTo>
                <a:lnTo>
                  <a:pt x="4935" y="1389"/>
                </a:lnTo>
                <a:lnTo>
                  <a:pt x="4934" y="1381"/>
                </a:lnTo>
                <a:lnTo>
                  <a:pt x="4932" y="1372"/>
                </a:lnTo>
                <a:lnTo>
                  <a:pt x="4930" y="1365"/>
                </a:lnTo>
                <a:lnTo>
                  <a:pt x="4927" y="1358"/>
                </a:lnTo>
                <a:lnTo>
                  <a:pt x="4922" y="1351"/>
                </a:lnTo>
                <a:lnTo>
                  <a:pt x="4907" y="1342"/>
                </a:lnTo>
                <a:lnTo>
                  <a:pt x="4889" y="1331"/>
                </a:lnTo>
                <a:lnTo>
                  <a:pt x="4883" y="1327"/>
                </a:lnTo>
                <a:lnTo>
                  <a:pt x="4878" y="1323"/>
                </a:lnTo>
                <a:lnTo>
                  <a:pt x="4876" y="1321"/>
                </a:lnTo>
                <a:lnTo>
                  <a:pt x="4876" y="1319"/>
                </a:lnTo>
                <a:lnTo>
                  <a:pt x="4876" y="1318"/>
                </a:lnTo>
                <a:lnTo>
                  <a:pt x="4877" y="1316"/>
                </a:lnTo>
                <a:lnTo>
                  <a:pt x="4886" y="1308"/>
                </a:lnTo>
                <a:lnTo>
                  <a:pt x="4899" y="1299"/>
                </a:lnTo>
                <a:lnTo>
                  <a:pt x="4904" y="1294"/>
                </a:lnTo>
                <a:lnTo>
                  <a:pt x="4908" y="1288"/>
                </a:lnTo>
                <a:lnTo>
                  <a:pt x="4912" y="1283"/>
                </a:lnTo>
                <a:lnTo>
                  <a:pt x="4913" y="1278"/>
                </a:lnTo>
                <a:lnTo>
                  <a:pt x="4915" y="1265"/>
                </a:lnTo>
                <a:lnTo>
                  <a:pt x="4917" y="1251"/>
                </a:lnTo>
                <a:lnTo>
                  <a:pt x="4920" y="1243"/>
                </a:lnTo>
                <a:lnTo>
                  <a:pt x="4922" y="1237"/>
                </a:lnTo>
                <a:lnTo>
                  <a:pt x="4924" y="1232"/>
                </a:lnTo>
                <a:lnTo>
                  <a:pt x="4928" y="1229"/>
                </a:lnTo>
                <a:lnTo>
                  <a:pt x="4937" y="1223"/>
                </a:lnTo>
                <a:lnTo>
                  <a:pt x="4946" y="1217"/>
                </a:lnTo>
                <a:lnTo>
                  <a:pt x="4949" y="1214"/>
                </a:lnTo>
                <a:lnTo>
                  <a:pt x="4951" y="1211"/>
                </a:lnTo>
                <a:lnTo>
                  <a:pt x="4951" y="1208"/>
                </a:lnTo>
                <a:lnTo>
                  <a:pt x="4950" y="1204"/>
                </a:lnTo>
                <a:lnTo>
                  <a:pt x="4943" y="1194"/>
                </a:lnTo>
                <a:lnTo>
                  <a:pt x="4936" y="1180"/>
                </a:lnTo>
                <a:lnTo>
                  <a:pt x="4934" y="1174"/>
                </a:lnTo>
                <a:lnTo>
                  <a:pt x="4933" y="1169"/>
                </a:lnTo>
                <a:lnTo>
                  <a:pt x="4933" y="1167"/>
                </a:lnTo>
                <a:lnTo>
                  <a:pt x="4933" y="1166"/>
                </a:lnTo>
                <a:lnTo>
                  <a:pt x="4934" y="1165"/>
                </a:lnTo>
                <a:lnTo>
                  <a:pt x="4935" y="1164"/>
                </a:lnTo>
                <a:lnTo>
                  <a:pt x="4938" y="1163"/>
                </a:lnTo>
                <a:lnTo>
                  <a:pt x="4944" y="1161"/>
                </a:lnTo>
                <a:lnTo>
                  <a:pt x="4950" y="1156"/>
                </a:lnTo>
                <a:lnTo>
                  <a:pt x="4956" y="1152"/>
                </a:lnTo>
                <a:lnTo>
                  <a:pt x="4963" y="1147"/>
                </a:lnTo>
                <a:lnTo>
                  <a:pt x="4968" y="1142"/>
                </a:lnTo>
                <a:lnTo>
                  <a:pt x="4971" y="1136"/>
                </a:lnTo>
                <a:lnTo>
                  <a:pt x="4973" y="1132"/>
                </a:lnTo>
                <a:lnTo>
                  <a:pt x="4974" y="1119"/>
                </a:lnTo>
                <a:lnTo>
                  <a:pt x="4974" y="1099"/>
                </a:lnTo>
                <a:lnTo>
                  <a:pt x="4974" y="1089"/>
                </a:lnTo>
                <a:lnTo>
                  <a:pt x="4975" y="1081"/>
                </a:lnTo>
                <a:lnTo>
                  <a:pt x="4977" y="1074"/>
                </a:lnTo>
                <a:lnTo>
                  <a:pt x="4979" y="1070"/>
                </a:lnTo>
                <a:lnTo>
                  <a:pt x="5003" y="1055"/>
                </a:lnTo>
                <a:lnTo>
                  <a:pt x="5048" y="1024"/>
                </a:lnTo>
                <a:lnTo>
                  <a:pt x="5091" y="994"/>
                </a:lnTo>
                <a:lnTo>
                  <a:pt x="5110" y="980"/>
                </a:lnTo>
                <a:lnTo>
                  <a:pt x="5119" y="978"/>
                </a:lnTo>
                <a:lnTo>
                  <a:pt x="5136" y="972"/>
                </a:lnTo>
                <a:lnTo>
                  <a:pt x="5147" y="968"/>
                </a:lnTo>
                <a:lnTo>
                  <a:pt x="5157" y="963"/>
                </a:lnTo>
                <a:lnTo>
                  <a:pt x="5166" y="957"/>
                </a:lnTo>
                <a:lnTo>
                  <a:pt x="5172" y="952"/>
                </a:lnTo>
                <a:lnTo>
                  <a:pt x="5179" y="946"/>
                </a:lnTo>
                <a:lnTo>
                  <a:pt x="5193" y="937"/>
                </a:lnTo>
                <a:lnTo>
                  <a:pt x="5209" y="928"/>
                </a:lnTo>
                <a:lnTo>
                  <a:pt x="5226" y="920"/>
                </a:lnTo>
                <a:lnTo>
                  <a:pt x="5242" y="912"/>
                </a:lnTo>
                <a:lnTo>
                  <a:pt x="5257" y="908"/>
                </a:lnTo>
                <a:lnTo>
                  <a:pt x="5262" y="906"/>
                </a:lnTo>
                <a:lnTo>
                  <a:pt x="5267" y="906"/>
                </a:lnTo>
                <a:lnTo>
                  <a:pt x="5270" y="907"/>
                </a:lnTo>
                <a:lnTo>
                  <a:pt x="5271" y="909"/>
                </a:lnTo>
                <a:lnTo>
                  <a:pt x="5271" y="921"/>
                </a:lnTo>
                <a:lnTo>
                  <a:pt x="5270" y="933"/>
                </a:lnTo>
                <a:lnTo>
                  <a:pt x="5268" y="946"/>
                </a:lnTo>
                <a:lnTo>
                  <a:pt x="5264" y="956"/>
                </a:lnTo>
                <a:lnTo>
                  <a:pt x="5255" y="966"/>
                </a:lnTo>
                <a:lnTo>
                  <a:pt x="5232" y="985"/>
                </a:lnTo>
                <a:lnTo>
                  <a:pt x="5200" y="1010"/>
                </a:lnTo>
                <a:lnTo>
                  <a:pt x="5165" y="1037"/>
                </a:lnTo>
                <a:lnTo>
                  <a:pt x="5128" y="1065"/>
                </a:lnTo>
                <a:lnTo>
                  <a:pt x="5095" y="1090"/>
                </a:lnTo>
                <a:lnTo>
                  <a:pt x="5069" y="1110"/>
                </a:lnTo>
                <a:lnTo>
                  <a:pt x="5055" y="1123"/>
                </a:lnTo>
                <a:lnTo>
                  <a:pt x="5042" y="1136"/>
                </a:lnTo>
                <a:lnTo>
                  <a:pt x="5031" y="1151"/>
                </a:lnTo>
                <a:lnTo>
                  <a:pt x="5025" y="1160"/>
                </a:lnTo>
                <a:lnTo>
                  <a:pt x="5022" y="1167"/>
                </a:lnTo>
                <a:lnTo>
                  <a:pt x="5019" y="1174"/>
                </a:lnTo>
                <a:lnTo>
                  <a:pt x="5018" y="1183"/>
                </a:lnTo>
                <a:lnTo>
                  <a:pt x="5016" y="1190"/>
                </a:lnTo>
                <a:lnTo>
                  <a:pt x="5012" y="1197"/>
                </a:lnTo>
                <a:lnTo>
                  <a:pt x="5008" y="1206"/>
                </a:lnTo>
                <a:lnTo>
                  <a:pt x="5001" y="1213"/>
                </a:lnTo>
                <a:lnTo>
                  <a:pt x="4995" y="1220"/>
                </a:lnTo>
                <a:lnTo>
                  <a:pt x="4990" y="1228"/>
                </a:lnTo>
                <a:lnTo>
                  <a:pt x="4986" y="1234"/>
                </a:lnTo>
                <a:lnTo>
                  <a:pt x="4984" y="1239"/>
                </a:lnTo>
                <a:lnTo>
                  <a:pt x="4978" y="1253"/>
                </a:lnTo>
                <a:lnTo>
                  <a:pt x="4970" y="1270"/>
                </a:lnTo>
                <a:lnTo>
                  <a:pt x="4967" y="1280"/>
                </a:lnTo>
                <a:lnTo>
                  <a:pt x="4964" y="1292"/>
                </a:lnTo>
                <a:lnTo>
                  <a:pt x="4961" y="1304"/>
                </a:lnTo>
                <a:lnTo>
                  <a:pt x="4960" y="1318"/>
                </a:lnTo>
                <a:lnTo>
                  <a:pt x="4961" y="1325"/>
                </a:lnTo>
                <a:lnTo>
                  <a:pt x="4965" y="1331"/>
                </a:lnTo>
                <a:lnTo>
                  <a:pt x="4968" y="1339"/>
                </a:lnTo>
                <a:lnTo>
                  <a:pt x="4973" y="1345"/>
                </a:lnTo>
                <a:lnTo>
                  <a:pt x="4986" y="1357"/>
                </a:lnTo>
                <a:lnTo>
                  <a:pt x="4999" y="1367"/>
                </a:lnTo>
                <a:lnTo>
                  <a:pt x="5006" y="1372"/>
                </a:lnTo>
                <a:lnTo>
                  <a:pt x="5012" y="1377"/>
                </a:lnTo>
                <a:lnTo>
                  <a:pt x="5016" y="1382"/>
                </a:lnTo>
                <a:lnTo>
                  <a:pt x="5019" y="1387"/>
                </a:lnTo>
                <a:lnTo>
                  <a:pt x="5021" y="1391"/>
                </a:lnTo>
                <a:lnTo>
                  <a:pt x="5021" y="1395"/>
                </a:lnTo>
                <a:lnTo>
                  <a:pt x="5019" y="1399"/>
                </a:lnTo>
                <a:lnTo>
                  <a:pt x="5014" y="1404"/>
                </a:lnTo>
                <a:lnTo>
                  <a:pt x="5008" y="1408"/>
                </a:lnTo>
                <a:lnTo>
                  <a:pt x="5001" y="1411"/>
                </a:lnTo>
                <a:lnTo>
                  <a:pt x="4995" y="1412"/>
                </a:lnTo>
                <a:lnTo>
                  <a:pt x="4990" y="1414"/>
                </a:lnTo>
                <a:lnTo>
                  <a:pt x="4978" y="1414"/>
                </a:lnTo>
                <a:lnTo>
                  <a:pt x="4968" y="1413"/>
                </a:lnTo>
                <a:lnTo>
                  <a:pt x="4952" y="1409"/>
                </a:lnTo>
                <a:lnTo>
                  <a:pt x="4946" y="1406"/>
                </a:lnTo>
                <a:close/>
                <a:moveTo>
                  <a:pt x="4805" y="1486"/>
                </a:moveTo>
                <a:lnTo>
                  <a:pt x="4806" y="1495"/>
                </a:lnTo>
                <a:lnTo>
                  <a:pt x="4809" y="1503"/>
                </a:lnTo>
                <a:lnTo>
                  <a:pt x="4812" y="1509"/>
                </a:lnTo>
                <a:lnTo>
                  <a:pt x="4816" y="1515"/>
                </a:lnTo>
                <a:lnTo>
                  <a:pt x="4820" y="1520"/>
                </a:lnTo>
                <a:lnTo>
                  <a:pt x="4824" y="1523"/>
                </a:lnTo>
                <a:lnTo>
                  <a:pt x="4828" y="1525"/>
                </a:lnTo>
                <a:lnTo>
                  <a:pt x="4832" y="1526"/>
                </a:lnTo>
                <a:lnTo>
                  <a:pt x="4836" y="1526"/>
                </a:lnTo>
                <a:lnTo>
                  <a:pt x="4840" y="1524"/>
                </a:lnTo>
                <a:lnTo>
                  <a:pt x="4846" y="1522"/>
                </a:lnTo>
                <a:lnTo>
                  <a:pt x="4853" y="1518"/>
                </a:lnTo>
                <a:lnTo>
                  <a:pt x="4857" y="1514"/>
                </a:lnTo>
                <a:lnTo>
                  <a:pt x="4861" y="1508"/>
                </a:lnTo>
                <a:lnTo>
                  <a:pt x="4862" y="1506"/>
                </a:lnTo>
                <a:lnTo>
                  <a:pt x="4862" y="1503"/>
                </a:lnTo>
                <a:lnTo>
                  <a:pt x="4862" y="1500"/>
                </a:lnTo>
                <a:lnTo>
                  <a:pt x="4860" y="1497"/>
                </a:lnTo>
                <a:lnTo>
                  <a:pt x="4857" y="1492"/>
                </a:lnTo>
                <a:lnTo>
                  <a:pt x="4853" y="1486"/>
                </a:lnTo>
                <a:lnTo>
                  <a:pt x="4847" y="1481"/>
                </a:lnTo>
                <a:lnTo>
                  <a:pt x="4842" y="1477"/>
                </a:lnTo>
                <a:lnTo>
                  <a:pt x="4838" y="1474"/>
                </a:lnTo>
                <a:lnTo>
                  <a:pt x="4833" y="1473"/>
                </a:lnTo>
                <a:lnTo>
                  <a:pt x="4829" y="1472"/>
                </a:lnTo>
                <a:lnTo>
                  <a:pt x="4826" y="1473"/>
                </a:lnTo>
                <a:lnTo>
                  <a:pt x="4814" y="1481"/>
                </a:lnTo>
                <a:lnTo>
                  <a:pt x="4805" y="1486"/>
                </a:lnTo>
                <a:close/>
                <a:moveTo>
                  <a:pt x="3232" y="1752"/>
                </a:moveTo>
                <a:lnTo>
                  <a:pt x="3237" y="1754"/>
                </a:lnTo>
                <a:lnTo>
                  <a:pt x="3244" y="1755"/>
                </a:lnTo>
                <a:lnTo>
                  <a:pt x="3251" y="1756"/>
                </a:lnTo>
                <a:lnTo>
                  <a:pt x="3257" y="1756"/>
                </a:lnTo>
                <a:lnTo>
                  <a:pt x="3262" y="1757"/>
                </a:lnTo>
                <a:lnTo>
                  <a:pt x="3265" y="1759"/>
                </a:lnTo>
                <a:lnTo>
                  <a:pt x="3266" y="1760"/>
                </a:lnTo>
                <a:lnTo>
                  <a:pt x="3267" y="1761"/>
                </a:lnTo>
                <a:lnTo>
                  <a:pt x="3266" y="1763"/>
                </a:lnTo>
                <a:lnTo>
                  <a:pt x="3265" y="1766"/>
                </a:lnTo>
                <a:lnTo>
                  <a:pt x="3260" y="1776"/>
                </a:lnTo>
                <a:lnTo>
                  <a:pt x="3256" y="1782"/>
                </a:lnTo>
                <a:lnTo>
                  <a:pt x="3255" y="1784"/>
                </a:lnTo>
                <a:lnTo>
                  <a:pt x="3255" y="1786"/>
                </a:lnTo>
                <a:lnTo>
                  <a:pt x="3255" y="1789"/>
                </a:lnTo>
                <a:lnTo>
                  <a:pt x="3257" y="1791"/>
                </a:lnTo>
                <a:lnTo>
                  <a:pt x="3259" y="1794"/>
                </a:lnTo>
                <a:lnTo>
                  <a:pt x="3263" y="1796"/>
                </a:lnTo>
                <a:lnTo>
                  <a:pt x="3268" y="1796"/>
                </a:lnTo>
                <a:lnTo>
                  <a:pt x="3275" y="1796"/>
                </a:lnTo>
                <a:lnTo>
                  <a:pt x="3280" y="1796"/>
                </a:lnTo>
                <a:lnTo>
                  <a:pt x="3285" y="1797"/>
                </a:lnTo>
                <a:lnTo>
                  <a:pt x="3287" y="1797"/>
                </a:lnTo>
                <a:lnTo>
                  <a:pt x="3289" y="1798"/>
                </a:lnTo>
                <a:lnTo>
                  <a:pt x="3290" y="1799"/>
                </a:lnTo>
                <a:lnTo>
                  <a:pt x="3291" y="1801"/>
                </a:lnTo>
                <a:lnTo>
                  <a:pt x="3292" y="1803"/>
                </a:lnTo>
                <a:lnTo>
                  <a:pt x="3296" y="1804"/>
                </a:lnTo>
                <a:lnTo>
                  <a:pt x="3300" y="1805"/>
                </a:lnTo>
                <a:lnTo>
                  <a:pt x="3304" y="1806"/>
                </a:lnTo>
                <a:lnTo>
                  <a:pt x="3317" y="1807"/>
                </a:lnTo>
                <a:lnTo>
                  <a:pt x="3330" y="1807"/>
                </a:lnTo>
                <a:lnTo>
                  <a:pt x="3355" y="1807"/>
                </a:lnTo>
                <a:lnTo>
                  <a:pt x="3367" y="1806"/>
                </a:lnTo>
                <a:lnTo>
                  <a:pt x="3377" y="1800"/>
                </a:lnTo>
                <a:lnTo>
                  <a:pt x="3399" y="1784"/>
                </a:lnTo>
                <a:lnTo>
                  <a:pt x="3412" y="1775"/>
                </a:lnTo>
                <a:lnTo>
                  <a:pt x="3423" y="1766"/>
                </a:lnTo>
                <a:lnTo>
                  <a:pt x="3433" y="1758"/>
                </a:lnTo>
                <a:lnTo>
                  <a:pt x="3439" y="1752"/>
                </a:lnTo>
                <a:lnTo>
                  <a:pt x="3447" y="1741"/>
                </a:lnTo>
                <a:lnTo>
                  <a:pt x="3456" y="1730"/>
                </a:lnTo>
                <a:lnTo>
                  <a:pt x="3458" y="1726"/>
                </a:lnTo>
                <a:lnTo>
                  <a:pt x="3458" y="1723"/>
                </a:lnTo>
                <a:lnTo>
                  <a:pt x="3459" y="1720"/>
                </a:lnTo>
                <a:lnTo>
                  <a:pt x="3459" y="1717"/>
                </a:lnTo>
                <a:lnTo>
                  <a:pt x="3458" y="1713"/>
                </a:lnTo>
                <a:lnTo>
                  <a:pt x="3456" y="1709"/>
                </a:lnTo>
                <a:lnTo>
                  <a:pt x="3454" y="1704"/>
                </a:lnTo>
                <a:lnTo>
                  <a:pt x="3451" y="1700"/>
                </a:lnTo>
                <a:lnTo>
                  <a:pt x="3434" y="1682"/>
                </a:lnTo>
                <a:lnTo>
                  <a:pt x="3419" y="1667"/>
                </a:lnTo>
                <a:lnTo>
                  <a:pt x="3411" y="1660"/>
                </a:lnTo>
                <a:lnTo>
                  <a:pt x="3403" y="1656"/>
                </a:lnTo>
                <a:lnTo>
                  <a:pt x="3400" y="1655"/>
                </a:lnTo>
                <a:lnTo>
                  <a:pt x="3396" y="1655"/>
                </a:lnTo>
                <a:lnTo>
                  <a:pt x="3393" y="1656"/>
                </a:lnTo>
                <a:lnTo>
                  <a:pt x="3390" y="1657"/>
                </a:lnTo>
                <a:lnTo>
                  <a:pt x="3374" y="1666"/>
                </a:lnTo>
                <a:lnTo>
                  <a:pt x="3356" y="1674"/>
                </a:lnTo>
                <a:lnTo>
                  <a:pt x="3347" y="1678"/>
                </a:lnTo>
                <a:lnTo>
                  <a:pt x="3339" y="1681"/>
                </a:lnTo>
                <a:lnTo>
                  <a:pt x="3330" y="1683"/>
                </a:lnTo>
                <a:lnTo>
                  <a:pt x="3322" y="1686"/>
                </a:lnTo>
                <a:lnTo>
                  <a:pt x="3314" y="1684"/>
                </a:lnTo>
                <a:lnTo>
                  <a:pt x="3306" y="1683"/>
                </a:lnTo>
                <a:lnTo>
                  <a:pt x="3298" y="1681"/>
                </a:lnTo>
                <a:lnTo>
                  <a:pt x="3290" y="1678"/>
                </a:lnTo>
                <a:lnTo>
                  <a:pt x="3279" y="1673"/>
                </a:lnTo>
                <a:lnTo>
                  <a:pt x="3274" y="1671"/>
                </a:lnTo>
                <a:lnTo>
                  <a:pt x="3275" y="1665"/>
                </a:lnTo>
                <a:lnTo>
                  <a:pt x="3274" y="1654"/>
                </a:lnTo>
                <a:lnTo>
                  <a:pt x="3273" y="1652"/>
                </a:lnTo>
                <a:lnTo>
                  <a:pt x="3271" y="1650"/>
                </a:lnTo>
                <a:lnTo>
                  <a:pt x="3270" y="1648"/>
                </a:lnTo>
                <a:lnTo>
                  <a:pt x="3268" y="1647"/>
                </a:lnTo>
                <a:lnTo>
                  <a:pt x="3266" y="1647"/>
                </a:lnTo>
                <a:lnTo>
                  <a:pt x="3263" y="1648"/>
                </a:lnTo>
                <a:lnTo>
                  <a:pt x="3260" y="1650"/>
                </a:lnTo>
                <a:lnTo>
                  <a:pt x="3256" y="1653"/>
                </a:lnTo>
                <a:lnTo>
                  <a:pt x="3246" y="1661"/>
                </a:lnTo>
                <a:lnTo>
                  <a:pt x="3239" y="1671"/>
                </a:lnTo>
                <a:lnTo>
                  <a:pt x="3232" y="1680"/>
                </a:lnTo>
                <a:lnTo>
                  <a:pt x="3226" y="1690"/>
                </a:lnTo>
                <a:lnTo>
                  <a:pt x="3222" y="1698"/>
                </a:lnTo>
                <a:lnTo>
                  <a:pt x="3220" y="1705"/>
                </a:lnTo>
                <a:lnTo>
                  <a:pt x="3219" y="1711"/>
                </a:lnTo>
                <a:lnTo>
                  <a:pt x="3219" y="1715"/>
                </a:lnTo>
                <a:lnTo>
                  <a:pt x="3222" y="1717"/>
                </a:lnTo>
                <a:lnTo>
                  <a:pt x="3227" y="1719"/>
                </a:lnTo>
                <a:lnTo>
                  <a:pt x="3234" y="1721"/>
                </a:lnTo>
                <a:lnTo>
                  <a:pt x="3240" y="1722"/>
                </a:lnTo>
                <a:lnTo>
                  <a:pt x="3253" y="1725"/>
                </a:lnTo>
                <a:lnTo>
                  <a:pt x="3258" y="1726"/>
                </a:lnTo>
                <a:lnTo>
                  <a:pt x="3251" y="1728"/>
                </a:lnTo>
                <a:lnTo>
                  <a:pt x="3235" y="1734"/>
                </a:lnTo>
                <a:lnTo>
                  <a:pt x="3226" y="1738"/>
                </a:lnTo>
                <a:lnTo>
                  <a:pt x="3219" y="1741"/>
                </a:lnTo>
                <a:lnTo>
                  <a:pt x="3217" y="1743"/>
                </a:lnTo>
                <a:lnTo>
                  <a:pt x="3215" y="1745"/>
                </a:lnTo>
                <a:lnTo>
                  <a:pt x="3214" y="1746"/>
                </a:lnTo>
                <a:lnTo>
                  <a:pt x="3214" y="1748"/>
                </a:lnTo>
                <a:lnTo>
                  <a:pt x="3216" y="1752"/>
                </a:lnTo>
                <a:lnTo>
                  <a:pt x="3219" y="1753"/>
                </a:lnTo>
                <a:lnTo>
                  <a:pt x="3221" y="1754"/>
                </a:lnTo>
                <a:lnTo>
                  <a:pt x="3224" y="1754"/>
                </a:lnTo>
                <a:lnTo>
                  <a:pt x="3230" y="1753"/>
                </a:lnTo>
                <a:lnTo>
                  <a:pt x="3232" y="1752"/>
                </a:lnTo>
                <a:close/>
                <a:moveTo>
                  <a:pt x="3611" y="2283"/>
                </a:moveTo>
                <a:lnTo>
                  <a:pt x="3600" y="2292"/>
                </a:lnTo>
                <a:lnTo>
                  <a:pt x="3582" y="2306"/>
                </a:lnTo>
                <a:lnTo>
                  <a:pt x="3571" y="2312"/>
                </a:lnTo>
                <a:lnTo>
                  <a:pt x="3562" y="2316"/>
                </a:lnTo>
                <a:lnTo>
                  <a:pt x="3558" y="2317"/>
                </a:lnTo>
                <a:lnTo>
                  <a:pt x="3553" y="2318"/>
                </a:lnTo>
                <a:lnTo>
                  <a:pt x="3551" y="2318"/>
                </a:lnTo>
                <a:lnTo>
                  <a:pt x="3548" y="2316"/>
                </a:lnTo>
                <a:lnTo>
                  <a:pt x="3539" y="2309"/>
                </a:lnTo>
                <a:lnTo>
                  <a:pt x="3527" y="2298"/>
                </a:lnTo>
                <a:lnTo>
                  <a:pt x="3522" y="2294"/>
                </a:lnTo>
                <a:lnTo>
                  <a:pt x="3520" y="2290"/>
                </a:lnTo>
                <a:lnTo>
                  <a:pt x="3519" y="2289"/>
                </a:lnTo>
                <a:lnTo>
                  <a:pt x="3520" y="2287"/>
                </a:lnTo>
                <a:lnTo>
                  <a:pt x="3521" y="2286"/>
                </a:lnTo>
                <a:lnTo>
                  <a:pt x="3523" y="2285"/>
                </a:lnTo>
                <a:lnTo>
                  <a:pt x="3534" y="2282"/>
                </a:lnTo>
                <a:lnTo>
                  <a:pt x="3546" y="2276"/>
                </a:lnTo>
                <a:lnTo>
                  <a:pt x="3550" y="2273"/>
                </a:lnTo>
                <a:lnTo>
                  <a:pt x="3552" y="2269"/>
                </a:lnTo>
                <a:lnTo>
                  <a:pt x="3553" y="2267"/>
                </a:lnTo>
                <a:lnTo>
                  <a:pt x="3553" y="2265"/>
                </a:lnTo>
                <a:lnTo>
                  <a:pt x="3553" y="2262"/>
                </a:lnTo>
                <a:lnTo>
                  <a:pt x="3552" y="2260"/>
                </a:lnTo>
                <a:lnTo>
                  <a:pt x="3546" y="2248"/>
                </a:lnTo>
                <a:lnTo>
                  <a:pt x="3538" y="2237"/>
                </a:lnTo>
                <a:lnTo>
                  <a:pt x="3534" y="2232"/>
                </a:lnTo>
                <a:lnTo>
                  <a:pt x="3531" y="2227"/>
                </a:lnTo>
                <a:lnTo>
                  <a:pt x="3530" y="2223"/>
                </a:lnTo>
                <a:lnTo>
                  <a:pt x="3531" y="2219"/>
                </a:lnTo>
                <a:lnTo>
                  <a:pt x="3534" y="2216"/>
                </a:lnTo>
                <a:lnTo>
                  <a:pt x="3541" y="2211"/>
                </a:lnTo>
                <a:lnTo>
                  <a:pt x="3549" y="2206"/>
                </a:lnTo>
                <a:lnTo>
                  <a:pt x="3558" y="2202"/>
                </a:lnTo>
                <a:lnTo>
                  <a:pt x="3572" y="2195"/>
                </a:lnTo>
                <a:lnTo>
                  <a:pt x="3580" y="2192"/>
                </a:lnTo>
                <a:lnTo>
                  <a:pt x="3585" y="2188"/>
                </a:lnTo>
                <a:lnTo>
                  <a:pt x="3595" y="2182"/>
                </a:lnTo>
                <a:lnTo>
                  <a:pt x="3602" y="2179"/>
                </a:lnTo>
                <a:lnTo>
                  <a:pt x="3607" y="2177"/>
                </a:lnTo>
                <a:lnTo>
                  <a:pt x="3609" y="2177"/>
                </a:lnTo>
                <a:lnTo>
                  <a:pt x="3611" y="2177"/>
                </a:lnTo>
                <a:lnTo>
                  <a:pt x="3612" y="2177"/>
                </a:lnTo>
                <a:lnTo>
                  <a:pt x="3612" y="2178"/>
                </a:lnTo>
                <a:lnTo>
                  <a:pt x="3619" y="2187"/>
                </a:lnTo>
                <a:lnTo>
                  <a:pt x="3627" y="2198"/>
                </a:lnTo>
                <a:lnTo>
                  <a:pt x="3626" y="2208"/>
                </a:lnTo>
                <a:lnTo>
                  <a:pt x="3622" y="2220"/>
                </a:lnTo>
                <a:lnTo>
                  <a:pt x="3619" y="2229"/>
                </a:lnTo>
                <a:lnTo>
                  <a:pt x="3618" y="2233"/>
                </a:lnTo>
                <a:lnTo>
                  <a:pt x="3617" y="2244"/>
                </a:lnTo>
                <a:lnTo>
                  <a:pt x="3616" y="2264"/>
                </a:lnTo>
                <a:lnTo>
                  <a:pt x="3616" y="2271"/>
                </a:lnTo>
                <a:lnTo>
                  <a:pt x="3614" y="2277"/>
                </a:lnTo>
                <a:lnTo>
                  <a:pt x="3612" y="2282"/>
                </a:lnTo>
                <a:lnTo>
                  <a:pt x="3611" y="2283"/>
                </a:lnTo>
                <a:close/>
                <a:moveTo>
                  <a:pt x="3660" y="2258"/>
                </a:moveTo>
                <a:lnTo>
                  <a:pt x="3659" y="2272"/>
                </a:lnTo>
                <a:lnTo>
                  <a:pt x="3657" y="2281"/>
                </a:lnTo>
                <a:lnTo>
                  <a:pt x="3656" y="2284"/>
                </a:lnTo>
                <a:lnTo>
                  <a:pt x="3655" y="2286"/>
                </a:lnTo>
                <a:lnTo>
                  <a:pt x="3654" y="2287"/>
                </a:lnTo>
                <a:lnTo>
                  <a:pt x="3651" y="2289"/>
                </a:lnTo>
                <a:lnTo>
                  <a:pt x="3649" y="2291"/>
                </a:lnTo>
                <a:lnTo>
                  <a:pt x="3648" y="2292"/>
                </a:lnTo>
                <a:lnTo>
                  <a:pt x="3648" y="2294"/>
                </a:lnTo>
                <a:lnTo>
                  <a:pt x="3649" y="2295"/>
                </a:lnTo>
                <a:lnTo>
                  <a:pt x="3651" y="2298"/>
                </a:lnTo>
                <a:lnTo>
                  <a:pt x="3653" y="2304"/>
                </a:lnTo>
                <a:lnTo>
                  <a:pt x="3655" y="2306"/>
                </a:lnTo>
                <a:lnTo>
                  <a:pt x="3658" y="2307"/>
                </a:lnTo>
                <a:lnTo>
                  <a:pt x="3661" y="2309"/>
                </a:lnTo>
                <a:lnTo>
                  <a:pt x="3665" y="2310"/>
                </a:lnTo>
                <a:lnTo>
                  <a:pt x="3668" y="2311"/>
                </a:lnTo>
                <a:lnTo>
                  <a:pt x="3670" y="2313"/>
                </a:lnTo>
                <a:lnTo>
                  <a:pt x="3669" y="2315"/>
                </a:lnTo>
                <a:lnTo>
                  <a:pt x="3665" y="2318"/>
                </a:lnTo>
                <a:lnTo>
                  <a:pt x="3652" y="2329"/>
                </a:lnTo>
                <a:lnTo>
                  <a:pt x="3633" y="2340"/>
                </a:lnTo>
                <a:lnTo>
                  <a:pt x="3626" y="2347"/>
                </a:lnTo>
                <a:lnTo>
                  <a:pt x="3621" y="2352"/>
                </a:lnTo>
                <a:lnTo>
                  <a:pt x="3619" y="2354"/>
                </a:lnTo>
                <a:lnTo>
                  <a:pt x="3619" y="2356"/>
                </a:lnTo>
                <a:lnTo>
                  <a:pt x="3621" y="2358"/>
                </a:lnTo>
                <a:lnTo>
                  <a:pt x="3624" y="2360"/>
                </a:lnTo>
                <a:lnTo>
                  <a:pt x="3632" y="2361"/>
                </a:lnTo>
                <a:lnTo>
                  <a:pt x="3644" y="2361"/>
                </a:lnTo>
                <a:lnTo>
                  <a:pt x="3659" y="2359"/>
                </a:lnTo>
                <a:lnTo>
                  <a:pt x="3674" y="2357"/>
                </a:lnTo>
                <a:lnTo>
                  <a:pt x="3700" y="2352"/>
                </a:lnTo>
                <a:lnTo>
                  <a:pt x="3712" y="2350"/>
                </a:lnTo>
                <a:lnTo>
                  <a:pt x="3721" y="2349"/>
                </a:lnTo>
                <a:lnTo>
                  <a:pt x="3742" y="2348"/>
                </a:lnTo>
                <a:lnTo>
                  <a:pt x="3754" y="2346"/>
                </a:lnTo>
                <a:lnTo>
                  <a:pt x="3765" y="2344"/>
                </a:lnTo>
                <a:lnTo>
                  <a:pt x="3769" y="2342"/>
                </a:lnTo>
                <a:lnTo>
                  <a:pt x="3773" y="2341"/>
                </a:lnTo>
                <a:lnTo>
                  <a:pt x="3776" y="2339"/>
                </a:lnTo>
                <a:lnTo>
                  <a:pt x="3779" y="2337"/>
                </a:lnTo>
                <a:lnTo>
                  <a:pt x="3780" y="2333"/>
                </a:lnTo>
                <a:lnTo>
                  <a:pt x="3781" y="2329"/>
                </a:lnTo>
                <a:lnTo>
                  <a:pt x="3780" y="2324"/>
                </a:lnTo>
                <a:lnTo>
                  <a:pt x="3779" y="2319"/>
                </a:lnTo>
                <a:lnTo>
                  <a:pt x="3776" y="2314"/>
                </a:lnTo>
                <a:lnTo>
                  <a:pt x="3776" y="2310"/>
                </a:lnTo>
                <a:lnTo>
                  <a:pt x="3776" y="2306"/>
                </a:lnTo>
                <a:lnTo>
                  <a:pt x="3780" y="2303"/>
                </a:lnTo>
                <a:lnTo>
                  <a:pt x="3785" y="2295"/>
                </a:lnTo>
                <a:lnTo>
                  <a:pt x="3789" y="2290"/>
                </a:lnTo>
                <a:lnTo>
                  <a:pt x="3791" y="2284"/>
                </a:lnTo>
                <a:lnTo>
                  <a:pt x="3791" y="2276"/>
                </a:lnTo>
                <a:lnTo>
                  <a:pt x="3790" y="2265"/>
                </a:lnTo>
                <a:lnTo>
                  <a:pt x="3785" y="2247"/>
                </a:lnTo>
                <a:lnTo>
                  <a:pt x="3782" y="2238"/>
                </a:lnTo>
                <a:lnTo>
                  <a:pt x="3776" y="2229"/>
                </a:lnTo>
                <a:lnTo>
                  <a:pt x="3774" y="2226"/>
                </a:lnTo>
                <a:lnTo>
                  <a:pt x="3771" y="2222"/>
                </a:lnTo>
                <a:lnTo>
                  <a:pt x="3768" y="2220"/>
                </a:lnTo>
                <a:lnTo>
                  <a:pt x="3765" y="2218"/>
                </a:lnTo>
                <a:lnTo>
                  <a:pt x="3757" y="2210"/>
                </a:lnTo>
                <a:lnTo>
                  <a:pt x="3744" y="2199"/>
                </a:lnTo>
                <a:lnTo>
                  <a:pt x="3730" y="2185"/>
                </a:lnTo>
                <a:lnTo>
                  <a:pt x="3717" y="2170"/>
                </a:lnTo>
                <a:lnTo>
                  <a:pt x="3704" y="2154"/>
                </a:lnTo>
                <a:lnTo>
                  <a:pt x="3694" y="2141"/>
                </a:lnTo>
                <a:lnTo>
                  <a:pt x="3691" y="2136"/>
                </a:lnTo>
                <a:lnTo>
                  <a:pt x="3687" y="2132"/>
                </a:lnTo>
                <a:lnTo>
                  <a:pt x="3686" y="2129"/>
                </a:lnTo>
                <a:lnTo>
                  <a:pt x="3687" y="2127"/>
                </a:lnTo>
                <a:lnTo>
                  <a:pt x="3697" y="2121"/>
                </a:lnTo>
                <a:lnTo>
                  <a:pt x="3713" y="2112"/>
                </a:lnTo>
                <a:lnTo>
                  <a:pt x="3719" y="2106"/>
                </a:lnTo>
                <a:lnTo>
                  <a:pt x="3723" y="2099"/>
                </a:lnTo>
                <a:lnTo>
                  <a:pt x="3724" y="2096"/>
                </a:lnTo>
                <a:lnTo>
                  <a:pt x="3724" y="2094"/>
                </a:lnTo>
                <a:lnTo>
                  <a:pt x="3723" y="2091"/>
                </a:lnTo>
                <a:lnTo>
                  <a:pt x="3720" y="2088"/>
                </a:lnTo>
                <a:lnTo>
                  <a:pt x="3713" y="2084"/>
                </a:lnTo>
                <a:lnTo>
                  <a:pt x="3704" y="2079"/>
                </a:lnTo>
                <a:lnTo>
                  <a:pt x="3696" y="2076"/>
                </a:lnTo>
                <a:lnTo>
                  <a:pt x="3688" y="2074"/>
                </a:lnTo>
                <a:lnTo>
                  <a:pt x="3681" y="2072"/>
                </a:lnTo>
                <a:lnTo>
                  <a:pt x="3676" y="2070"/>
                </a:lnTo>
                <a:lnTo>
                  <a:pt x="3674" y="2069"/>
                </a:lnTo>
                <a:lnTo>
                  <a:pt x="3673" y="2068"/>
                </a:lnTo>
                <a:lnTo>
                  <a:pt x="3673" y="2066"/>
                </a:lnTo>
                <a:lnTo>
                  <a:pt x="3673" y="2065"/>
                </a:lnTo>
                <a:lnTo>
                  <a:pt x="3682" y="2049"/>
                </a:lnTo>
                <a:lnTo>
                  <a:pt x="3690" y="2041"/>
                </a:lnTo>
                <a:lnTo>
                  <a:pt x="3668" y="2030"/>
                </a:lnTo>
                <a:lnTo>
                  <a:pt x="3656" y="2035"/>
                </a:lnTo>
                <a:lnTo>
                  <a:pt x="3639" y="2044"/>
                </a:lnTo>
                <a:lnTo>
                  <a:pt x="3634" y="2048"/>
                </a:lnTo>
                <a:lnTo>
                  <a:pt x="3629" y="2050"/>
                </a:lnTo>
                <a:lnTo>
                  <a:pt x="3622" y="2052"/>
                </a:lnTo>
                <a:lnTo>
                  <a:pt x="3616" y="2051"/>
                </a:lnTo>
                <a:lnTo>
                  <a:pt x="3612" y="2051"/>
                </a:lnTo>
                <a:lnTo>
                  <a:pt x="3608" y="2051"/>
                </a:lnTo>
                <a:lnTo>
                  <a:pt x="3604" y="2052"/>
                </a:lnTo>
                <a:lnTo>
                  <a:pt x="3599" y="2054"/>
                </a:lnTo>
                <a:lnTo>
                  <a:pt x="3592" y="2056"/>
                </a:lnTo>
                <a:lnTo>
                  <a:pt x="3590" y="2059"/>
                </a:lnTo>
                <a:lnTo>
                  <a:pt x="3593" y="2062"/>
                </a:lnTo>
                <a:lnTo>
                  <a:pt x="3603" y="2069"/>
                </a:lnTo>
                <a:lnTo>
                  <a:pt x="3607" y="2073"/>
                </a:lnTo>
                <a:lnTo>
                  <a:pt x="3610" y="2077"/>
                </a:lnTo>
                <a:lnTo>
                  <a:pt x="3612" y="2081"/>
                </a:lnTo>
                <a:lnTo>
                  <a:pt x="3612" y="2083"/>
                </a:lnTo>
                <a:lnTo>
                  <a:pt x="3598" y="2097"/>
                </a:lnTo>
                <a:lnTo>
                  <a:pt x="3588" y="2108"/>
                </a:lnTo>
                <a:lnTo>
                  <a:pt x="3607" y="2117"/>
                </a:lnTo>
                <a:lnTo>
                  <a:pt x="3603" y="2128"/>
                </a:lnTo>
                <a:lnTo>
                  <a:pt x="3608" y="2127"/>
                </a:lnTo>
                <a:lnTo>
                  <a:pt x="3616" y="2123"/>
                </a:lnTo>
                <a:lnTo>
                  <a:pt x="3620" y="2123"/>
                </a:lnTo>
                <a:lnTo>
                  <a:pt x="3625" y="2123"/>
                </a:lnTo>
                <a:lnTo>
                  <a:pt x="3626" y="2125"/>
                </a:lnTo>
                <a:lnTo>
                  <a:pt x="3626" y="2126"/>
                </a:lnTo>
                <a:lnTo>
                  <a:pt x="3626" y="2127"/>
                </a:lnTo>
                <a:lnTo>
                  <a:pt x="3625" y="2129"/>
                </a:lnTo>
                <a:lnTo>
                  <a:pt x="3621" y="2133"/>
                </a:lnTo>
                <a:lnTo>
                  <a:pt x="3619" y="2135"/>
                </a:lnTo>
                <a:lnTo>
                  <a:pt x="3616" y="2136"/>
                </a:lnTo>
                <a:lnTo>
                  <a:pt x="3614" y="2137"/>
                </a:lnTo>
                <a:lnTo>
                  <a:pt x="3612" y="2137"/>
                </a:lnTo>
                <a:lnTo>
                  <a:pt x="3610" y="2138"/>
                </a:lnTo>
                <a:lnTo>
                  <a:pt x="3609" y="2140"/>
                </a:lnTo>
                <a:lnTo>
                  <a:pt x="3609" y="2143"/>
                </a:lnTo>
                <a:lnTo>
                  <a:pt x="3615" y="2153"/>
                </a:lnTo>
                <a:lnTo>
                  <a:pt x="3617" y="2160"/>
                </a:lnTo>
                <a:lnTo>
                  <a:pt x="3617" y="2161"/>
                </a:lnTo>
                <a:lnTo>
                  <a:pt x="3617" y="2161"/>
                </a:lnTo>
                <a:lnTo>
                  <a:pt x="3618" y="2162"/>
                </a:lnTo>
                <a:lnTo>
                  <a:pt x="3620" y="2162"/>
                </a:lnTo>
                <a:lnTo>
                  <a:pt x="3625" y="2163"/>
                </a:lnTo>
                <a:lnTo>
                  <a:pt x="3629" y="2163"/>
                </a:lnTo>
                <a:lnTo>
                  <a:pt x="3634" y="2163"/>
                </a:lnTo>
                <a:lnTo>
                  <a:pt x="3638" y="2164"/>
                </a:lnTo>
                <a:lnTo>
                  <a:pt x="3640" y="2165"/>
                </a:lnTo>
                <a:lnTo>
                  <a:pt x="3641" y="2166"/>
                </a:lnTo>
                <a:lnTo>
                  <a:pt x="3642" y="2167"/>
                </a:lnTo>
                <a:lnTo>
                  <a:pt x="3643" y="2170"/>
                </a:lnTo>
                <a:lnTo>
                  <a:pt x="3643" y="2172"/>
                </a:lnTo>
                <a:lnTo>
                  <a:pt x="3646" y="2173"/>
                </a:lnTo>
                <a:lnTo>
                  <a:pt x="3648" y="2173"/>
                </a:lnTo>
                <a:lnTo>
                  <a:pt x="3651" y="2172"/>
                </a:lnTo>
                <a:lnTo>
                  <a:pt x="3653" y="2172"/>
                </a:lnTo>
                <a:lnTo>
                  <a:pt x="3655" y="2173"/>
                </a:lnTo>
                <a:lnTo>
                  <a:pt x="3656" y="2176"/>
                </a:lnTo>
                <a:lnTo>
                  <a:pt x="3655" y="2180"/>
                </a:lnTo>
                <a:lnTo>
                  <a:pt x="3652" y="2192"/>
                </a:lnTo>
                <a:lnTo>
                  <a:pt x="3650" y="2200"/>
                </a:lnTo>
                <a:lnTo>
                  <a:pt x="3649" y="2203"/>
                </a:lnTo>
                <a:lnTo>
                  <a:pt x="3649" y="2205"/>
                </a:lnTo>
                <a:lnTo>
                  <a:pt x="3650" y="2207"/>
                </a:lnTo>
                <a:lnTo>
                  <a:pt x="3651" y="2209"/>
                </a:lnTo>
                <a:lnTo>
                  <a:pt x="3659" y="2209"/>
                </a:lnTo>
                <a:lnTo>
                  <a:pt x="3672" y="2208"/>
                </a:lnTo>
                <a:lnTo>
                  <a:pt x="3678" y="2208"/>
                </a:lnTo>
                <a:lnTo>
                  <a:pt x="3683" y="2208"/>
                </a:lnTo>
                <a:lnTo>
                  <a:pt x="3685" y="2208"/>
                </a:lnTo>
                <a:lnTo>
                  <a:pt x="3687" y="2209"/>
                </a:lnTo>
                <a:lnTo>
                  <a:pt x="3688" y="2210"/>
                </a:lnTo>
                <a:lnTo>
                  <a:pt x="3690" y="2213"/>
                </a:lnTo>
                <a:lnTo>
                  <a:pt x="3688" y="2216"/>
                </a:lnTo>
                <a:lnTo>
                  <a:pt x="3685" y="2221"/>
                </a:lnTo>
                <a:lnTo>
                  <a:pt x="3682" y="2226"/>
                </a:lnTo>
                <a:lnTo>
                  <a:pt x="3677" y="2232"/>
                </a:lnTo>
                <a:lnTo>
                  <a:pt x="3669" y="2241"/>
                </a:lnTo>
                <a:lnTo>
                  <a:pt x="3664" y="2245"/>
                </a:lnTo>
                <a:lnTo>
                  <a:pt x="3660" y="2258"/>
                </a:lnTo>
                <a:close/>
                <a:moveTo>
                  <a:pt x="7619" y="4639"/>
                </a:moveTo>
                <a:lnTo>
                  <a:pt x="7627" y="4628"/>
                </a:lnTo>
                <a:lnTo>
                  <a:pt x="7643" y="4608"/>
                </a:lnTo>
                <a:lnTo>
                  <a:pt x="7656" y="4589"/>
                </a:lnTo>
                <a:lnTo>
                  <a:pt x="7663" y="4578"/>
                </a:lnTo>
                <a:lnTo>
                  <a:pt x="7672" y="4574"/>
                </a:lnTo>
                <a:lnTo>
                  <a:pt x="7680" y="4569"/>
                </a:lnTo>
                <a:lnTo>
                  <a:pt x="7685" y="4554"/>
                </a:lnTo>
                <a:lnTo>
                  <a:pt x="7690" y="4542"/>
                </a:lnTo>
                <a:lnTo>
                  <a:pt x="7692" y="4541"/>
                </a:lnTo>
                <a:lnTo>
                  <a:pt x="7694" y="4539"/>
                </a:lnTo>
                <a:lnTo>
                  <a:pt x="7695" y="4537"/>
                </a:lnTo>
                <a:lnTo>
                  <a:pt x="7696" y="4536"/>
                </a:lnTo>
                <a:lnTo>
                  <a:pt x="7696" y="4535"/>
                </a:lnTo>
                <a:lnTo>
                  <a:pt x="7695" y="4534"/>
                </a:lnTo>
                <a:lnTo>
                  <a:pt x="7691" y="4531"/>
                </a:lnTo>
                <a:lnTo>
                  <a:pt x="7687" y="4527"/>
                </a:lnTo>
                <a:lnTo>
                  <a:pt x="7684" y="4525"/>
                </a:lnTo>
                <a:lnTo>
                  <a:pt x="7680" y="4523"/>
                </a:lnTo>
                <a:lnTo>
                  <a:pt x="7677" y="4522"/>
                </a:lnTo>
                <a:lnTo>
                  <a:pt x="7674" y="4523"/>
                </a:lnTo>
                <a:lnTo>
                  <a:pt x="7668" y="4526"/>
                </a:lnTo>
                <a:lnTo>
                  <a:pt x="7662" y="4531"/>
                </a:lnTo>
                <a:lnTo>
                  <a:pt x="7658" y="4533"/>
                </a:lnTo>
                <a:lnTo>
                  <a:pt x="7655" y="4534"/>
                </a:lnTo>
                <a:lnTo>
                  <a:pt x="7652" y="4534"/>
                </a:lnTo>
                <a:lnTo>
                  <a:pt x="7650" y="4532"/>
                </a:lnTo>
                <a:lnTo>
                  <a:pt x="7641" y="4520"/>
                </a:lnTo>
                <a:lnTo>
                  <a:pt x="7627" y="4504"/>
                </a:lnTo>
                <a:lnTo>
                  <a:pt x="7622" y="4500"/>
                </a:lnTo>
                <a:lnTo>
                  <a:pt x="7618" y="4499"/>
                </a:lnTo>
                <a:lnTo>
                  <a:pt x="7614" y="4499"/>
                </a:lnTo>
                <a:lnTo>
                  <a:pt x="7611" y="4499"/>
                </a:lnTo>
                <a:lnTo>
                  <a:pt x="7609" y="4500"/>
                </a:lnTo>
                <a:lnTo>
                  <a:pt x="7607" y="4500"/>
                </a:lnTo>
                <a:lnTo>
                  <a:pt x="7606" y="4499"/>
                </a:lnTo>
                <a:lnTo>
                  <a:pt x="7605" y="4497"/>
                </a:lnTo>
                <a:lnTo>
                  <a:pt x="7605" y="4493"/>
                </a:lnTo>
                <a:lnTo>
                  <a:pt x="7606" y="4491"/>
                </a:lnTo>
                <a:lnTo>
                  <a:pt x="7609" y="4488"/>
                </a:lnTo>
                <a:lnTo>
                  <a:pt x="7611" y="4486"/>
                </a:lnTo>
                <a:lnTo>
                  <a:pt x="7612" y="4484"/>
                </a:lnTo>
                <a:lnTo>
                  <a:pt x="7611" y="4481"/>
                </a:lnTo>
                <a:lnTo>
                  <a:pt x="7609" y="4478"/>
                </a:lnTo>
                <a:lnTo>
                  <a:pt x="7603" y="4474"/>
                </a:lnTo>
                <a:lnTo>
                  <a:pt x="7594" y="4468"/>
                </a:lnTo>
                <a:lnTo>
                  <a:pt x="7587" y="4462"/>
                </a:lnTo>
                <a:lnTo>
                  <a:pt x="7580" y="4455"/>
                </a:lnTo>
                <a:lnTo>
                  <a:pt x="7574" y="4447"/>
                </a:lnTo>
                <a:lnTo>
                  <a:pt x="7568" y="4441"/>
                </a:lnTo>
                <a:lnTo>
                  <a:pt x="7563" y="4437"/>
                </a:lnTo>
                <a:lnTo>
                  <a:pt x="7561" y="4435"/>
                </a:lnTo>
                <a:lnTo>
                  <a:pt x="7559" y="4435"/>
                </a:lnTo>
                <a:lnTo>
                  <a:pt x="7558" y="4435"/>
                </a:lnTo>
                <a:lnTo>
                  <a:pt x="7556" y="4437"/>
                </a:lnTo>
                <a:lnTo>
                  <a:pt x="7555" y="4440"/>
                </a:lnTo>
                <a:lnTo>
                  <a:pt x="7554" y="4442"/>
                </a:lnTo>
                <a:lnTo>
                  <a:pt x="7555" y="4444"/>
                </a:lnTo>
                <a:lnTo>
                  <a:pt x="7555" y="4446"/>
                </a:lnTo>
                <a:lnTo>
                  <a:pt x="7558" y="4451"/>
                </a:lnTo>
                <a:lnTo>
                  <a:pt x="7561" y="4459"/>
                </a:lnTo>
                <a:lnTo>
                  <a:pt x="7564" y="4469"/>
                </a:lnTo>
                <a:lnTo>
                  <a:pt x="7567" y="4478"/>
                </a:lnTo>
                <a:lnTo>
                  <a:pt x="7570" y="4484"/>
                </a:lnTo>
                <a:lnTo>
                  <a:pt x="7574" y="4487"/>
                </a:lnTo>
                <a:lnTo>
                  <a:pt x="7578" y="4489"/>
                </a:lnTo>
                <a:lnTo>
                  <a:pt x="7585" y="4492"/>
                </a:lnTo>
                <a:lnTo>
                  <a:pt x="7589" y="4496"/>
                </a:lnTo>
                <a:lnTo>
                  <a:pt x="7592" y="4499"/>
                </a:lnTo>
                <a:lnTo>
                  <a:pt x="7596" y="4503"/>
                </a:lnTo>
                <a:lnTo>
                  <a:pt x="7597" y="4509"/>
                </a:lnTo>
                <a:lnTo>
                  <a:pt x="7599" y="4522"/>
                </a:lnTo>
                <a:lnTo>
                  <a:pt x="7601" y="4533"/>
                </a:lnTo>
                <a:lnTo>
                  <a:pt x="7601" y="4537"/>
                </a:lnTo>
                <a:lnTo>
                  <a:pt x="7600" y="4543"/>
                </a:lnTo>
                <a:lnTo>
                  <a:pt x="7598" y="4547"/>
                </a:lnTo>
                <a:lnTo>
                  <a:pt x="7596" y="4551"/>
                </a:lnTo>
                <a:lnTo>
                  <a:pt x="7589" y="4559"/>
                </a:lnTo>
                <a:lnTo>
                  <a:pt x="7584" y="4568"/>
                </a:lnTo>
                <a:lnTo>
                  <a:pt x="7583" y="4572"/>
                </a:lnTo>
                <a:lnTo>
                  <a:pt x="7582" y="4576"/>
                </a:lnTo>
                <a:lnTo>
                  <a:pt x="7582" y="4579"/>
                </a:lnTo>
                <a:lnTo>
                  <a:pt x="7582" y="4583"/>
                </a:lnTo>
                <a:lnTo>
                  <a:pt x="7585" y="4585"/>
                </a:lnTo>
                <a:lnTo>
                  <a:pt x="7590" y="4587"/>
                </a:lnTo>
                <a:lnTo>
                  <a:pt x="7597" y="4588"/>
                </a:lnTo>
                <a:lnTo>
                  <a:pt x="7604" y="4590"/>
                </a:lnTo>
                <a:lnTo>
                  <a:pt x="7610" y="4591"/>
                </a:lnTo>
                <a:lnTo>
                  <a:pt x="7615" y="4593"/>
                </a:lnTo>
                <a:lnTo>
                  <a:pt x="7617" y="4594"/>
                </a:lnTo>
                <a:lnTo>
                  <a:pt x="7618" y="4595"/>
                </a:lnTo>
                <a:lnTo>
                  <a:pt x="7618" y="4597"/>
                </a:lnTo>
                <a:lnTo>
                  <a:pt x="7617" y="4598"/>
                </a:lnTo>
                <a:lnTo>
                  <a:pt x="7611" y="4605"/>
                </a:lnTo>
                <a:lnTo>
                  <a:pt x="7609" y="4611"/>
                </a:lnTo>
                <a:lnTo>
                  <a:pt x="7608" y="4617"/>
                </a:lnTo>
                <a:lnTo>
                  <a:pt x="7608" y="4624"/>
                </a:lnTo>
                <a:lnTo>
                  <a:pt x="7607" y="4633"/>
                </a:lnTo>
                <a:lnTo>
                  <a:pt x="7606" y="4639"/>
                </a:lnTo>
                <a:lnTo>
                  <a:pt x="7606" y="4642"/>
                </a:lnTo>
                <a:lnTo>
                  <a:pt x="7606" y="4644"/>
                </a:lnTo>
                <a:lnTo>
                  <a:pt x="7607" y="4645"/>
                </a:lnTo>
                <a:lnTo>
                  <a:pt x="7608" y="4645"/>
                </a:lnTo>
                <a:lnTo>
                  <a:pt x="7613" y="4644"/>
                </a:lnTo>
                <a:lnTo>
                  <a:pt x="7617" y="4642"/>
                </a:lnTo>
                <a:lnTo>
                  <a:pt x="7618" y="4640"/>
                </a:lnTo>
                <a:lnTo>
                  <a:pt x="7619" y="4639"/>
                </a:lnTo>
                <a:close/>
                <a:moveTo>
                  <a:pt x="7423" y="4766"/>
                </a:moveTo>
                <a:lnTo>
                  <a:pt x="7428" y="4773"/>
                </a:lnTo>
                <a:lnTo>
                  <a:pt x="7437" y="4785"/>
                </a:lnTo>
                <a:lnTo>
                  <a:pt x="7443" y="4791"/>
                </a:lnTo>
                <a:lnTo>
                  <a:pt x="7447" y="4797"/>
                </a:lnTo>
                <a:lnTo>
                  <a:pt x="7449" y="4800"/>
                </a:lnTo>
                <a:lnTo>
                  <a:pt x="7449" y="4804"/>
                </a:lnTo>
                <a:lnTo>
                  <a:pt x="7447" y="4806"/>
                </a:lnTo>
                <a:lnTo>
                  <a:pt x="7443" y="4809"/>
                </a:lnTo>
                <a:lnTo>
                  <a:pt x="7442" y="4811"/>
                </a:lnTo>
                <a:lnTo>
                  <a:pt x="7440" y="4813"/>
                </a:lnTo>
                <a:lnTo>
                  <a:pt x="7442" y="4815"/>
                </a:lnTo>
                <a:lnTo>
                  <a:pt x="7443" y="4818"/>
                </a:lnTo>
                <a:lnTo>
                  <a:pt x="7444" y="4819"/>
                </a:lnTo>
                <a:lnTo>
                  <a:pt x="7446" y="4819"/>
                </a:lnTo>
                <a:lnTo>
                  <a:pt x="7448" y="4819"/>
                </a:lnTo>
                <a:lnTo>
                  <a:pt x="7451" y="4819"/>
                </a:lnTo>
                <a:lnTo>
                  <a:pt x="7456" y="4817"/>
                </a:lnTo>
                <a:lnTo>
                  <a:pt x="7462" y="4815"/>
                </a:lnTo>
                <a:lnTo>
                  <a:pt x="7474" y="4808"/>
                </a:lnTo>
                <a:lnTo>
                  <a:pt x="7482" y="4800"/>
                </a:lnTo>
                <a:lnTo>
                  <a:pt x="7491" y="4792"/>
                </a:lnTo>
                <a:lnTo>
                  <a:pt x="7504" y="4782"/>
                </a:lnTo>
                <a:lnTo>
                  <a:pt x="7511" y="4775"/>
                </a:lnTo>
                <a:lnTo>
                  <a:pt x="7516" y="4770"/>
                </a:lnTo>
                <a:lnTo>
                  <a:pt x="7519" y="4765"/>
                </a:lnTo>
                <a:lnTo>
                  <a:pt x="7521" y="4762"/>
                </a:lnTo>
                <a:lnTo>
                  <a:pt x="7521" y="4751"/>
                </a:lnTo>
                <a:lnTo>
                  <a:pt x="7523" y="4737"/>
                </a:lnTo>
                <a:lnTo>
                  <a:pt x="7524" y="4729"/>
                </a:lnTo>
                <a:lnTo>
                  <a:pt x="7526" y="4724"/>
                </a:lnTo>
                <a:lnTo>
                  <a:pt x="7527" y="4722"/>
                </a:lnTo>
                <a:lnTo>
                  <a:pt x="7528" y="4721"/>
                </a:lnTo>
                <a:lnTo>
                  <a:pt x="7530" y="4721"/>
                </a:lnTo>
                <a:lnTo>
                  <a:pt x="7532" y="4721"/>
                </a:lnTo>
                <a:lnTo>
                  <a:pt x="7536" y="4722"/>
                </a:lnTo>
                <a:lnTo>
                  <a:pt x="7540" y="4723"/>
                </a:lnTo>
                <a:lnTo>
                  <a:pt x="7545" y="4723"/>
                </a:lnTo>
                <a:lnTo>
                  <a:pt x="7550" y="4722"/>
                </a:lnTo>
                <a:lnTo>
                  <a:pt x="7555" y="4721"/>
                </a:lnTo>
                <a:lnTo>
                  <a:pt x="7559" y="4719"/>
                </a:lnTo>
                <a:lnTo>
                  <a:pt x="7562" y="4718"/>
                </a:lnTo>
                <a:lnTo>
                  <a:pt x="7564" y="4716"/>
                </a:lnTo>
                <a:lnTo>
                  <a:pt x="7569" y="4705"/>
                </a:lnTo>
                <a:lnTo>
                  <a:pt x="7577" y="4688"/>
                </a:lnTo>
                <a:lnTo>
                  <a:pt x="7584" y="4672"/>
                </a:lnTo>
                <a:lnTo>
                  <a:pt x="7588" y="4663"/>
                </a:lnTo>
                <a:lnTo>
                  <a:pt x="7591" y="4657"/>
                </a:lnTo>
                <a:lnTo>
                  <a:pt x="7594" y="4646"/>
                </a:lnTo>
                <a:lnTo>
                  <a:pt x="7598" y="4637"/>
                </a:lnTo>
                <a:lnTo>
                  <a:pt x="7600" y="4631"/>
                </a:lnTo>
                <a:lnTo>
                  <a:pt x="7598" y="4626"/>
                </a:lnTo>
                <a:lnTo>
                  <a:pt x="7593" y="4618"/>
                </a:lnTo>
                <a:lnTo>
                  <a:pt x="7591" y="4614"/>
                </a:lnTo>
                <a:lnTo>
                  <a:pt x="7588" y="4611"/>
                </a:lnTo>
                <a:lnTo>
                  <a:pt x="7585" y="4610"/>
                </a:lnTo>
                <a:lnTo>
                  <a:pt x="7582" y="4611"/>
                </a:lnTo>
                <a:lnTo>
                  <a:pt x="7577" y="4614"/>
                </a:lnTo>
                <a:lnTo>
                  <a:pt x="7572" y="4618"/>
                </a:lnTo>
                <a:lnTo>
                  <a:pt x="7571" y="4620"/>
                </a:lnTo>
                <a:lnTo>
                  <a:pt x="7569" y="4620"/>
                </a:lnTo>
                <a:lnTo>
                  <a:pt x="7567" y="4620"/>
                </a:lnTo>
                <a:lnTo>
                  <a:pt x="7565" y="4618"/>
                </a:lnTo>
                <a:lnTo>
                  <a:pt x="7560" y="4613"/>
                </a:lnTo>
                <a:lnTo>
                  <a:pt x="7554" y="4609"/>
                </a:lnTo>
                <a:lnTo>
                  <a:pt x="7549" y="4609"/>
                </a:lnTo>
                <a:lnTo>
                  <a:pt x="7546" y="4609"/>
                </a:lnTo>
                <a:lnTo>
                  <a:pt x="7544" y="4610"/>
                </a:lnTo>
                <a:lnTo>
                  <a:pt x="7541" y="4613"/>
                </a:lnTo>
                <a:lnTo>
                  <a:pt x="7536" y="4629"/>
                </a:lnTo>
                <a:lnTo>
                  <a:pt x="7532" y="4643"/>
                </a:lnTo>
                <a:lnTo>
                  <a:pt x="7530" y="4652"/>
                </a:lnTo>
                <a:lnTo>
                  <a:pt x="7525" y="4661"/>
                </a:lnTo>
                <a:lnTo>
                  <a:pt x="7522" y="4667"/>
                </a:lnTo>
                <a:lnTo>
                  <a:pt x="7517" y="4674"/>
                </a:lnTo>
                <a:lnTo>
                  <a:pt x="7510" y="4681"/>
                </a:lnTo>
                <a:lnTo>
                  <a:pt x="7499" y="4689"/>
                </a:lnTo>
                <a:lnTo>
                  <a:pt x="7475" y="4708"/>
                </a:lnTo>
                <a:lnTo>
                  <a:pt x="7453" y="4727"/>
                </a:lnTo>
                <a:lnTo>
                  <a:pt x="7436" y="4743"/>
                </a:lnTo>
                <a:lnTo>
                  <a:pt x="7426" y="4751"/>
                </a:lnTo>
                <a:lnTo>
                  <a:pt x="7424" y="4754"/>
                </a:lnTo>
                <a:lnTo>
                  <a:pt x="7423" y="4756"/>
                </a:lnTo>
                <a:lnTo>
                  <a:pt x="7422" y="4759"/>
                </a:lnTo>
                <a:lnTo>
                  <a:pt x="7422" y="4761"/>
                </a:lnTo>
                <a:lnTo>
                  <a:pt x="7423" y="4765"/>
                </a:lnTo>
                <a:lnTo>
                  <a:pt x="7423" y="4766"/>
                </a:lnTo>
                <a:close/>
                <a:moveTo>
                  <a:pt x="6941" y="4620"/>
                </a:moveTo>
                <a:lnTo>
                  <a:pt x="6946" y="4637"/>
                </a:lnTo>
                <a:lnTo>
                  <a:pt x="6955" y="4664"/>
                </a:lnTo>
                <a:lnTo>
                  <a:pt x="6962" y="4678"/>
                </a:lnTo>
                <a:lnTo>
                  <a:pt x="6968" y="4689"/>
                </a:lnTo>
                <a:lnTo>
                  <a:pt x="6971" y="4695"/>
                </a:lnTo>
                <a:lnTo>
                  <a:pt x="6974" y="4699"/>
                </a:lnTo>
                <a:lnTo>
                  <a:pt x="6977" y="4701"/>
                </a:lnTo>
                <a:lnTo>
                  <a:pt x="6981" y="4702"/>
                </a:lnTo>
                <a:lnTo>
                  <a:pt x="6984" y="4703"/>
                </a:lnTo>
                <a:lnTo>
                  <a:pt x="6987" y="4702"/>
                </a:lnTo>
                <a:lnTo>
                  <a:pt x="6990" y="4701"/>
                </a:lnTo>
                <a:lnTo>
                  <a:pt x="6993" y="4699"/>
                </a:lnTo>
                <a:lnTo>
                  <a:pt x="6999" y="4694"/>
                </a:lnTo>
                <a:lnTo>
                  <a:pt x="7007" y="4687"/>
                </a:lnTo>
                <a:lnTo>
                  <a:pt x="7017" y="4676"/>
                </a:lnTo>
                <a:lnTo>
                  <a:pt x="7022" y="4668"/>
                </a:lnTo>
                <a:lnTo>
                  <a:pt x="7026" y="4662"/>
                </a:lnTo>
                <a:lnTo>
                  <a:pt x="7030" y="4651"/>
                </a:lnTo>
                <a:lnTo>
                  <a:pt x="7031" y="4644"/>
                </a:lnTo>
                <a:lnTo>
                  <a:pt x="7033" y="4639"/>
                </a:lnTo>
                <a:lnTo>
                  <a:pt x="7033" y="4634"/>
                </a:lnTo>
                <a:lnTo>
                  <a:pt x="7033" y="4631"/>
                </a:lnTo>
                <a:lnTo>
                  <a:pt x="7026" y="4622"/>
                </a:lnTo>
                <a:lnTo>
                  <a:pt x="7021" y="4616"/>
                </a:lnTo>
                <a:lnTo>
                  <a:pt x="7026" y="4613"/>
                </a:lnTo>
                <a:lnTo>
                  <a:pt x="7033" y="4606"/>
                </a:lnTo>
                <a:lnTo>
                  <a:pt x="7035" y="4602"/>
                </a:lnTo>
                <a:lnTo>
                  <a:pt x="7036" y="4598"/>
                </a:lnTo>
                <a:lnTo>
                  <a:pt x="7035" y="4596"/>
                </a:lnTo>
                <a:lnTo>
                  <a:pt x="7033" y="4595"/>
                </a:lnTo>
                <a:lnTo>
                  <a:pt x="7031" y="4593"/>
                </a:lnTo>
                <a:lnTo>
                  <a:pt x="7027" y="4592"/>
                </a:lnTo>
                <a:lnTo>
                  <a:pt x="7012" y="4588"/>
                </a:lnTo>
                <a:lnTo>
                  <a:pt x="7003" y="4585"/>
                </a:lnTo>
                <a:lnTo>
                  <a:pt x="7000" y="4584"/>
                </a:lnTo>
                <a:lnTo>
                  <a:pt x="6999" y="4584"/>
                </a:lnTo>
                <a:lnTo>
                  <a:pt x="6999" y="4586"/>
                </a:lnTo>
                <a:lnTo>
                  <a:pt x="7000" y="4588"/>
                </a:lnTo>
                <a:lnTo>
                  <a:pt x="7008" y="4598"/>
                </a:lnTo>
                <a:lnTo>
                  <a:pt x="7012" y="4603"/>
                </a:lnTo>
                <a:lnTo>
                  <a:pt x="7012" y="4605"/>
                </a:lnTo>
                <a:lnTo>
                  <a:pt x="7011" y="4609"/>
                </a:lnTo>
                <a:lnTo>
                  <a:pt x="7010" y="4612"/>
                </a:lnTo>
                <a:lnTo>
                  <a:pt x="7008" y="4614"/>
                </a:lnTo>
                <a:lnTo>
                  <a:pt x="7006" y="4616"/>
                </a:lnTo>
                <a:lnTo>
                  <a:pt x="7001" y="4617"/>
                </a:lnTo>
                <a:lnTo>
                  <a:pt x="6993" y="4618"/>
                </a:lnTo>
                <a:lnTo>
                  <a:pt x="6984" y="4618"/>
                </a:lnTo>
                <a:lnTo>
                  <a:pt x="6975" y="4617"/>
                </a:lnTo>
                <a:lnTo>
                  <a:pt x="6969" y="4614"/>
                </a:lnTo>
                <a:lnTo>
                  <a:pt x="6967" y="4613"/>
                </a:lnTo>
                <a:lnTo>
                  <a:pt x="6964" y="4612"/>
                </a:lnTo>
                <a:lnTo>
                  <a:pt x="6961" y="4612"/>
                </a:lnTo>
                <a:lnTo>
                  <a:pt x="6957" y="4613"/>
                </a:lnTo>
                <a:lnTo>
                  <a:pt x="6953" y="4615"/>
                </a:lnTo>
                <a:lnTo>
                  <a:pt x="6951" y="4615"/>
                </a:lnTo>
                <a:lnTo>
                  <a:pt x="6951" y="4612"/>
                </a:lnTo>
                <a:lnTo>
                  <a:pt x="6949" y="4606"/>
                </a:lnTo>
                <a:lnTo>
                  <a:pt x="6948" y="4601"/>
                </a:lnTo>
                <a:lnTo>
                  <a:pt x="6947" y="4598"/>
                </a:lnTo>
                <a:lnTo>
                  <a:pt x="6946" y="4596"/>
                </a:lnTo>
                <a:lnTo>
                  <a:pt x="6945" y="4595"/>
                </a:lnTo>
                <a:lnTo>
                  <a:pt x="6939" y="4595"/>
                </a:lnTo>
                <a:lnTo>
                  <a:pt x="6930" y="4594"/>
                </a:lnTo>
                <a:lnTo>
                  <a:pt x="6926" y="4594"/>
                </a:lnTo>
                <a:lnTo>
                  <a:pt x="6923" y="4595"/>
                </a:lnTo>
                <a:lnTo>
                  <a:pt x="6922" y="4596"/>
                </a:lnTo>
                <a:lnTo>
                  <a:pt x="6921" y="4596"/>
                </a:lnTo>
                <a:lnTo>
                  <a:pt x="6921" y="4597"/>
                </a:lnTo>
                <a:lnTo>
                  <a:pt x="6921" y="4599"/>
                </a:lnTo>
                <a:lnTo>
                  <a:pt x="6923" y="4602"/>
                </a:lnTo>
                <a:lnTo>
                  <a:pt x="6926" y="4606"/>
                </a:lnTo>
                <a:lnTo>
                  <a:pt x="6930" y="4608"/>
                </a:lnTo>
                <a:lnTo>
                  <a:pt x="6934" y="4611"/>
                </a:lnTo>
                <a:lnTo>
                  <a:pt x="6942" y="4614"/>
                </a:lnTo>
                <a:lnTo>
                  <a:pt x="6945" y="4615"/>
                </a:lnTo>
                <a:lnTo>
                  <a:pt x="6941" y="4620"/>
                </a:lnTo>
                <a:close/>
                <a:moveTo>
                  <a:pt x="6286" y="4423"/>
                </a:moveTo>
                <a:lnTo>
                  <a:pt x="6290" y="4417"/>
                </a:lnTo>
                <a:lnTo>
                  <a:pt x="6299" y="4400"/>
                </a:lnTo>
                <a:lnTo>
                  <a:pt x="6304" y="4392"/>
                </a:lnTo>
                <a:lnTo>
                  <a:pt x="6308" y="4382"/>
                </a:lnTo>
                <a:lnTo>
                  <a:pt x="6309" y="4378"/>
                </a:lnTo>
                <a:lnTo>
                  <a:pt x="6309" y="4375"/>
                </a:lnTo>
                <a:lnTo>
                  <a:pt x="6309" y="4372"/>
                </a:lnTo>
                <a:lnTo>
                  <a:pt x="6308" y="4369"/>
                </a:lnTo>
                <a:lnTo>
                  <a:pt x="6304" y="4360"/>
                </a:lnTo>
                <a:lnTo>
                  <a:pt x="6298" y="4353"/>
                </a:lnTo>
                <a:lnTo>
                  <a:pt x="6294" y="4346"/>
                </a:lnTo>
                <a:lnTo>
                  <a:pt x="6290" y="4336"/>
                </a:lnTo>
                <a:lnTo>
                  <a:pt x="6289" y="4326"/>
                </a:lnTo>
                <a:lnTo>
                  <a:pt x="6288" y="4316"/>
                </a:lnTo>
                <a:lnTo>
                  <a:pt x="6287" y="4310"/>
                </a:lnTo>
                <a:lnTo>
                  <a:pt x="6286" y="4304"/>
                </a:lnTo>
                <a:lnTo>
                  <a:pt x="6283" y="4298"/>
                </a:lnTo>
                <a:lnTo>
                  <a:pt x="6279" y="4290"/>
                </a:lnTo>
                <a:lnTo>
                  <a:pt x="6268" y="4273"/>
                </a:lnTo>
                <a:lnTo>
                  <a:pt x="6257" y="4256"/>
                </a:lnTo>
                <a:lnTo>
                  <a:pt x="6246" y="4241"/>
                </a:lnTo>
                <a:lnTo>
                  <a:pt x="6239" y="4229"/>
                </a:lnTo>
                <a:lnTo>
                  <a:pt x="6238" y="4226"/>
                </a:lnTo>
                <a:lnTo>
                  <a:pt x="6238" y="4223"/>
                </a:lnTo>
                <a:lnTo>
                  <a:pt x="6239" y="4219"/>
                </a:lnTo>
                <a:lnTo>
                  <a:pt x="6241" y="4214"/>
                </a:lnTo>
                <a:lnTo>
                  <a:pt x="6245" y="4201"/>
                </a:lnTo>
                <a:lnTo>
                  <a:pt x="6251" y="4189"/>
                </a:lnTo>
                <a:lnTo>
                  <a:pt x="6264" y="4163"/>
                </a:lnTo>
                <a:lnTo>
                  <a:pt x="6272" y="4150"/>
                </a:lnTo>
                <a:lnTo>
                  <a:pt x="6282" y="4137"/>
                </a:lnTo>
                <a:lnTo>
                  <a:pt x="6296" y="4116"/>
                </a:lnTo>
                <a:lnTo>
                  <a:pt x="6305" y="4107"/>
                </a:lnTo>
                <a:lnTo>
                  <a:pt x="6312" y="4098"/>
                </a:lnTo>
                <a:lnTo>
                  <a:pt x="6315" y="4095"/>
                </a:lnTo>
                <a:lnTo>
                  <a:pt x="6317" y="4092"/>
                </a:lnTo>
                <a:lnTo>
                  <a:pt x="6320" y="4091"/>
                </a:lnTo>
                <a:lnTo>
                  <a:pt x="6323" y="4091"/>
                </a:lnTo>
                <a:lnTo>
                  <a:pt x="6328" y="4091"/>
                </a:lnTo>
                <a:lnTo>
                  <a:pt x="6337" y="4090"/>
                </a:lnTo>
                <a:lnTo>
                  <a:pt x="6349" y="4088"/>
                </a:lnTo>
                <a:lnTo>
                  <a:pt x="6362" y="4085"/>
                </a:lnTo>
                <a:lnTo>
                  <a:pt x="6386" y="4079"/>
                </a:lnTo>
                <a:lnTo>
                  <a:pt x="6400" y="4075"/>
                </a:lnTo>
                <a:lnTo>
                  <a:pt x="6408" y="4072"/>
                </a:lnTo>
                <a:lnTo>
                  <a:pt x="6422" y="4066"/>
                </a:lnTo>
                <a:lnTo>
                  <a:pt x="6429" y="4063"/>
                </a:lnTo>
                <a:lnTo>
                  <a:pt x="6435" y="4058"/>
                </a:lnTo>
                <a:lnTo>
                  <a:pt x="6438" y="4056"/>
                </a:lnTo>
                <a:lnTo>
                  <a:pt x="6440" y="4053"/>
                </a:lnTo>
                <a:lnTo>
                  <a:pt x="6441" y="4051"/>
                </a:lnTo>
                <a:lnTo>
                  <a:pt x="6441" y="4048"/>
                </a:lnTo>
                <a:lnTo>
                  <a:pt x="6444" y="4036"/>
                </a:lnTo>
                <a:lnTo>
                  <a:pt x="6449" y="4020"/>
                </a:lnTo>
                <a:lnTo>
                  <a:pt x="6452" y="4013"/>
                </a:lnTo>
                <a:lnTo>
                  <a:pt x="6456" y="4006"/>
                </a:lnTo>
                <a:lnTo>
                  <a:pt x="6458" y="4002"/>
                </a:lnTo>
                <a:lnTo>
                  <a:pt x="6460" y="4001"/>
                </a:lnTo>
                <a:lnTo>
                  <a:pt x="6464" y="4002"/>
                </a:lnTo>
                <a:lnTo>
                  <a:pt x="6468" y="4005"/>
                </a:lnTo>
                <a:lnTo>
                  <a:pt x="6470" y="4006"/>
                </a:lnTo>
                <a:lnTo>
                  <a:pt x="6473" y="4007"/>
                </a:lnTo>
                <a:lnTo>
                  <a:pt x="6475" y="4006"/>
                </a:lnTo>
                <a:lnTo>
                  <a:pt x="6479" y="4005"/>
                </a:lnTo>
                <a:lnTo>
                  <a:pt x="6489" y="3990"/>
                </a:lnTo>
                <a:lnTo>
                  <a:pt x="6504" y="3962"/>
                </a:lnTo>
                <a:lnTo>
                  <a:pt x="6511" y="3949"/>
                </a:lnTo>
                <a:lnTo>
                  <a:pt x="6520" y="3937"/>
                </a:lnTo>
                <a:lnTo>
                  <a:pt x="6523" y="3933"/>
                </a:lnTo>
                <a:lnTo>
                  <a:pt x="6527" y="3931"/>
                </a:lnTo>
                <a:lnTo>
                  <a:pt x="6529" y="3930"/>
                </a:lnTo>
                <a:lnTo>
                  <a:pt x="6532" y="3930"/>
                </a:lnTo>
                <a:lnTo>
                  <a:pt x="6546" y="3939"/>
                </a:lnTo>
                <a:lnTo>
                  <a:pt x="6564" y="3950"/>
                </a:lnTo>
                <a:lnTo>
                  <a:pt x="6579" y="3960"/>
                </a:lnTo>
                <a:lnTo>
                  <a:pt x="6586" y="3963"/>
                </a:lnTo>
                <a:lnTo>
                  <a:pt x="6590" y="3960"/>
                </a:lnTo>
                <a:lnTo>
                  <a:pt x="6600" y="3952"/>
                </a:lnTo>
                <a:lnTo>
                  <a:pt x="6606" y="3947"/>
                </a:lnTo>
                <a:lnTo>
                  <a:pt x="6612" y="3940"/>
                </a:lnTo>
                <a:lnTo>
                  <a:pt x="6616" y="3935"/>
                </a:lnTo>
                <a:lnTo>
                  <a:pt x="6618" y="3930"/>
                </a:lnTo>
                <a:lnTo>
                  <a:pt x="6622" y="3921"/>
                </a:lnTo>
                <a:lnTo>
                  <a:pt x="6625" y="3912"/>
                </a:lnTo>
                <a:lnTo>
                  <a:pt x="6627" y="3908"/>
                </a:lnTo>
                <a:lnTo>
                  <a:pt x="6627" y="3904"/>
                </a:lnTo>
                <a:lnTo>
                  <a:pt x="6627" y="3899"/>
                </a:lnTo>
                <a:lnTo>
                  <a:pt x="6625" y="3895"/>
                </a:lnTo>
                <a:lnTo>
                  <a:pt x="6624" y="3893"/>
                </a:lnTo>
                <a:lnTo>
                  <a:pt x="6624" y="3891"/>
                </a:lnTo>
                <a:lnTo>
                  <a:pt x="6625" y="3888"/>
                </a:lnTo>
                <a:lnTo>
                  <a:pt x="6627" y="3886"/>
                </a:lnTo>
                <a:lnTo>
                  <a:pt x="6633" y="3881"/>
                </a:lnTo>
                <a:lnTo>
                  <a:pt x="6639" y="3876"/>
                </a:lnTo>
                <a:lnTo>
                  <a:pt x="6646" y="3872"/>
                </a:lnTo>
                <a:lnTo>
                  <a:pt x="6654" y="3870"/>
                </a:lnTo>
                <a:lnTo>
                  <a:pt x="6657" y="3869"/>
                </a:lnTo>
                <a:lnTo>
                  <a:pt x="6660" y="3869"/>
                </a:lnTo>
                <a:lnTo>
                  <a:pt x="6662" y="3869"/>
                </a:lnTo>
                <a:lnTo>
                  <a:pt x="6663" y="3870"/>
                </a:lnTo>
                <a:lnTo>
                  <a:pt x="6666" y="3873"/>
                </a:lnTo>
                <a:lnTo>
                  <a:pt x="6671" y="3874"/>
                </a:lnTo>
                <a:lnTo>
                  <a:pt x="6678" y="3876"/>
                </a:lnTo>
                <a:lnTo>
                  <a:pt x="6684" y="3877"/>
                </a:lnTo>
                <a:lnTo>
                  <a:pt x="6698" y="3878"/>
                </a:lnTo>
                <a:lnTo>
                  <a:pt x="6706" y="3882"/>
                </a:lnTo>
                <a:lnTo>
                  <a:pt x="6711" y="3883"/>
                </a:lnTo>
                <a:lnTo>
                  <a:pt x="6718" y="3883"/>
                </a:lnTo>
                <a:lnTo>
                  <a:pt x="6725" y="3883"/>
                </a:lnTo>
                <a:lnTo>
                  <a:pt x="6732" y="3882"/>
                </a:lnTo>
                <a:lnTo>
                  <a:pt x="6741" y="3882"/>
                </a:lnTo>
                <a:lnTo>
                  <a:pt x="6748" y="3882"/>
                </a:lnTo>
                <a:lnTo>
                  <a:pt x="6750" y="3883"/>
                </a:lnTo>
                <a:lnTo>
                  <a:pt x="6753" y="3884"/>
                </a:lnTo>
                <a:lnTo>
                  <a:pt x="6754" y="3886"/>
                </a:lnTo>
                <a:lnTo>
                  <a:pt x="6755" y="3888"/>
                </a:lnTo>
                <a:lnTo>
                  <a:pt x="6757" y="3893"/>
                </a:lnTo>
                <a:lnTo>
                  <a:pt x="6757" y="3900"/>
                </a:lnTo>
                <a:lnTo>
                  <a:pt x="6758" y="3908"/>
                </a:lnTo>
                <a:lnTo>
                  <a:pt x="6758" y="3915"/>
                </a:lnTo>
                <a:lnTo>
                  <a:pt x="6757" y="3922"/>
                </a:lnTo>
                <a:lnTo>
                  <a:pt x="6756" y="3929"/>
                </a:lnTo>
                <a:lnTo>
                  <a:pt x="6754" y="3935"/>
                </a:lnTo>
                <a:lnTo>
                  <a:pt x="6752" y="3938"/>
                </a:lnTo>
                <a:lnTo>
                  <a:pt x="6751" y="3941"/>
                </a:lnTo>
                <a:lnTo>
                  <a:pt x="6750" y="3946"/>
                </a:lnTo>
                <a:lnTo>
                  <a:pt x="6750" y="3951"/>
                </a:lnTo>
                <a:lnTo>
                  <a:pt x="6750" y="3956"/>
                </a:lnTo>
                <a:lnTo>
                  <a:pt x="6751" y="3961"/>
                </a:lnTo>
                <a:lnTo>
                  <a:pt x="6753" y="3966"/>
                </a:lnTo>
                <a:lnTo>
                  <a:pt x="6755" y="3971"/>
                </a:lnTo>
                <a:lnTo>
                  <a:pt x="6757" y="3974"/>
                </a:lnTo>
                <a:lnTo>
                  <a:pt x="6769" y="3983"/>
                </a:lnTo>
                <a:lnTo>
                  <a:pt x="6787" y="3994"/>
                </a:lnTo>
                <a:lnTo>
                  <a:pt x="6796" y="3998"/>
                </a:lnTo>
                <a:lnTo>
                  <a:pt x="6804" y="4002"/>
                </a:lnTo>
                <a:lnTo>
                  <a:pt x="6811" y="4004"/>
                </a:lnTo>
                <a:lnTo>
                  <a:pt x="6815" y="4004"/>
                </a:lnTo>
                <a:lnTo>
                  <a:pt x="6820" y="4002"/>
                </a:lnTo>
                <a:lnTo>
                  <a:pt x="6824" y="4002"/>
                </a:lnTo>
                <a:lnTo>
                  <a:pt x="6826" y="4003"/>
                </a:lnTo>
                <a:lnTo>
                  <a:pt x="6828" y="4004"/>
                </a:lnTo>
                <a:lnTo>
                  <a:pt x="6829" y="4006"/>
                </a:lnTo>
                <a:lnTo>
                  <a:pt x="6830" y="4008"/>
                </a:lnTo>
                <a:lnTo>
                  <a:pt x="6832" y="4014"/>
                </a:lnTo>
                <a:lnTo>
                  <a:pt x="6837" y="4019"/>
                </a:lnTo>
                <a:lnTo>
                  <a:pt x="6842" y="4023"/>
                </a:lnTo>
                <a:lnTo>
                  <a:pt x="6844" y="4024"/>
                </a:lnTo>
                <a:lnTo>
                  <a:pt x="6848" y="4021"/>
                </a:lnTo>
                <a:lnTo>
                  <a:pt x="6859" y="4014"/>
                </a:lnTo>
                <a:lnTo>
                  <a:pt x="6864" y="4008"/>
                </a:lnTo>
                <a:lnTo>
                  <a:pt x="6868" y="4003"/>
                </a:lnTo>
                <a:lnTo>
                  <a:pt x="6871" y="4000"/>
                </a:lnTo>
                <a:lnTo>
                  <a:pt x="6871" y="3997"/>
                </a:lnTo>
                <a:lnTo>
                  <a:pt x="6872" y="3995"/>
                </a:lnTo>
                <a:lnTo>
                  <a:pt x="6871" y="3992"/>
                </a:lnTo>
                <a:lnTo>
                  <a:pt x="6869" y="3983"/>
                </a:lnTo>
                <a:lnTo>
                  <a:pt x="6868" y="3972"/>
                </a:lnTo>
                <a:lnTo>
                  <a:pt x="6869" y="3956"/>
                </a:lnTo>
                <a:lnTo>
                  <a:pt x="6871" y="3940"/>
                </a:lnTo>
                <a:lnTo>
                  <a:pt x="6873" y="3912"/>
                </a:lnTo>
                <a:lnTo>
                  <a:pt x="6874" y="3900"/>
                </a:lnTo>
                <a:lnTo>
                  <a:pt x="6876" y="3892"/>
                </a:lnTo>
                <a:lnTo>
                  <a:pt x="6880" y="3876"/>
                </a:lnTo>
                <a:lnTo>
                  <a:pt x="6882" y="3868"/>
                </a:lnTo>
                <a:lnTo>
                  <a:pt x="6886" y="3863"/>
                </a:lnTo>
                <a:lnTo>
                  <a:pt x="6887" y="3862"/>
                </a:lnTo>
                <a:lnTo>
                  <a:pt x="6889" y="3862"/>
                </a:lnTo>
                <a:lnTo>
                  <a:pt x="6891" y="3862"/>
                </a:lnTo>
                <a:lnTo>
                  <a:pt x="6894" y="3865"/>
                </a:lnTo>
                <a:lnTo>
                  <a:pt x="6897" y="3870"/>
                </a:lnTo>
                <a:lnTo>
                  <a:pt x="6902" y="3874"/>
                </a:lnTo>
                <a:lnTo>
                  <a:pt x="6906" y="3878"/>
                </a:lnTo>
                <a:lnTo>
                  <a:pt x="6910" y="3882"/>
                </a:lnTo>
                <a:lnTo>
                  <a:pt x="6915" y="3885"/>
                </a:lnTo>
                <a:lnTo>
                  <a:pt x="6918" y="3888"/>
                </a:lnTo>
                <a:lnTo>
                  <a:pt x="6920" y="3892"/>
                </a:lnTo>
                <a:lnTo>
                  <a:pt x="6922" y="3896"/>
                </a:lnTo>
                <a:lnTo>
                  <a:pt x="6925" y="3908"/>
                </a:lnTo>
                <a:lnTo>
                  <a:pt x="6928" y="3921"/>
                </a:lnTo>
                <a:lnTo>
                  <a:pt x="6932" y="3935"/>
                </a:lnTo>
                <a:lnTo>
                  <a:pt x="6938" y="3947"/>
                </a:lnTo>
                <a:lnTo>
                  <a:pt x="6942" y="3952"/>
                </a:lnTo>
                <a:lnTo>
                  <a:pt x="6947" y="3957"/>
                </a:lnTo>
                <a:lnTo>
                  <a:pt x="6954" y="3962"/>
                </a:lnTo>
                <a:lnTo>
                  <a:pt x="6963" y="3968"/>
                </a:lnTo>
                <a:lnTo>
                  <a:pt x="6970" y="3974"/>
                </a:lnTo>
                <a:lnTo>
                  <a:pt x="6976" y="3980"/>
                </a:lnTo>
                <a:lnTo>
                  <a:pt x="6978" y="3983"/>
                </a:lnTo>
                <a:lnTo>
                  <a:pt x="6979" y="3986"/>
                </a:lnTo>
                <a:lnTo>
                  <a:pt x="6981" y="3990"/>
                </a:lnTo>
                <a:lnTo>
                  <a:pt x="6981" y="3993"/>
                </a:lnTo>
                <a:lnTo>
                  <a:pt x="6978" y="4007"/>
                </a:lnTo>
                <a:lnTo>
                  <a:pt x="6977" y="4023"/>
                </a:lnTo>
                <a:lnTo>
                  <a:pt x="6977" y="4030"/>
                </a:lnTo>
                <a:lnTo>
                  <a:pt x="6978" y="4039"/>
                </a:lnTo>
                <a:lnTo>
                  <a:pt x="6981" y="4045"/>
                </a:lnTo>
                <a:lnTo>
                  <a:pt x="6983" y="4052"/>
                </a:lnTo>
                <a:lnTo>
                  <a:pt x="6985" y="4058"/>
                </a:lnTo>
                <a:lnTo>
                  <a:pt x="6988" y="4062"/>
                </a:lnTo>
                <a:lnTo>
                  <a:pt x="6991" y="4064"/>
                </a:lnTo>
                <a:lnTo>
                  <a:pt x="6993" y="4067"/>
                </a:lnTo>
                <a:lnTo>
                  <a:pt x="6997" y="4070"/>
                </a:lnTo>
                <a:lnTo>
                  <a:pt x="7000" y="4073"/>
                </a:lnTo>
                <a:lnTo>
                  <a:pt x="7014" y="4086"/>
                </a:lnTo>
                <a:lnTo>
                  <a:pt x="7039" y="4107"/>
                </a:lnTo>
                <a:lnTo>
                  <a:pt x="7064" y="4129"/>
                </a:lnTo>
                <a:lnTo>
                  <a:pt x="7078" y="4142"/>
                </a:lnTo>
                <a:lnTo>
                  <a:pt x="7080" y="4150"/>
                </a:lnTo>
                <a:lnTo>
                  <a:pt x="7082" y="4161"/>
                </a:lnTo>
                <a:lnTo>
                  <a:pt x="7084" y="4168"/>
                </a:lnTo>
                <a:lnTo>
                  <a:pt x="7086" y="4175"/>
                </a:lnTo>
                <a:lnTo>
                  <a:pt x="7089" y="4183"/>
                </a:lnTo>
                <a:lnTo>
                  <a:pt x="7093" y="4193"/>
                </a:lnTo>
                <a:lnTo>
                  <a:pt x="7098" y="4201"/>
                </a:lnTo>
                <a:lnTo>
                  <a:pt x="7103" y="4207"/>
                </a:lnTo>
                <a:lnTo>
                  <a:pt x="7109" y="4213"/>
                </a:lnTo>
                <a:lnTo>
                  <a:pt x="7115" y="4217"/>
                </a:lnTo>
                <a:lnTo>
                  <a:pt x="7119" y="4222"/>
                </a:lnTo>
                <a:lnTo>
                  <a:pt x="7123" y="4226"/>
                </a:lnTo>
                <a:lnTo>
                  <a:pt x="7126" y="4233"/>
                </a:lnTo>
                <a:lnTo>
                  <a:pt x="7128" y="4240"/>
                </a:lnTo>
                <a:lnTo>
                  <a:pt x="7130" y="4260"/>
                </a:lnTo>
                <a:lnTo>
                  <a:pt x="7132" y="4284"/>
                </a:lnTo>
                <a:lnTo>
                  <a:pt x="7133" y="4307"/>
                </a:lnTo>
                <a:lnTo>
                  <a:pt x="7132" y="4323"/>
                </a:lnTo>
                <a:lnTo>
                  <a:pt x="7129" y="4335"/>
                </a:lnTo>
                <a:lnTo>
                  <a:pt x="7125" y="4351"/>
                </a:lnTo>
                <a:lnTo>
                  <a:pt x="7122" y="4360"/>
                </a:lnTo>
                <a:lnTo>
                  <a:pt x="7118" y="4369"/>
                </a:lnTo>
                <a:lnTo>
                  <a:pt x="7114" y="4378"/>
                </a:lnTo>
                <a:lnTo>
                  <a:pt x="7107" y="4388"/>
                </a:lnTo>
                <a:lnTo>
                  <a:pt x="7095" y="4408"/>
                </a:lnTo>
                <a:lnTo>
                  <a:pt x="7083" y="4430"/>
                </a:lnTo>
                <a:lnTo>
                  <a:pt x="7078" y="4440"/>
                </a:lnTo>
                <a:lnTo>
                  <a:pt x="7075" y="4449"/>
                </a:lnTo>
                <a:lnTo>
                  <a:pt x="7072" y="4458"/>
                </a:lnTo>
                <a:lnTo>
                  <a:pt x="7071" y="4463"/>
                </a:lnTo>
                <a:lnTo>
                  <a:pt x="7070" y="4477"/>
                </a:lnTo>
                <a:lnTo>
                  <a:pt x="7067" y="4497"/>
                </a:lnTo>
                <a:lnTo>
                  <a:pt x="7066" y="4507"/>
                </a:lnTo>
                <a:lnTo>
                  <a:pt x="7064" y="4515"/>
                </a:lnTo>
                <a:lnTo>
                  <a:pt x="7062" y="4522"/>
                </a:lnTo>
                <a:lnTo>
                  <a:pt x="7059" y="4525"/>
                </a:lnTo>
                <a:lnTo>
                  <a:pt x="7049" y="4525"/>
                </a:lnTo>
                <a:lnTo>
                  <a:pt x="7032" y="4525"/>
                </a:lnTo>
                <a:lnTo>
                  <a:pt x="7023" y="4525"/>
                </a:lnTo>
                <a:lnTo>
                  <a:pt x="7016" y="4527"/>
                </a:lnTo>
                <a:lnTo>
                  <a:pt x="7012" y="4528"/>
                </a:lnTo>
                <a:lnTo>
                  <a:pt x="7009" y="4530"/>
                </a:lnTo>
                <a:lnTo>
                  <a:pt x="7006" y="4533"/>
                </a:lnTo>
                <a:lnTo>
                  <a:pt x="7004" y="4536"/>
                </a:lnTo>
                <a:lnTo>
                  <a:pt x="6999" y="4543"/>
                </a:lnTo>
                <a:lnTo>
                  <a:pt x="6995" y="4548"/>
                </a:lnTo>
                <a:lnTo>
                  <a:pt x="6991" y="4552"/>
                </a:lnTo>
                <a:lnTo>
                  <a:pt x="6986" y="4556"/>
                </a:lnTo>
                <a:lnTo>
                  <a:pt x="6979" y="4562"/>
                </a:lnTo>
                <a:lnTo>
                  <a:pt x="6976" y="4563"/>
                </a:lnTo>
                <a:lnTo>
                  <a:pt x="6974" y="4558"/>
                </a:lnTo>
                <a:lnTo>
                  <a:pt x="6970" y="4548"/>
                </a:lnTo>
                <a:lnTo>
                  <a:pt x="6966" y="4544"/>
                </a:lnTo>
                <a:lnTo>
                  <a:pt x="6961" y="4541"/>
                </a:lnTo>
                <a:lnTo>
                  <a:pt x="6959" y="4541"/>
                </a:lnTo>
                <a:lnTo>
                  <a:pt x="6955" y="4541"/>
                </a:lnTo>
                <a:lnTo>
                  <a:pt x="6951" y="4542"/>
                </a:lnTo>
                <a:lnTo>
                  <a:pt x="6947" y="4544"/>
                </a:lnTo>
                <a:lnTo>
                  <a:pt x="6941" y="4548"/>
                </a:lnTo>
                <a:lnTo>
                  <a:pt x="6937" y="4552"/>
                </a:lnTo>
                <a:lnTo>
                  <a:pt x="6934" y="4555"/>
                </a:lnTo>
                <a:lnTo>
                  <a:pt x="6932" y="4558"/>
                </a:lnTo>
                <a:lnTo>
                  <a:pt x="6930" y="4561"/>
                </a:lnTo>
                <a:lnTo>
                  <a:pt x="6927" y="4561"/>
                </a:lnTo>
                <a:lnTo>
                  <a:pt x="6922" y="4561"/>
                </a:lnTo>
                <a:lnTo>
                  <a:pt x="6915" y="4558"/>
                </a:lnTo>
                <a:lnTo>
                  <a:pt x="6899" y="4554"/>
                </a:lnTo>
                <a:lnTo>
                  <a:pt x="6886" y="4552"/>
                </a:lnTo>
                <a:lnTo>
                  <a:pt x="6876" y="4549"/>
                </a:lnTo>
                <a:lnTo>
                  <a:pt x="6866" y="4546"/>
                </a:lnTo>
                <a:lnTo>
                  <a:pt x="6864" y="4545"/>
                </a:lnTo>
                <a:lnTo>
                  <a:pt x="6862" y="4542"/>
                </a:lnTo>
                <a:lnTo>
                  <a:pt x="6859" y="4539"/>
                </a:lnTo>
                <a:lnTo>
                  <a:pt x="6857" y="4534"/>
                </a:lnTo>
                <a:lnTo>
                  <a:pt x="6853" y="4524"/>
                </a:lnTo>
                <a:lnTo>
                  <a:pt x="6848" y="4511"/>
                </a:lnTo>
                <a:lnTo>
                  <a:pt x="6844" y="4499"/>
                </a:lnTo>
                <a:lnTo>
                  <a:pt x="6839" y="4487"/>
                </a:lnTo>
                <a:lnTo>
                  <a:pt x="6837" y="4481"/>
                </a:lnTo>
                <a:lnTo>
                  <a:pt x="6834" y="4477"/>
                </a:lnTo>
                <a:lnTo>
                  <a:pt x="6831" y="4471"/>
                </a:lnTo>
                <a:lnTo>
                  <a:pt x="6828" y="4468"/>
                </a:lnTo>
                <a:lnTo>
                  <a:pt x="6814" y="4456"/>
                </a:lnTo>
                <a:lnTo>
                  <a:pt x="6803" y="4443"/>
                </a:lnTo>
                <a:lnTo>
                  <a:pt x="6796" y="4433"/>
                </a:lnTo>
                <a:lnTo>
                  <a:pt x="6794" y="4430"/>
                </a:lnTo>
                <a:lnTo>
                  <a:pt x="6795" y="4423"/>
                </a:lnTo>
                <a:lnTo>
                  <a:pt x="6797" y="4410"/>
                </a:lnTo>
                <a:lnTo>
                  <a:pt x="6798" y="4403"/>
                </a:lnTo>
                <a:lnTo>
                  <a:pt x="6798" y="4398"/>
                </a:lnTo>
                <a:lnTo>
                  <a:pt x="6798" y="4396"/>
                </a:lnTo>
                <a:lnTo>
                  <a:pt x="6797" y="4395"/>
                </a:lnTo>
                <a:lnTo>
                  <a:pt x="6796" y="4395"/>
                </a:lnTo>
                <a:lnTo>
                  <a:pt x="6795" y="4396"/>
                </a:lnTo>
                <a:lnTo>
                  <a:pt x="6787" y="4413"/>
                </a:lnTo>
                <a:lnTo>
                  <a:pt x="6775" y="4440"/>
                </a:lnTo>
                <a:lnTo>
                  <a:pt x="6772" y="4447"/>
                </a:lnTo>
                <a:lnTo>
                  <a:pt x="6769" y="4453"/>
                </a:lnTo>
                <a:lnTo>
                  <a:pt x="6766" y="4458"/>
                </a:lnTo>
                <a:lnTo>
                  <a:pt x="6762" y="4462"/>
                </a:lnTo>
                <a:lnTo>
                  <a:pt x="6758" y="4464"/>
                </a:lnTo>
                <a:lnTo>
                  <a:pt x="6754" y="4465"/>
                </a:lnTo>
                <a:lnTo>
                  <a:pt x="6750" y="4463"/>
                </a:lnTo>
                <a:lnTo>
                  <a:pt x="6747" y="4459"/>
                </a:lnTo>
                <a:lnTo>
                  <a:pt x="6729" y="4434"/>
                </a:lnTo>
                <a:lnTo>
                  <a:pt x="6710" y="4404"/>
                </a:lnTo>
                <a:lnTo>
                  <a:pt x="6701" y="4392"/>
                </a:lnTo>
                <a:lnTo>
                  <a:pt x="6692" y="4381"/>
                </a:lnTo>
                <a:lnTo>
                  <a:pt x="6689" y="4377"/>
                </a:lnTo>
                <a:lnTo>
                  <a:pt x="6686" y="4374"/>
                </a:lnTo>
                <a:lnTo>
                  <a:pt x="6683" y="4372"/>
                </a:lnTo>
                <a:lnTo>
                  <a:pt x="6681" y="4371"/>
                </a:lnTo>
                <a:lnTo>
                  <a:pt x="6662" y="4372"/>
                </a:lnTo>
                <a:lnTo>
                  <a:pt x="6628" y="4375"/>
                </a:lnTo>
                <a:lnTo>
                  <a:pt x="6610" y="4376"/>
                </a:lnTo>
                <a:lnTo>
                  <a:pt x="6592" y="4379"/>
                </a:lnTo>
                <a:lnTo>
                  <a:pt x="6577" y="4381"/>
                </a:lnTo>
                <a:lnTo>
                  <a:pt x="6565" y="4385"/>
                </a:lnTo>
                <a:lnTo>
                  <a:pt x="6547" y="4391"/>
                </a:lnTo>
                <a:lnTo>
                  <a:pt x="6532" y="4395"/>
                </a:lnTo>
                <a:lnTo>
                  <a:pt x="6526" y="4397"/>
                </a:lnTo>
                <a:lnTo>
                  <a:pt x="6521" y="4398"/>
                </a:lnTo>
                <a:lnTo>
                  <a:pt x="6515" y="4398"/>
                </a:lnTo>
                <a:lnTo>
                  <a:pt x="6511" y="4398"/>
                </a:lnTo>
                <a:lnTo>
                  <a:pt x="6508" y="4397"/>
                </a:lnTo>
                <a:lnTo>
                  <a:pt x="6504" y="4399"/>
                </a:lnTo>
                <a:lnTo>
                  <a:pt x="6501" y="4402"/>
                </a:lnTo>
                <a:lnTo>
                  <a:pt x="6496" y="4405"/>
                </a:lnTo>
                <a:lnTo>
                  <a:pt x="6491" y="4415"/>
                </a:lnTo>
                <a:lnTo>
                  <a:pt x="6487" y="4423"/>
                </a:lnTo>
                <a:lnTo>
                  <a:pt x="6486" y="4424"/>
                </a:lnTo>
                <a:lnTo>
                  <a:pt x="6482" y="4426"/>
                </a:lnTo>
                <a:lnTo>
                  <a:pt x="6478" y="4426"/>
                </a:lnTo>
                <a:lnTo>
                  <a:pt x="6471" y="4427"/>
                </a:lnTo>
                <a:lnTo>
                  <a:pt x="6457" y="4427"/>
                </a:lnTo>
                <a:lnTo>
                  <a:pt x="6440" y="4429"/>
                </a:lnTo>
                <a:lnTo>
                  <a:pt x="6423" y="4427"/>
                </a:lnTo>
                <a:lnTo>
                  <a:pt x="6407" y="4429"/>
                </a:lnTo>
                <a:lnTo>
                  <a:pt x="6396" y="4429"/>
                </a:lnTo>
                <a:lnTo>
                  <a:pt x="6390" y="4431"/>
                </a:lnTo>
                <a:lnTo>
                  <a:pt x="6383" y="4438"/>
                </a:lnTo>
                <a:lnTo>
                  <a:pt x="6375" y="4447"/>
                </a:lnTo>
                <a:lnTo>
                  <a:pt x="6370" y="4453"/>
                </a:lnTo>
                <a:lnTo>
                  <a:pt x="6363" y="4457"/>
                </a:lnTo>
                <a:lnTo>
                  <a:pt x="6360" y="4458"/>
                </a:lnTo>
                <a:lnTo>
                  <a:pt x="6357" y="4459"/>
                </a:lnTo>
                <a:lnTo>
                  <a:pt x="6354" y="4459"/>
                </a:lnTo>
                <a:lnTo>
                  <a:pt x="6350" y="4459"/>
                </a:lnTo>
                <a:lnTo>
                  <a:pt x="6334" y="4458"/>
                </a:lnTo>
                <a:lnTo>
                  <a:pt x="6320" y="4458"/>
                </a:lnTo>
                <a:lnTo>
                  <a:pt x="6314" y="4457"/>
                </a:lnTo>
                <a:lnTo>
                  <a:pt x="6308" y="4456"/>
                </a:lnTo>
                <a:lnTo>
                  <a:pt x="6303" y="4454"/>
                </a:lnTo>
                <a:lnTo>
                  <a:pt x="6298" y="4449"/>
                </a:lnTo>
                <a:lnTo>
                  <a:pt x="6291" y="4442"/>
                </a:lnTo>
                <a:lnTo>
                  <a:pt x="6287" y="4434"/>
                </a:lnTo>
                <a:lnTo>
                  <a:pt x="6286" y="4431"/>
                </a:lnTo>
                <a:lnTo>
                  <a:pt x="6285" y="4427"/>
                </a:lnTo>
                <a:lnTo>
                  <a:pt x="6285" y="4425"/>
                </a:lnTo>
                <a:lnTo>
                  <a:pt x="6286" y="4423"/>
                </a:lnTo>
                <a:close/>
                <a:moveTo>
                  <a:pt x="4732" y="4085"/>
                </a:moveTo>
                <a:lnTo>
                  <a:pt x="4733" y="4079"/>
                </a:lnTo>
                <a:lnTo>
                  <a:pt x="4733" y="4070"/>
                </a:lnTo>
                <a:lnTo>
                  <a:pt x="4731" y="4060"/>
                </a:lnTo>
                <a:lnTo>
                  <a:pt x="4731" y="4050"/>
                </a:lnTo>
                <a:lnTo>
                  <a:pt x="4730" y="4040"/>
                </a:lnTo>
                <a:lnTo>
                  <a:pt x="4732" y="4029"/>
                </a:lnTo>
                <a:lnTo>
                  <a:pt x="4734" y="4025"/>
                </a:lnTo>
                <a:lnTo>
                  <a:pt x="4736" y="4020"/>
                </a:lnTo>
                <a:lnTo>
                  <a:pt x="4739" y="4016"/>
                </a:lnTo>
                <a:lnTo>
                  <a:pt x="4744" y="4012"/>
                </a:lnTo>
                <a:lnTo>
                  <a:pt x="4754" y="4002"/>
                </a:lnTo>
                <a:lnTo>
                  <a:pt x="4768" y="3990"/>
                </a:lnTo>
                <a:lnTo>
                  <a:pt x="4781" y="3974"/>
                </a:lnTo>
                <a:lnTo>
                  <a:pt x="4796" y="3957"/>
                </a:lnTo>
                <a:lnTo>
                  <a:pt x="4822" y="3928"/>
                </a:lnTo>
                <a:lnTo>
                  <a:pt x="4835" y="3911"/>
                </a:lnTo>
                <a:lnTo>
                  <a:pt x="4840" y="3903"/>
                </a:lnTo>
                <a:lnTo>
                  <a:pt x="4847" y="3894"/>
                </a:lnTo>
                <a:lnTo>
                  <a:pt x="4850" y="3891"/>
                </a:lnTo>
                <a:lnTo>
                  <a:pt x="4855" y="3890"/>
                </a:lnTo>
                <a:lnTo>
                  <a:pt x="4856" y="3890"/>
                </a:lnTo>
                <a:lnTo>
                  <a:pt x="4858" y="3891"/>
                </a:lnTo>
                <a:lnTo>
                  <a:pt x="4859" y="3892"/>
                </a:lnTo>
                <a:lnTo>
                  <a:pt x="4860" y="3894"/>
                </a:lnTo>
                <a:lnTo>
                  <a:pt x="4862" y="3899"/>
                </a:lnTo>
                <a:lnTo>
                  <a:pt x="4864" y="3907"/>
                </a:lnTo>
                <a:lnTo>
                  <a:pt x="4865" y="3915"/>
                </a:lnTo>
                <a:lnTo>
                  <a:pt x="4866" y="3925"/>
                </a:lnTo>
                <a:lnTo>
                  <a:pt x="4866" y="3946"/>
                </a:lnTo>
                <a:lnTo>
                  <a:pt x="4866" y="3965"/>
                </a:lnTo>
                <a:lnTo>
                  <a:pt x="4866" y="3976"/>
                </a:lnTo>
                <a:lnTo>
                  <a:pt x="4864" y="3987"/>
                </a:lnTo>
                <a:lnTo>
                  <a:pt x="4861" y="3998"/>
                </a:lnTo>
                <a:lnTo>
                  <a:pt x="4858" y="4008"/>
                </a:lnTo>
                <a:lnTo>
                  <a:pt x="4850" y="4028"/>
                </a:lnTo>
                <a:lnTo>
                  <a:pt x="4845" y="4042"/>
                </a:lnTo>
                <a:lnTo>
                  <a:pt x="4839" y="4060"/>
                </a:lnTo>
                <a:lnTo>
                  <a:pt x="4832" y="4089"/>
                </a:lnTo>
                <a:lnTo>
                  <a:pt x="4825" y="4118"/>
                </a:lnTo>
                <a:lnTo>
                  <a:pt x="4821" y="4139"/>
                </a:lnTo>
                <a:lnTo>
                  <a:pt x="4820" y="4148"/>
                </a:lnTo>
                <a:lnTo>
                  <a:pt x="4816" y="4158"/>
                </a:lnTo>
                <a:lnTo>
                  <a:pt x="4812" y="4170"/>
                </a:lnTo>
                <a:lnTo>
                  <a:pt x="4806" y="4181"/>
                </a:lnTo>
                <a:lnTo>
                  <a:pt x="4796" y="4202"/>
                </a:lnTo>
                <a:lnTo>
                  <a:pt x="4790" y="4213"/>
                </a:lnTo>
                <a:lnTo>
                  <a:pt x="4782" y="4220"/>
                </a:lnTo>
                <a:lnTo>
                  <a:pt x="4771" y="4228"/>
                </a:lnTo>
                <a:lnTo>
                  <a:pt x="4765" y="4234"/>
                </a:lnTo>
                <a:lnTo>
                  <a:pt x="4758" y="4237"/>
                </a:lnTo>
                <a:lnTo>
                  <a:pt x="4753" y="4240"/>
                </a:lnTo>
                <a:lnTo>
                  <a:pt x="4750" y="4241"/>
                </a:lnTo>
                <a:lnTo>
                  <a:pt x="4740" y="4240"/>
                </a:lnTo>
                <a:lnTo>
                  <a:pt x="4730" y="4238"/>
                </a:lnTo>
                <a:lnTo>
                  <a:pt x="4725" y="4236"/>
                </a:lnTo>
                <a:lnTo>
                  <a:pt x="4722" y="4234"/>
                </a:lnTo>
                <a:lnTo>
                  <a:pt x="4721" y="4233"/>
                </a:lnTo>
                <a:lnTo>
                  <a:pt x="4721" y="4230"/>
                </a:lnTo>
                <a:lnTo>
                  <a:pt x="4721" y="4229"/>
                </a:lnTo>
                <a:lnTo>
                  <a:pt x="4722" y="4227"/>
                </a:lnTo>
                <a:lnTo>
                  <a:pt x="4728" y="4221"/>
                </a:lnTo>
                <a:lnTo>
                  <a:pt x="4731" y="4216"/>
                </a:lnTo>
                <a:lnTo>
                  <a:pt x="4731" y="4214"/>
                </a:lnTo>
                <a:lnTo>
                  <a:pt x="4731" y="4211"/>
                </a:lnTo>
                <a:lnTo>
                  <a:pt x="4730" y="4208"/>
                </a:lnTo>
                <a:lnTo>
                  <a:pt x="4729" y="4205"/>
                </a:lnTo>
                <a:lnTo>
                  <a:pt x="4726" y="4194"/>
                </a:lnTo>
                <a:lnTo>
                  <a:pt x="4722" y="4178"/>
                </a:lnTo>
                <a:lnTo>
                  <a:pt x="4718" y="4162"/>
                </a:lnTo>
                <a:lnTo>
                  <a:pt x="4714" y="4153"/>
                </a:lnTo>
                <a:lnTo>
                  <a:pt x="4713" y="4149"/>
                </a:lnTo>
                <a:lnTo>
                  <a:pt x="4713" y="4142"/>
                </a:lnTo>
                <a:lnTo>
                  <a:pt x="4714" y="4135"/>
                </a:lnTo>
                <a:lnTo>
                  <a:pt x="4715" y="4127"/>
                </a:lnTo>
                <a:lnTo>
                  <a:pt x="4717" y="4118"/>
                </a:lnTo>
                <a:lnTo>
                  <a:pt x="4719" y="4111"/>
                </a:lnTo>
                <a:lnTo>
                  <a:pt x="4722" y="4105"/>
                </a:lnTo>
                <a:lnTo>
                  <a:pt x="4725" y="4101"/>
                </a:lnTo>
                <a:lnTo>
                  <a:pt x="4730" y="4094"/>
                </a:lnTo>
                <a:lnTo>
                  <a:pt x="4732" y="4089"/>
                </a:lnTo>
                <a:lnTo>
                  <a:pt x="4732" y="4086"/>
                </a:lnTo>
                <a:lnTo>
                  <a:pt x="4732" y="4085"/>
                </a:lnTo>
                <a:close/>
                <a:moveTo>
                  <a:pt x="4149" y="4417"/>
                </a:moveTo>
                <a:lnTo>
                  <a:pt x="4149" y="4405"/>
                </a:lnTo>
                <a:lnTo>
                  <a:pt x="4149" y="4392"/>
                </a:lnTo>
                <a:lnTo>
                  <a:pt x="4149" y="4385"/>
                </a:lnTo>
                <a:lnTo>
                  <a:pt x="4148" y="4376"/>
                </a:lnTo>
                <a:lnTo>
                  <a:pt x="4146" y="4369"/>
                </a:lnTo>
                <a:lnTo>
                  <a:pt x="4143" y="4361"/>
                </a:lnTo>
                <a:lnTo>
                  <a:pt x="4133" y="4343"/>
                </a:lnTo>
                <a:lnTo>
                  <a:pt x="4120" y="4316"/>
                </a:lnTo>
                <a:lnTo>
                  <a:pt x="4108" y="4289"/>
                </a:lnTo>
                <a:lnTo>
                  <a:pt x="4096" y="4267"/>
                </a:lnTo>
                <a:lnTo>
                  <a:pt x="4091" y="4258"/>
                </a:lnTo>
                <a:lnTo>
                  <a:pt x="4087" y="4248"/>
                </a:lnTo>
                <a:lnTo>
                  <a:pt x="4082" y="4238"/>
                </a:lnTo>
                <a:lnTo>
                  <a:pt x="4079" y="4227"/>
                </a:lnTo>
                <a:lnTo>
                  <a:pt x="4076" y="4217"/>
                </a:lnTo>
                <a:lnTo>
                  <a:pt x="4075" y="4206"/>
                </a:lnTo>
                <a:lnTo>
                  <a:pt x="4074" y="4196"/>
                </a:lnTo>
                <a:lnTo>
                  <a:pt x="4073" y="4188"/>
                </a:lnTo>
                <a:lnTo>
                  <a:pt x="4074" y="4172"/>
                </a:lnTo>
                <a:lnTo>
                  <a:pt x="4075" y="4159"/>
                </a:lnTo>
                <a:lnTo>
                  <a:pt x="4076" y="4150"/>
                </a:lnTo>
                <a:lnTo>
                  <a:pt x="4075" y="4141"/>
                </a:lnTo>
                <a:lnTo>
                  <a:pt x="4065" y="4127"/>
                </a:lnTo>
                <a:lnTo>
                  <a:pt x="4057" y="4112"/>
                </a:lnTo>
                <a:lnTo>
                  <a:pt x="4056" y="4104"/>
                </a:lnTo>
                <a:lnTo>
                  <a:pt x="4052" y="4092"/>
                </a:lnTo>
                <a:lnTo>
                  <a:pt x="4048" y="4081"/>
                </a:lnTo>
                <a:lnTo>
                  <a:pt x="4043" y="4071"/>
                </a:lnTo>
                <a:lnTo>
                  <a:pt x="4034" y="4063"/>
                </a:lnTo>
                <a:lnTo>
                  <a:pt x="4023" y="4052"/>
                </a:lnTo>
                <a:lnTo>
                  <a:pt x="4017" y="4046"/>
                </a:lnTo>
                <a:lnTo>
                  <a:pt x="4013" y="4041"/>
                </a:lnTo>
                <a:lnTo>
                  <a:pt x="4011" y="4036"/>
                </a:lnTo>
                <a:lnTo>
                  <a:pt x="4011" y="4030"/>
                </a:lnTo>
                <a:lnTo>
                  <a:pt x="4015" y="4010"/>
                </a:lnTo>
                <a:lnTo>
                  <a:pt x="4021" y="3979"/>
                </a:lnTo>
                <a:lnTo>
                  <a:pt x="4026" y="3948"/>
                </a:lnTo>
                <a:lnTo>
                  <a:pt x="4030" y="3933"/>
                </a:lnTo>
                <a:lnTo>
                  <a:pt x="4038" y="3926"/>
                </a:lnTo>
                <a:lnTo>
                  <a:pt x="4051" y="3914"/>
                </a:lnTo>
                <a:lnTo>
                  <a:pt x="4058" y="3907"/>
                </a:lnTo>
                <a:lnTo>
                  <a:pt x="4064" y="3899"/>
                </a:lnTo>
                <a:lnTo>
                  <a:pt x="4066" y="3896"/>
                </a:lnTo>
                <a:lnTo>
                  <a:pt x="4067" y="3893"/>
                </a:lnTo>
                <a:lnTo>
                  <a:pt x="4067" y="3890"/>
                </a:lnTo>
                <a:lnTo>
                  <a:pt x="4067" y="3887"/>
                </a:lnTo>
                <a:lnTo>
                  <a:pt x="4064" y="3875"/>
                </a:lnTo>
                <a:lnTo>
                  <a:pt x="4058" y="3865"/>
                </a:lnTo>
                <a:lnTo>
                  <a:pt x="4053" y="3856"/>
                </a:lnTo>
                <a:lnTo>
                  <a:pt x="4050" y="3850"/>
                </a:lnTo>
                <a:lnTo>
                  <a:pt x="4048" y="3845"/>
                </a:lnTo>
                <a:lnTo>
                  <a:pt x="4045" y="3839"/>
                </a:lnTo>
                <a:lnTo>
                  <a:pt x="4044" y="3831"/>
                </a:lnTo>
                <a:lnTo>
                  <a:pt x="4044" y="3826"/>
                </a:lnTo>
                <a:lnTo>
                  <a:pt x="4046" y="3822"/>
                </a:lnTo>
                <a:lnTo>
                  <a:pt x="4047" y="3818"/>
                </a:lnTo>
                <a:lnTo>
                  <a:pt x="4048" y="3816"/>
                </a:lnTo>
                <a:lnTo>
                  <a:pt x="4048" y="3813"/>
                </a:lnTo>
                <a:lnTo>
                  <a:pt x="4047" y="3811"/>
                </a:lnTo>
                <a:lnTo>
                  <a:pt x="4046" y="3809"/>
                </a:lnTo>
                <a:lnTo>
                  <a:pt x="4036" y="3794"/>
                </a:lnTo>
                <a:lnTo>
                  <a:pt x="4029" y="3778"/>
                </a:lnTo>
                <a:lnTo>
                  <a:pt x="4027" y="3769"/>
                </a:lnTo>
                <a:lnTo>
                  <a:pt x="4023" y="3754"/>
                </a:lnTo>
                <a:lnTo>
                  <a:pt x="4020" y="3744"/>
                </a:lnTo>
                <a:lnTo>
                  <a:pt x="4015" y="3735"/>
                </a:lnTo>
                <a:lnTo>
                  <a:pt x="4010" y="3727"/>
                </a:lnTo>
                <a:lnTo>
                  <a:pt x="4004" y="3719"/>
                </a:lnTo>
                <a:lnTo>
                  <a:pt x="3986" y="3706"/>
                </a:lnTo>
                <a:lnTo>
                  <a:pt x="3965" y="3693"/>
                </a:lnTo>
                <a:lnTo>
                  <a:pt x="3956" y="3686"/>
                </a:lnTo>
                <a:lnTo>
                  <a:pt x="3949" y="3679"/>
                </a:lnTo>
                <a:lnTo>
                  <a:pt x="3947" y="3675"/>
                </a:lnTo>
                <a:lnTo>
                  <a:pt x="3945" y="3671"/>
                </a:lnTo>
                <a:lnTo>
                  <a:pt x="3945" y="3668"/>
                </a:lnTo>
                <a:lnTo>
                  <a:pt x="3946" y="3664"/>
                </a:lnTo>
                <a:lnTo>
                  <a:pt x="3954" y="3645"/>
                </a:lnTo>
                <a:lnTo>
                  <a:pt x="3959" y="3626"/>
                </a:lnTo>
                <a:lnTo>
                  <a:pt x="3963" y="3609"/>
                </a:lnTo>
                <a:lnTo>
                  <a:pt x="3964" y="3599"/>
                </a:lnTo>
                <a:lnTo>
                  <a:pt x="3966" y="3588"/>
                </a:lnTo>
                <a:lnTo>
                  <a:pt x="3971" y="3575"/>
                </a:lnTo>
                <a:lnTo>
                  <a:pt x="3973" y="3567"/>
                </a:lnTo>
                <a:lnTo>
                  <a:pt x="3973" y="3560"/>
                </a:lnTo>
                <a:lnTo>
                  <a:pt x="3973" y="3557"/>
                </a:lnTo>
                <a:lnTo>
                  <a:pt x="3972" y="3555"/>
                </a:lnTo>
                <a:lnTo>
                  <a:pt x="3971" y="3553"/>
                </a:lnTo>
                <a:lnTo>
                  <a:pt x="3969" y="3551"/>
                </a:lnTo>
                <a:lnTo>
                  <a:pt x="3959" y="3544"/>
                </a:lnTo>
                <a:lnTo>
                  <a:pt x="3949" y="3538"/>
                </a:lnTo>
                <a:lnTo>
                  <a:pt x="3945" y="3536"/>
                </a:lnTo>
                <a:lnTo>
                  <a:pt x="3940" y="3534"/>
                </a:lnTo>
                <a:lnTo>
                  <a:pt x="3936" y="3533"/>
                </a:lnTo>
                <a:lnTo>
                  <a:pt x="3932" y="3533"/>
                </a:lnTo>
                <a:lnTo>
                  <a:pt x="3921" y="3535"/>
                </a:lnTo>
                <a:lnTo>
                  <a:pt x="3912" y="3537"/>
                </a:lnTo>
                <a:lnTo>
                  <a:pt x="3907" y="3537"/>
                </a:lnTo>
                <a:lnTo>
                  <a:pt x="3902" y="3537"/>
                </a:lnTo>
                <a:lnTo>
                  <a:pt x="3899" y="3535"/>
                </a:lnTo>
                <a:lnTo>
                  <a:pt x="3895" y="3533"/>
                </a:lnTo>
                <a:lnTo>
                  <a:pt x="3888" y="3524"/>
                </a:lnTo>
                <a:lnTo>
                  <a:pt x="3876" y="3513"/>
                </a:lnTo>
                <a:lnTo>
                  <a:pt x="3871" y="3507"/>
                </a:lnTo>
                <a:lnTo>
                  <a:pt x="3866" y="3502"/>
                </a:lnTo>
                <a:lnTo>
                  <a:pt x="3860" y="3498"/>
                </a:lnTo>
                <a:lnTo>
                  <a:pt x="3856" y="3496"/>
                </a:lnTo>
                <a:lnTo>
                  <a:pt x="3846" y="3494"/>
                </a:lnTo>
                <a:lnTo>
                  <a:pt x="3832" y="3492"/>
                </a:lnTo>
                <a:lnTo>
                  <a:pt x="3822" y="3491"/>
                </a:lnTo>
                <a:lnTo>
                  <a:pt x="3816" y="3490"/>
                </a:lnTo>
                <a:lnTo>
                  <a:pt x="3812" y="3491"/>
                </a:lnTo>
                <a:lnTo>
                  <a:pt x="3804" y="3494"/>
                </a:lnTo>
                <a:lnTo>
                  <a:pt x="3792" y="3498"/>
                </a:lnTo>
                <a:lnTo>
                  <a:pt x="3782" y="3504"/>
                </a:lnTo>
                <a:lnTo>
                  <a:pt x="3770" y="3513"/>
                </a:lnTo>
                <a:lnTo>
                  <a:pt x="3756" y="3521"/>
                </a:lnTo>
                <a:lnTo>
                  <a:pt x="3747" y="3525"/>
                </a:lnTo>
                <a:lnTo>
                  <a:pt x="3739" y="3527"/>
                </a:lnTo>
                <a:lnTo>
                  <a:pt x="3730" y="3529"/>
                </a:lnTo>
                <a:lnTo>
                  <a:pt x="3723" y="3527"/>
                </a:lnTo>
                <a:lnTo>
                  <a:pt x="3706" y="3524"/>
                </a:lnTo>
                <a:lnTo>
                  <a:pt x="3690" y="3523"/>
                </a:lnTo>
                <a:lnTo>
                  <a:pt x="3681" y="3523"/>
                </a:lnTo>
                <a:lnTo>
                  <a:pt x="3674" y="3523"/>
                </a:lnTo>
                <a:lnTo>
                  <a:pt x="3668" y="3524"/>
                </a:lnTo>
                <a:lnTo>
                  <a:pt x="3662" y="3526"/>
                </a:lnTo>
                <a:lnTo>
                  <a:pt x="3649" y="3531"/>
                </a:lnTo>
                <a:lnTo>
                  <a:pt x="3629" y="3536"/>
                </a:lnTo>
                <a:lnTo>
                  <a:pt x="3607" y="3540"/>
                </a:lnTo>
                <a:lnTo>
                  <a:pt x="3590" y="3543"/>
                </a:lnTo>
                <a:lnTo>
                  <a:pt x="3585" y="3543"/>
                </a:lnTo>
                <a:lnTo>
                  <a:pt x="3578" y="3540"/>
                </a:lnTo>
                <a:lnTo>
                  <a:pt x="3571" y="3537"/>
                </a:lnTo>
                <a:lnTo>
                  <a:pt x="3562" y="3532"/>
                </a:lnTo>
                <a:lnTo>
                  <a:pt x="3542" y="3517"/>
                </a:lnTo>
                <a:lnTo>
                  <a:pt x="3519" y="3501"/>
                </a:lnTo>
                <a:lnTo>
                  <a:pt x="3497" y="3483"/>
                </a:lnTo>
                <a:lnTo>
                  <a:pt x="3477" y="3468"/>
                </a:lnTo>
                <a:lnTo>
                  <a:pt x="3462" y="3454"/>
                </a:lnTo>
                <a:lnTo>
                  <a:pt x="3454" y="3445"/>
                </a:lnTo>
                <a:lnTo>
                  <a:pt x="3445" y="3428"/>
                </a:lnTo>
                <a:lnTo>
                  <a:pt x="3434" y="3406"/>
                </a:lnTo>
                <a:lnTo>
                  <a:pt x="3429" y="3395"/>
                </a:lnTo>
                <a:lnTo>
                  <a:pt x="3423" y="3386"/>
                </a:lnTo>
                <a:lnTo>
                  <a:pt x="3418" y="3379"/>
                </a:lnTo>
                <a:lnTo>
                  <a:pt x="3414" y="3374"/>
                </a:lnTo>
                <a:lnTo>
                  <a:pt x="3403" y="3367"/>
                </a:lnTo>
                <a:lnTo>
                  <a:pt x="3389" y="3359"/>
                </a:lnTo>
                <a:lnTo>
                  <a:pt x="3383" y="3354"/>
                </a:lnTo>
                <a:lnTo>
                  <a:pt x="3377" y="3348"/>
                </a:lnTo>
                <a:lnTo>
                  <a:pt x="3375" y="3345"/>
                </a:lnTo>
                <a:lnTo>
                  <a:pt x="3374" y="3342"/>
                </a:lnTo>
                <a:lnTo>
                  <a:pt x="3373" y="3339"/>
                </a:lnTo>
                <a:lnTo>
                  <a:pt x="3373" y="3335"/>
                </a:lnTo>
                <a:lnTo>
                  <a:pt x="3377" y="3317"/>
                </a:lnTo>
                <a:lnTo>
                  <a:pt x="3384" y="3294"/>
                </a:lnTo>
                <a:lnTo>
                  <a:pt x="3390" y="3274"/>
                </a:lnTo>
                <a:lnTo>
                  <a:pt x="3394" y="3262"/>
                </a:lnTo>
                <a:lnTo>
                  <a:pt x="3397" y="3248"/>
                </a:lnTo>
                <a:lnTo>
                  <a:pt x="3401" y="3220"/>
                </a:lnTo>
                <a:lnTo>
                  <a:pt x="3402" y="3206"/>
                </a:lnTo>
                <a:lnTo>
                  <a:pt x="3403" y="3191"/>
                </a:lnTo>
                <a:lnTo>
                  <a:pt x="3403" y="3180"/>
                </a:lnTo>
                <a:lnTo>
                  <a:pt x="3403" y="3171"/>
                </a:lnTo>
                <a:lnTo>
                  <a:pt x="3399" y="3157"/>
                </a:lnTo>
                <a:lnTo>
                  <a:pt x="3396" y="3139"/>
                </a:lnTo>
                <a:lnTo>
                  <a:pt x="3395" y="3130"/>
                </a:lnTo>
                <a:lnTo>
                  <a:pt x="3394" y="3124"/>
                </a:lnTo>
                <a:lnTo>
                  <a:pt x="3394" y="3119"/>
                </a:lnTo>
                <a:lnTo>
                  <a:pt x="3396" y="3116"/>
                </a:lnTo>
                <a:lnTo>
                  <a:pt x="3406" y="3100"/>
                </a:lnTo>
                <a:lnTo>
                  <a:pt x="3425" y="3067"/>
                </a:lnTo>
                <a:lnTo>
                  <a:pt x="3436" y="3050"/>
                </a:lnTo>
                <a:lnTo>
                  <a:pt x="3446" y="3033"/>
                </a:lnTo>
                <a:lnTo>
                  <a:pt x="3457" y="3019"/>
                </a:lnTo>
                <a:lnTo>
                  <a:pt x="3464" y="3010"/>
                </a:lnTo>
                <a:lnTo>
                  <a:pt x="3482" y="2995"/>
                </a:lnTo>
                <a:lnTo>
                  <a:pt x="3504" y="2978"/>
                </a:lnTo>
                <a:lnTo>
                  <a:pt x="3523" y="2965"/>
                </a:lnTo>
                <a:lnTo>
                  <a:pt x="3530" y="2959"/>
                </a:lnTo>
                <a:lnTo>
                  <a:pt x="3529" y="2957"/>
                </a:lnTo>
                <a:lnTo>
                  <a:pt x="3529" y="2951"/>
                </a:lnTo>
                <a:lnTo>
                  <a:pt x="3530" y="2948"/>
                </a:lnTo>
                <a:lnTo>
                  <a:pt x="3531" y="2943"/>
                </a:lnTo>
                <a:lnTo>
                  <a:pt x="3533" y="2937"/>
                </a:lnTo>
                <a:lnTo>
                  <a:pt x="3537" y="2930"/>
                </a:lnTo>
                <a:lnTo>
                  <a:pt x="3543" y="2916"/>
                </a:lnTo>
                <a:lnTo>
                  <a:pt x="3548" y="2901"/>
                </a:lnTo>
                <a:lnTo>
                  <a:pt x="3550" y="2894"/>
                </a:lnTo>
                <a:lnTo>
                  <a:pt x="3553" y="2887"/>
                </a:lnTo>
                <a:lnTo>
                  <a:pt x="3558" y="2881"/>
                </a:lnTo>
                <a:lnTo>
                  <a:pt x="3562" y="2876"/>
                </a:lnTo>
                <a:lnTo>
                  <a:pt x="3573" y="2865"/>
                </a:lnTo>
                <a:lnTo>
                  <a:pt x="3585" y="2855"/>
                </a:lnTo>
                <a:lnTo>
                  <a:pt x="3597" y="2844"/>
                </a:lnTo>
                <a:lnTo>
                  <a:pt x="3608" y="2833"/>
                </a:lnTo>
                <a:lnTo>
                  <a:pt x="3617" y="2821"/>
                </a:lnTo>
                <a:lnTo>
                  <a:pt x="3625" y="2812"/>
                </a:lnTo>
                <a:lnTo>
                  <a:pt x="3630" y="2803"/>
                </a:lnTo>
                <a:lnTo>
                  <a:pt x="3632" y="2798"/>
                </a:lnTo>
                <a:lnTo>
                  <a:pt x="3633" y="2793"/>
                </a:lnTo>
                <a:lnTo>
                  <a:pt x="3636" y="2788"/>
                </a:lnTo>
                <a:lnTo>
                  <a:pt x="3638" y="2787"/>
                </a:lnTo>
                <a:lnTo>
                  <a:pt x="3640" y="2786"/>
                </a:lnTo>
                <a:lnTo>
                  <a:pt x="3642" y="2787"/>
                </a:lnTo>
                <a:lnTo>
                  <a:pt x="3646" y="2790"/>
                </a:lnTo>
                <a:lnTo>
                  <a:pt x="3648" y="2793"/>
                </a:lnTo>
                <a:lnTo>
                  <a:pt x="3652" y="2795"/>
                </a:lnTo>
                <a:lnTo>
                  <a:pt x="3656" y="2797"/>
                </a:lnTo>
                <a:lnTo>
                  <a:pt x="3660" y="2798"/>
                </a:lnTo>
                <a:lnTo>
                  <a:pt x="3669" y="2799"/>
                </a:lnTo>
                <a:lnTo>
                  <a:pt x="3676" y="2799"/>
                </a:lnTo>
                <a:lnTo>
                  <a:pt x="3688" y="2798"/>
                </a:lnTo>
                <a:lnTo>
                  <a:pt x="3708" y="2797"/>
                </a:lnTo>
                <a:lnTo>
                  <a:pt x="3729" y="2796"/>
                </a:lnTo>
                <a:lnTo>
                  <a:pt x="3744" y="2793"/>
                </a:lnTo>
                <a:lnTo>
                  <a:pt x="3757" y="2787"/>
                </a:lnTo>
                <a:lnTo>
                  <a:pt x="3769" y="2777"/>
                </a:lnTo>
                <a:lnTo>
                  <a:pt x="3776" y="2773"/>
                </a:lnTo>
                <a:lnTo>
                  <a:pt x="3783" y="2770"/>
                </a:lnTo>
                <a:lnTo>
                  <a:pt x="3788" y="2767"/>
                </a:lnTo>
                <a:lnTo>
                  <a:pt x="3792" y="2766"/>
                </a:lnTo>
                <a:lnTo>
                  <a:pt x="3806" y="2764"/>
                </a:lnTo>
                <a:lnTo>
                  <a:pt x="3828" y="2761"/>
                </a:lnTo>
                <a:lnTo>
                  <a:pt x="3853" y="2756"/>
                </a:lnTo>
                <a:lnTo>
                  <a:pt x="3879" y="2753"/>
                </a:lnTo>
                <a:lnTo>
                  <a:pt x="3906" y="2750"/>
                </a:lnTo>
                <a:lnTo>
                  <a:pt x="3935" y="2746"/>
                </a:lnTo>
                <a:lnTo>
                  <a:pt x="3948" y="2745"/>
                </a:lnTo>
                <a:lnTo>
                  <a:pt x="3961" y="2744"/>
                </a:lnTo>
                <a:lnTo>
                  <a:pt x="3971" y="2744"/>
                </a:lnTo>
                <a:lnTo>
                  <a:pt x="3979" y="2746"/>
                </a:lnTo>
                <a:lnTo>
                  <a:pt x="3990" y="2751"/>
                </a:lnTo>
                <a:lnTo>
                  <a:pt x="4001" y="2756"/>
                </a:lnTo>
                <a:lnTo>
                  <a:pt x="4004" y="2758"/>
                </a:lnTo>
                <a:lnTo>
                  <a:pt x="4007" y="2761"/>
                </a:lnTo>
                <a:lnTo>
                  <a:pt x="4008" y="2763"/>
                </a:lnTo>
                <a:lnTo>
                  <a:pt x="4007" y="2765"/>
                </a:lnTo>
                <a:lnTo>
                  <a:pt x="4002" y="2770"/>
                </a:lnTo>
                <a:lnTo>
                  <a:pt x="3997" y="2777"/>
                </a:lnTo>
                <a:lnTo>
                  <a:pt x="3995" y="2783"/>
                </a:lnTo>
                <a:lnTo>
                  <a:pt x="3994" y="2788"/>
                </a:lnTo>
                <a:lnTo>
                  <a:pt x="3995" y="2793"/>
                </a:lnTo>
                <a:lnTo>
                  <a:pt x="3999" y="2800"/>
                </a:lnTo>
                <a:lnTo>
                  <a:pt x="4003" y="2807"/>
                </a:lnTo>
                <a:lnTo>
                  <a:pt x="4006" y="2815"/>
                </a:lnTo>
                <a:lnTo>
                  <a:pt x="4008" y="2822"/>
                </a:lnTo>
                <a:lnTo>
                  <a:pt x="4010" y="2830"/>
                </a:lnTo>
                <a:lnTo>
                  <a:pt x="4014" y="2843"/>
                </a:lnTo>
                <a:lnTo>
                  <a:pt x="4019" y="2854"/>
                </a:lnTo>
                <a:lnTo>
                  <a:pt x="4021" y="2858"/>
                </a:lnTo>
                <a:lnTo>
                  <a:pt x="4023" y="2861"/>
                </a:lnTo>
                <a:lnTo>
                  <a:pt x="4026" y="2864"/>
                </a:lnTo>
                <a:lnTo>
                  <a:pt x="4029" y="2866"/>
                </a:lnTo>
                <a:lnTo>
                  <a:pt x="4032" y="2867"/>
                </a:lnTo>
                <a:lnTo>
                  <a:pt x="4036" y="2869"/>
                </a:lnTo>
                <a:lnTo>
                  <a:pt x="4042" y="2871"/>
                </a:lnTo>
                <a:lnTo>
                  <a:pt x="4048" y="2871"/>
                </a:lnTo>
                <a:lnTo>
                  <a:pt x="4061" y="2869"/>
                </a:lnTo>
                <a:lnTo>
                  <a:pt x="4073" y="2869"/>
                </a:lnTo>
                <a:lnTo>
                  <a:pt x="4079" y="2869"/>
                </a:lnTo>
                <a:lnTo>
                  <a:pt x="4085" y="2872"/>
                </a:lnTo>
                <a:lnTo>
                  <a:pt x="4090" y="2875"/>
                </a:lnTo>
                <a:lnTo>
                  <a:pt x="4095" y="2880"/>
                </a:lnTo>
                <a:lnTo>
                  <a:pt x="4102" y="2886"/>
                </a:lnTo>
                <a:lnTo>
                  <a:pt x="4111" y="2893"/>
                </a:lnTo>
                <a:lnTo>
                  <a:pt x="4121" y="2899"/>
                </a:lnTo>
                <a:lnTo>
                  <a:pt x="4133" y="2904"/>
                </a:lnTo>
                <a:lnTo>
                  <a:pt x="4145" y="2909"/>
                </a:lnTo>
                <a:lnTo>
                  <a:pt x="4158" y="2913"/>
                </a:lnTo>
                <a:lnTo>
                  <a:pt x="4170" y="2917"/>
                </a:lnTo>
                <a:lnTo>
                  <a:pt x="4182" y="2920"/>
                </a:lnTo>
                <a:lnTo>
                  <a:pt x="4188" y="2920"/>
                </a:lnTo>
                <a:lnTo>
                  <a:pt x="4193" y="2919"/>
                </a:lnTo>
                <a:lnTo>
                  <a:pt x="4198" y="2916"/>
                </a:lnTo>
                <a:lnTo>
                  <a:pt x="4203" y="2911"/>
                </a:lnTo>
                <a:lnTo>
                  <a:pt x="4211" y="2901"/>
                </a:lnTo>
                <a:lnTo>
                  <a:pt x="4220" y="2888"/>
                </a:lnTo>
                <a:lnTo>
                  <a:pt x="4228" y="2877"/>
                </a:lnTo>
                <a:lnTo>
                  <a:pt x="4236" y="2867"/>
                </a:lnTo>
                <a:lnTo>
                  <a:pt x="4241" y="2864"/>
                </a:lnTo>
                <a:lnTo>
                  <a:pt x="4245" y="2862"/>
                </a:lnTo>
                <a:lnTo>
                  <a:pt x="4250" y="2862"/>
                </a:lnTo>
                <a:lnTo>
                  <a:pt x="4255" y="2864"/>
                </a:lnTo>
                <a:lnTo>
                  <a:pt x="4275" y="2876"/>
                </a:lnTo>
                <a:lnTo>
                  <a:pt x="4294" y="2887"/>
                </a:lnTo>
                <a:lnTo>
                  <a:pt x="4304" y="2893"/>
                </a:lnTo>
                <a:lnTo>
                  <a:pt x="4313" y="2897"/>
                </a:lnTo>
                <a:lnTo>
                  <a:pt x="4323" y="2901"/>
                </a:lnTo>
                <a:lnTo>
                  <a:pt x="4334" y="2903"/>
                </a:lnTo>
                <a:lnTo>
                  <a:pt x="4346" y="2905"/>
                </a:lnTo>
                <a:lnTo>
                  <a:pt x="4359" y="2906"/>
                </a:lnTo>
                <a:lnTo>
                  <a:pt x="4373" y="2907"/>
                </a:lnTo>
                <a:lnTo>
                  <a:pt x="4385" y="2907"/>
                </a:lnTo>
                <a:lnTo>
                  <a:pt x="4406" y="2907"/>
                </a:lnTo>
                <a:lnTo>
                  <a:pt x="4415" y="2906"/>
                </a:lnTo>
                <a:lnTo>
                  <a:pt x="4417" y="2903"/>
                </a:lnTo>
                <a:lnTo>
                  <a:pt x="4423" y="2898"/>
                </a:lnTo>
                <a:lnTo>
                  <a:pt x="4428" y="2896"/>
                </a:lnTo>
                <a:lnTo>
                  <a:pt x="4434" y="2895"/>
                </a:lnTo>
                <a:lnTo>
                  <a:pt x="4438" y="2896"/>
                </a:lnTo>
                <a:lnTo>
                  <a:pt x="4442" y="2897"/>
                </a:lnTo>
                <a:lnTo>
                  <a:pt x="4446" y="2899"/>
                </a:lnTo>
                <a:lnTo>
                  <a:pt x="4450" y="2901"/>
                </a:lnTo>
                <a:lnTo>
                  <a:pt x="4465" y="2912"/>
                </a:lnTo>
                <a:lnTo>
                  <a:pt x="4474" y="2918"/>
                </a:lnTo>
                <a:lnTo>
                  <a:pt x="4478" y="2919"/>
                </a:lnTo>
                <a:lnTo>
                  <a:pt x="4482" y="2919"/>
                </a:lnTo>
                <a:lnTo>
                  <a:pt x="4486" y="2918"/>
                </a:lnTo>
                <a:lnTo>
                  <a:pt x="4491" y="2916"/>
                </a:lnTo>
                <a:lnTo>
                  <a:pt x="4503" y="2909"/>
                </a:lnTo>
                <a:lnTo>
                  <a:pt x="4513" y="2903"/>
                </a:lnTo>
                <a:lnTo>
                  <a:pt x="4520" y="2898"/>
                </a:lnTo>
                <a:lnTo>
                  <a:pt x="4524" y="2897"/>
                </a:lnTo>
                <a:lnTo>
                  <a:pt x="4524" y="2889"/>
                </a:lnTo>
                <a:lnTo>
                  <a:pt x="4524" y="2875"/>
                </a:lnTo>
                <a:lnTo>
                  <a:pt x="4524" y="2865"/>
                </a:lnTo>
                <a:lnTo>
                  <a:pt x="4525" y="2856"/>
                </a:lnTo>
                <a:lnTo>
                  <a:pt x="4527" y="2846"/>
                </a:lnTo>
                <a:lnTo>
                  <a:pt x="4529" y="2839"/>
                </a:lnTo>
                <a:lnTo>
                  <a:pt x="4535" y="2825"/>
                </a:lnTo>
                <a:lnTo>
                  <a:pt x="4541" y="2813"/>
                </a:lnTo>
                <a:lnTo>
                  <a:pt x="4546" y="2802"/>
                </a:lnTo>
                <a:lnTo>
                  <a:pt x="4549" y="2797"/>
                </a:lnTo>
                <a:lnTo>
                  <a:pt x="4551" y="2790"/>
                </a:lnTo>
                <a:lnTo>
                  <a:pt x="4551" y="2779"/>
                </a:lnTo>
                <a:lnTo>
                  <a:pt x="4551" y="2775"/>
                </a:lnTo>
                <a:lnTo>
                  <a:pt x="4549" y="2771"/>
                </a:lnTo>
                <a:lnTo>
                  <a:pt x="4547" y="2770"/>
                </a:lnTo>
                <a:lnTo>
                  <a:pt x="4544" y="2769"/>
                </a:lnTo>
                <a:lnTo>
                  <a:pt x="4542" y="2769"/>
                </a:lnTo>
                <a:lnTo>
                  <a:pt x="4539" y="2769"/>
                </a:lnTo>
                <a:lnTo>
                  <a:pt x="4527" y="2773"/>
                </a:lnTo>
                <a:lnTo>
                  <a:pt x="4514" y="2780"/>
                </a:lnTo>
                <a:lnTo>
                  <a:pt x="4508" y="2784"/>
                </a:lnTo>
                <a:lnTo>
                  <a:pt x="4503" y="2785"/>
                </a:lnTo>
                <a:lnTo>
                  <a:pt x="4498" y="2786"/>
                </a:lnTo>
                <a:lnTo>
                  <a:pt x="4494" y="2785"/>
                </a:lnTo>
                <a:lnTo>
                  <a:pt x="4486" y="2778"/>
                </a:lnTo>
                <a:lnTo>
                  <a:pt x="4475" y="2773"/>
                </a:lnTo>
                <a:lnTo>
                  <a:pt x="4470" y="2771"/>
                </a:lnTo>
                <a:lnTo>
                  <a:pt x="4465" y="2769"/>
                </a:lnTo>
                <a:lnTo>
                  <a:pt x="4460" y="2769"/>
                </a:lnTo>
                <a:lnTo>
                  <a:pt x="4454" y="2771"/>
                </a:lnTo>
                <a:lnTo>
                  <a:pt x="4444" y="2776"/>
                </a:lnTo>
                <a:lnTo>
                  <a:pt x="4432" y="2780"/>
                </a:lnTo>
                <a:lnTo>
                  <a:pt x="4423" y="2784"/>
                </a:lnTo>
                <a:lnTo>
                  <a:pt x="4416" y="2785"/>
                </a:lnTo>
                <a:lnTo>
                  <a:pt x="4403" y="2787"/>
                </a:lnTo>
                <a:lnTo>
                  <a:pt x="4382" y="2791"/>
                </a:lnTo>
                <a:lnTo>
                  <a:pt x="4363" y="2796"/>
                </a:lnTo>
                <a:lnTo>
                  <a:pt x="4355" y="2799"/>
                </a:lnTo>
                <a:lnTo>
                  <a:pt x="4352" y="2795"/>
                </a:lnTo>
                <a:lnTo>
                  <a:pt x="4344" y="2787"/>
                </a:lnTo>
                <a:lnTo>
                  <a:pt x="4341" y="2781"/>
                </a:lnTo>
                <a:lnTo>
                  <a:pt x="4338" y="2775"/>
                </a:lnTo>
                <a:lnTo>
                  <a:pt x="4336" y="2770"/>
                </a:lnTo>
                <a:lnTo>
                  <a:pt x="4336" y="2765"/>
                </a:lnTo>
                <a:lnTo>
                  <a:pt x="4339" y="2756"/>
                </a:lnTo>
                <a:lnTo>
                  <a:pt x="4343" y="2749"/>
                </a:lnTo>
                <a:lnTo>
                  <a:pt x="4344" y="2746"/>
                </a:lnTo>
                <a:lnTo>
                  <a:pt x="4346" y="2742"/>
                </a:lnTo>
                <a:lnTo>
                  <a:pt x="4346" y="2737"/>
                </a:lnTo>
                <a:lnTo>
                  <a:pt x="4346" y="2733"/>
                </a:lnTo>
                <a:lnTo>
                  <a:pt x="4343" y="2724"/>
                </a:lnTo>
                <a:lnTo>
                  <a:pt x="4339" y="2714"/>
                </a:lnTo>
                <a:lnTo>
                  <a:pt x="4338" y="2709"/>
                </a:lnTo>
                <a:lnTo>
                  <a:pt x="4337" y="2705"/>
                </a:lnTo>
                <a:lnTo>
                  <a:pt x="4337" y="2700"/>
                </a:lnTo>
                <a:lnTo>
                  <a:pt x="4339" y="2696"/>
                </a:lnTo>
                <a:lnTo>
                  <a:pt x="4345" y="2684"/>
                </a:lnTo>
                <a:lnTo>
                  <a:pt x="4352" y="2670"/>
                </a:lnTo>
                <a:lnTo>
                  <a:pt x="4355" y="2664"/>
                </a:lnTo>
                <a:lnTo>
                  <a:pt x="4358" y="2659"/>
                </a:lnTo>
                <a:lnTo>
                  <a:pt x="4360" y="2656"/>
                </a:lnTo>
                <a:lnTo>
                  <a:pt x="4363" y="2654"/>
                </a:lnTo>
                <a:lnTo>
                  <a:pt x="4359" y="2654"/>
                </a:lnTo>
                <a:lnTo>
                  <a:pt x="4344" y="2659"/>
                </a:lnTo>
                <a:lnTo>
                  <a:pt x="4327" y="2665"/>
                </a:lnTo>
                <a:lnTo>
                  <a:pt x="4317" y="2668"/>
                </a:lnTo>
                <a:lnTo>
                  <a:pt x="4312" y="2684"/>
                </a:lnTo>
                <a:lnTo>
                  <a:pt x="4308" y="2698"/>
                </a:lnTo>
                <a:lnTo>
                  <a:pt x="4299" y="2692"/>
                </a:lnTo>
                <a:lnTo>
                  <a:pt x="4286" y="2683"/>
                </a:lnTo>
                <a:lnTo>
                  <a:pt x="4279" y="2678"/>
                </a:lnTo>
                <a:lnTo>
                  <a:pt x="4273" y="2675"/>
                </a:lnTo>
                <a:lnTo>
                  <a:pt x="4270" y="2674"/>
                </a:lnTo>
                <a:lnTo>
                  <a:pt x="4268" y="2674"/>
                </a:lnTo>
                <a:lnTo>
                  <a:pt x="4267" y="2674"/>
                </a:lnTo>
                <a:lnTo>
                  <a:pt x="4266" y="2675"/>
                </a:lnTo>
                <a:lnTo>
                  <a:pt x="4264" y="2678"/>
                </a:lnTo>
                <a:lnTo>
                  <a:pt x="4264" y="2682"/>
                </a:lnTo>
                <a:lnTo>
                  <a:pt x="4263" y="2686"/>
                </a:lnTo>
                <a:lnTo>
                  <a:pt x="4264" y="2691"/>
                </a:lnTo>
                <a:lnTo>
                  <a:pt x="4265" y="2702"/>
                </a:lnTo>
                <a:lnTo>
                  <a:pt x="4269" y="2714"/>
                </a:lnTo>
                <a:lnTo>
                  <a:pt x="4269" y="2718"/>
                </a:lnTo>
                <a:lnTo>
                  <a:pt x="4270" y="2722"/>
                </a:lnTo>
                <a:lnTo>
                  <a:pt x="4269" y="2725"/>
                </a:lnTo>
                <a:lnTo>
                  <a:pt x="4269" y="2728"/>
                </a:lnTo>
                <a:lnTo>
                  <a:pt x="4266" y="2733"/>
                </a:lnTo>
                <a:lnTo>
                  <a:pt x="4263" y="2740"/>
                </a:lnTo>
                <a:lnTo>
                  <a:pt x="4254" y="2747"/>
                </a:lnTo>
                <a:lnTo>
                  <a:pt x="4251" y="2751"/>
                </a:lnTo>
                <a:lnTo>
                  <a:pt x="4246" y="2747"/>
                </a:lnTo>
                <a:lnTo>
                  <a:pt x="4235" y="2740"/>
                </a:lnTo>
                <a:lnTo>
                  <a:pt x="4229" y="2734"/>
                </a:lnTo>
                <a:lnTo>
                  <a:pt x="4224" y="2730"/>
                </a:lnTo>
                <a:lnTo>
                  <a:pt x="4221" y="2726"/>
                </a:lnTo>
                <a:lnTo>
                  <a:pt x="4220" y="2723"/>
                </a:lnTo>
                <a:lnTo>
                  <a:pt x="4216" y="2709"/>
                </a:lnTo>
                <a:lnTo>
                  <a:pt x="4206" y="2686"/>
                </a:lnTo>
                <a:lnTo>
                  <a:pt x="4198" y="2663"/>
                </a:lnTo>
                <a:lnTo>
                  <a:pt x="4193" y="2652"/>
                </a:lnTo>
                <a:lnTo>
                  <a:pt x="4192" y="2645"/>
                </a:lnTo>
                <a:lnTo>
                  <a:pt x="4187" y="2637"/>
                </a:lnTo>
                <a:lnTo>
                  <a:pt x="4182" y="2627"/>
                </a:lnTo>
                <a:lnTo>
                  <a:pt x="4177" y="2621"/>
                </a:lnTo>
                <a:lnTo>
                  <a:pt x="4162" y="2612"/>
                </a:lnTo>
                <a:lnTo>
                  <a:pt x="4136" y="2595"/>
                </a:lnTo>
                <a:lnTo>
                  <a:pt x="4108" y="2577"/>
                </a:lnTo>
                <a:lnTo>
                  <a:pt x="4089" y="2564"/>
                </a:lnTo>
                <a:lnTo>
                  <a:pt x="4077" y="2550"/>
                </a:lnTo>
                <a:lnTo>
                  <a:pt x="4065" y="2531"/>
                </a:lnTo>
                <a:lnTo>
                  <a:pt x="4058" y="2523"/>
                </a:lnTo>
                <a:lnTo>
                  <a:pt x="4053" y="2516"/>
                </a:lnTo>
                <a:lnTo>
                  <a:pt x="4051" y="2513"/>
                </a:lnTo>
                <a:lnTo>
                  <a:pt x="4049" y="2512"/>
                </a:lnTo>
                <a:lnTo>
                  <a:pt x="4047" y="2512"/>
                </a:lnTo>
                <a:lnTo>
                  <a:pt x="4046" y="2512"/>
                </a:lnTo>
                <a:lnTo>
                  <a:pt x="4036" y="2526"/>
                </a:lnTo>
                <a:lnTo>
                  <a:pt x="4031" y="2534"/>
                </a:lnTo>
                <a:lnTo>
                  <a:pt x="4032" y="2537"/>
                </a:lnTo>
                <a:lnTo>
                  <a:pt x="4035" y="2544"/>
                </a:lnTo>
                <a:lnTo>
                  <a:pt x="4041" y="2551"/>
                </a:lnTo>
                <a:lnTo>
                  <a:pt x="4046" y="2557"/>
                </a:lnTo>
                <a:lnTo>
                  <a:pt x="4050" y="2562"/>
                </a:lnTo>
                <a:lnTo>
                  <a:pt x="4055" y="2572"/>
                </a:lnTo>
                <a:lnTo>
                  <a:pt x="4059" y="2578"/>
                </a:lnTo>
                <a:lnTo>
                  <a:pt x="4065" y="2584"/>
                </a:lnTo>
                <a:lnTo>
                  <a:pt x="4072" y="2591"/>
                </a:lnTo>
                <a:lnTo>
                  <a:pt x="4082" y="2598"/>
                </a:lnTo>
                <a:lnTo>
                  <a:pt x="4108" y="2615"/>
                </a:lnTo>
                <a:lnTo>
                  <a:pt x="4136" y="2634"/>
                </a:lnTo>
                <a:lnTo>
                  <a:pt x="4159" y="2650"/>
                </a:lnTo>
                <a:lnTo>
                  <a:pt x="4170" y="2659"/>
                </a:lnTo>
                <a:lnTo>
                  <a:pt x="4171" y="2662"/>
                </a:lnTo>
                <a:lnTo>
                  <a:pt x="4171" y="2666"/>
                </a:lnTo>
                <a:lnTo>
                  <a:pt x="4171" y="2670"/>
                </a:lnTo>
                <a:lnTo>
                  <a:pt x="4170" y="2676"/>
                </a:lnTo>
                <a:lnTo>
                  <a:pt x="4169" y="2684"/>
                </a:lnTo>
                <a:lnTo>
                  <a:pt x="4168" y="2688"/>
                </a:lnTo>
                <a:lnTo>
                  <a:pt x="4163" y="2684"/>
                </a:lnTo>
                <a:lnTo>
                  <a:pt x="4152" y="2677"/>
                </a:lnTo>
                <a:lnTo>
                  <a:pt x="4145" y="2674"/>
                </a:lnTo>
                <a:lnTo>
                  <a:pt x="4139" y="2671"/>
                </a:lnTo>
                <a:lnTo>
                  <a:pt x="4137" y="2670"/>
                </a:lnTo>
                <a:lnTo>
                  <a:pt x="4136" y="2670"/>
                </a:lnTo>
                <a:lnTo>
                  <a:pt x="4135" y="2671"/>
                </a:lnTo>
                <a:lnTo>
                  <a:pt x="4134" y="2672"/>
                </a:lnTo>
                <a:lnTo>
                  <a:pt x="4135" y="2677"/>
                </a:lnTo>
                <a:lnTo>
                  <a:pt x="4137" y="2681"/>
                </a:lnTo>
                <a:lnTo>
                  <a:pt x="4140" y="2685"/>
                </a:lnTo>
                <a:lnTo>
                  <a:pt x="4143" y="2690"/>
                </a:lnTo>
                <a:lnTo>
                  <a:pt x="4145" y="2694"/>
                </a:lnTo>
                <a:lnTo>
                  <a:pt x="4147" y="2699"/>
                </a:lnTo>
                <a:lnTo>
                  <a:pt x="4148" y="2702"/>
                </a:lnTo>
                <a:lnTo>
                  <a:pt x="4147" y="2704"/>
                </a:lnTo>
                <a:lnTo>
                  <a:pt x="4139" y="2712"/>
                </a:lnTo>
                <a:lnTo>
                  <a:pt x="4126" y="2725"/>
                </a:lnTo>
                <a:lnTo>
                  <a:pt x="4119" y="2731"/>
                </a:lnTo>
                <a:lnTo>
                  <a:pt x="4113" y="2735"/>
                </a:lnTo>
                <a:lnTo>
                  <a:pt x="4110" y="2737"/>
                </a:lnTo>
                <a:lnTo>
                  <a:pt x="4108" y="2739"/>
                </a:lnTo>
                <a:lnTo>
                  <a:pt x="4105" y="2739"/>
                </a:lnTo>
                <a:lnTo>
                  <a:pt x="4104" y="2739"/>
                </a:lnTo>
                <a:lnTo>
                  <a:pt x="4102" y="2736"/>
                </a:lnTo>
                <a:lnTo>
                  <a:pt x="4100" y="2736"/>
                </a:lnTo>
                <a:lnTo>
                  <a:pt x="4099" y="2736"/>
                </a:lnTo>
                <a:lnTo>
                  <a:pt x="4097" y="2737"/>
                </a:lnTo>
                <a:lnTo>
                  <a:pt x="4095" y="2741"/>
                </a:lnTo>
                <a:lnTo>
                  <a:pt x="4095" y="2744"/>
                </a:lnTo>
                <a:lnTo>
                  <a:pt x="4095" y="2748"/>
                </a:lnTo>
                <a:lnTo>
                  <a:pt x="4094" y="2753"/>
                </a:lnTo>
                <a:lnTo>
                  <a:pt x="4093" y="2756"/>
                </a:lnTo>
                <a:lnTo>
                  <a:pt x="4092" y="2758"/>
                </a:lnTo>
                <a:lnTo>
                  <a:pt x="4090" y="2761"/>
                </a:lnTo>
                <a:lnTo>
                  <a:pt x="4087" y="2762"/>
                </a:lnTo>
                <a:lnTo>
                  <a:pt x="4082" y="2762"/>
                </a:lnTo>
                <a:lnTo>
                  <a:pt x="4074" y="2758"/>
                </a:lnTo>
                <a:lnTo>
                  <a:pt x="4065" y="2754"/>
                </a:lnTo>
                <a:lnTo>
                  <a:pt x="4054" y="2750"/>
                </a:lnTo>
                <a:lnTo>
                  <a:pt x="4044" y="2745"/>
                </a:lnTo>
                <a:lnTo>
                  <a:pt x="4036" y="2740"/>
                </a:lnTo>
                <a:lnTo>
                  <a:pt x="4033" y="2737"/>
                </a:lnTo>
                <a:lnTo>
                  <a:pt x="4031" y="2736"/>
                </a:lnTo>
                <a:lnTo>
                  <a:pt x="4031" y="2734"/>
                </a:lnTo>
                <a:lnTo>
                  <a:pt x="4031" y="2733"/>
                </a:lnTo>
                <a:lnTo>
                  <a:pt x="4039" y="2730"/>
                </a:lnTo>
                <a:lnTo>
                  <a:pt x="4053" y="2727"/>
                </a:lnTo>
                <a:lnTo>
                  <a:pt x="4067" y="2725"/>
                </a:lnTo>
                <a:lnTo>
                  <a:pt x="4077" y="2724"/>
                </a:lnTo>
                <a:lnTo>
                  <a:pt x="4083" y="2725"/>
                </a:lnTo>
                <a:lnTo>
                  <a:pt x="4091" y="2729"/>
                </a:lnTo>
                <a:lnTo>
                  <a:pt x="4093" y="2731"/>
                </a:lnTo>
                <a:lnTo>
                  <a:pt x="4096" y="2732"/>
                </a:lnTo>
                <a:lnTo>
                  <a:pt x="4097" y="2731"/>
                </a:lnTo>
                <a:lnTo>
                  <a:pt x="4098" y="2729"/>
                </a:lnTo>
                <a:lnTo>
                  <a:pt x="4101" y="2715"/>
                </a:lnTo>
                <a:lnTo>
                  <a:pt x="4105" y="2705"/>
                </a:lnTo>
                <a:lnTo>
                  <a:pt x="4108" y="2701"/>
                </a:lnTo>
                <a:lnTo>
                  <a:pt x="4110" y="2697"/>
                </a:lnTo>
                <a:lnTo>
                  <a:pt x="4111" y="2694"/>
                </a:lnTo>
                <a:lnTo>
                  <a:pt x="4110" y="2691"/>
                </a:lnTo>
                <a:lnTo>
                  <a:pt x="4109" y="2688"/>
                </a:lnTo>
                <a:lnTo>
                  <a:pt x="4105" y="2685"/>
                </a:lnTo>
                <a:lnTo>
                  <a:pt x="4088" y="2672"/>
                </a:lnTo>
                <a:lnTo>
                  <a:pt x="4057" y="2652"/>
                </a:lnTo>
                <a:lnTo>
                  <a:pt x="4041" y="2640"/>
                </a:lnTo>
                <a:lnTo>
                  <a:pt x="4027" y="2630"/>
                </a:lnTo>
                <a:lnTo>
                  <a:pt x="4015" y="2620"/>
                </a:lnTo>
                <a:lnTo>
                  <a:pt x="4010" y="2615"/>
                </a:lnTo>
                <a:lnTo>
                  <a:pt x="4000" y="2600"/>
                </a:lnTo>
                <a:lnTo>
                  <a:pt x="3983" y="2578"/>
                </a:lnTo>
                <a:lnTo>
                  <a:pt x="3967" y="2558"/>
                </a:lnTo>
                <a:lnTo>
                  <a:pt x="3960" y="2550"/>
                </a:lnTo>
                <a:lnTo>
                  <a:pt x="3948" y="2555"/>
                </a:lnTo>
                <a:lnTo>
                  <a:pt x="3935" y="2565"/>
                </a:lnTo>
                <a:lnTo>
                  <a:pt x="3927" y="2572"/>
                </a:lnTo>
                <a:lnTo>
                  <a:pt x="3914" y="2583"/>
                </a:lnTo>
                <a:lnTo>
                  <a:pt x="3906" y="2589"/>
                </a:lnTo>
                <a:lnTo>
                  <a:pt x="3899" y="2593"/>
                </a:lnTo>
                <a:lnTo>
                  <a:pt x="3896" y="2595"/>
                </a:lnTo>
                <a:lnTo>
                  <a:pt x="3893" y="2595"/>
                </a:lnTo>
                <a:lnTo>
                  <a:pt x="3890" y="2595"/>
                </a:lnTo>
                <a:lnTo>
                  <a:pt x="3887" y="2595"/>
                </a:lnTo>
                <a:lnTo>
                  <a:pt x="3874" y="2588"/>
                </a:lnTo>
                <a:lnTo>
                  <a:pt x="3859" y="2580"/>
                </a:lnTo>
                <a:lnTo>
                  <a:pt x="3852" y="2578"/>
                </a:lnTo>
                <a:lnTo>
                  <a:pt x="3846" y="2577"/>
                </a:lnTo>
                <a:lnTo>
                  <a:pt x="3843" y="2577"/>
                </a:lnTo>
                <a:lnTo>
                  <a:pt x="3840" y="2578"/>
                </a:lnTo>
                <a:lnTo>
                  <a:pt x="3837" y="2580"/>
                </a:lnTo>
                <a:lnTo>
                  <a:pt x="3836" y="2582"/>
                </a:lnTo>
                <a:lnTo>
                  <a:pt x="3831" y="2591"/>
                </a:lnTo>
                <a:lnTo>
                  <a:pt x="3829" y="2597"/>
                </a:lnTo>
                <a:lnTo>
                  <a:pt x="3829" y="2600"/>
                </a:lnTo>
                <a:lnTo>
                  <a:pt x="3830" y="2602"/>
                </a:lnTo>
                <a:lnTo>
                  <a:pt x="3831" y="2604"/>
                </a:lnTo>
                <a:lnTo>
                  <a:pt x="3833" y="2606"/>
                </a:lnTo>
                <a:lnTo>
                  <a:pt x="3835" y="2609"/>
                </a:lnTo>
                <a:lnTo>
                  <a:pt x="3837" y="2611"/>
                </a:lnTo>
                <a:lnTo>
                  <a:pt x="3837" y="2614"/>
                </a:lnTo>
                <a:lnTo>
                  <a:pt x="3837" y="2616"/>
                </a:lnTo>
                <a:lnTo>
                  <a:pt x="3836" y="2620"/>
                </a:lnTo>
                <a:lnTo>
                  <a:pt x="3834" y="2623"/>
                </a:lnTo>
                <a:lnTo>
                  <a:pt x="3831" y="2625"/>
                </a:lnTo>
                <a:lnTo>
                  <a:pt x="3825" y="2627"/>
                </a:lnTo>
                <a:lnTo>
                  <a:pt x="3822" y="2630"/>
                </a:lnTo>
                <a:lnTo>
                  <a:pt x="3817" y="2632"/>
                </a:lnTo>
                <a:lnTo>
                  <a:pt x="3814" y="2635"/>
                </a:lnTo>
                <a:lnTo>
                  <a:pt x="3811" y="2639"/>
                </a:lnTo>
                <a:lnTo>
                  <a:pt x="3804" y="2647"/>
                </a:lnTo>
                <a:lnTo>
                  <a:pt x="3794" y="2654"/>
                </a:lnTo>
                <a:lnTo>
                  <a:pt x="3787" y="2659"/>
                </a:lnTo>
                <a:lnTo>
                  <a:pt x="3781" y="2662"/>
                </a:lnTo>
                <a:lnTo>
                  <a:pt x="3775" y="2667"/>
                </a:lnTo>
                <a:lnTo>
                  <a:pt x="3770" y="2675"/>
                </a:lnTo>
                <a:lnTo>
                  <a:pt x="3767" y="2679"/>
                </a:lnTo>
                <a:lnTo>
                  <a:pt x="3765" y="2684"/>
                </a:lnTo>
                <a:lnTo>
                  <a:pt x="3763" y="2690"/>
                </a:lnTo>
                <a:lnTo>
                  <a:pt x="3762" y="2697"/>
                </a:lnTo>
                <a:lnTo>
                  <a:pt x="3762" y="2705"/>
                </a:lnTo>
                <a:lnTo>
                  <a:pt x="3763" y="2708"/>
                </a:lnTo>
                <a:lnTo>
                  <a:pt x="3762" y="2711"/>
                </a:lnTo>
                <a:lnTo>
                  <a:pt x="3759" y="2716"/>
                </a:lnTo>
                <a:lnTo>
                  <a:pt x="3752" y="2727"/>
                </a:lnTo>
                <a:lnTo>
                  <a:pt x="3744" y="2740"/>
                </a:lnTo>
                <a:lnTo>
                  <a:pt x="3740" y="2746"/>
                </a:lnTo>
                <a:lnTo>
                  <a:pt x="3734" y="2751"/>
                </a:lnTo>
                <a:lnTo>
                  <a:pt x="3728" y="2755"/>
                </a:lnTo>
                <a:lnTo>
                  <a:pt x="3722" y="2758"/>
                </a:lnTo>
                <a:lnTo>
                  <a:pt x="3715" y="2761"/>
                </a:lnTo>
                <a:lnTo>
                  <a:pt x="3706" y="2763"/>
                </a:lnTo>
                <a:lnTo>
                  <a:pt x="3698" y="2763"/>
                </a:lnTo>
                <a:lnTo>
                  <a:pt x="3688" y="2764"/>
                </a:lnTo>
                <a:lnTo>
                  <a:pt x="3680" y="2764"/>
                </a:lnTo>
                <a:lnTo>
                  <a:pt x="3673" y="2765"/>
                </a:lnTo>
                <a:lnTo>
                  <a:pt x="3668" y="2766"/>
                </a:lnTo>
                <a:lnTo>
                  <a:pt x="3663" y="2767"/>
                </a:lnTo>
                <a:lnTo>
                  <a:pt x="3657" y="2771"/>
                </a:lnTo>
                <a:lnTo>
                  <a:pt x="3650" y="2776"/>
                </a:lnTo>
                <a:lnTo>
                  <a:pt x="3643" y="2779"/>
                </a:lnTo>
                <a:lnTo>
                  <a:pt x="3639" y="2779"/>
                </a:lnTo>
                <a:lnTo>
                  <a:pt x="3629" y="2770"/>
                </a:lnTo>
                <a:lnTo>
                  <a:pt x="3617" y="2759"/>
                </a:lnTo>
                <a:lnTo>
                  <a:pt x="3613" y="2756"/>
                </a:lnTo>
                <a:lnTo>
                  <a:pt x="3607" y="2753"/>
                </a:lnTo>
                <a:lnTo>
                  <a:pt x="3598" y="2751"/>
                </a:lnTo>
                <a:lnTo>
                  <a:pt x="3593" y="2751"/>
                </a:lnTo>
                <a:lnTo>
                  <a:pt x="3590" y="2752"/>
                </a:lnTo>
                <a:lnTo>
                  <a:pt x="3586" y="2750"/>
                </a:lnTo>
                <a:lnTo>
                  <a:pt x="3582" y="2749"/>
                </a:lnTo>
                <a:lnTo>
                  <a:pt x="3576" y="2746"/>
                </a:lnTo>
                <a:lnTo>
                  <a:pt x="3567" y="2741"/>
                </a:lnTo>
                <a:lnTo>
                  <a:pt x="3563" y="2735"/>
                </a:lnTo>
                <a:lnTo>
                  <a:pt x="3560" y="2726"/>
                </a:lnTo>
                <a:lnTo>
                  <a:pt x="3553" y="2707"/>
                </a:lnTo>
                <a:lnTo>
                  <a:pt x="3550" y="2697"/>
                </a:lnTo>
                <a:lnTo>
                  <a:pt x="3548" y="2686"/>
                </a:lnTo>
                <a:lnTo>
                  <a:pt x="3547" y="2678"/>
                </a:lnTo>
                <a:lnTo>
                  <a:pt x="3548" y="2671"/>
                </a:lnTo>
                <a:lnTo>
                  <a:pt x="3553" y="2659"/>
                </a:lnTo>
                <a:lnTo>
                  <a:pt x="3559" y="2645"/>
                </a:lnTo>
                <a:lnTo>
                  <a:pt x="3563" y="2632"/>
                </a:lnTo>
                <a:lnTo>
                  <a:pt x="3564" y="2621"/>
                </a:lnTo>
                <a:lnTo>
                  <a:pt x="3560" y="2605"/>
                </a:lnTo>
                <a:lnTo>
                  <a:pt x="3556" y="2596"/>
                </a:lnTo>
                <a:lnTo>
                  <a:pt x="3555" y="2593"/>
                </a:lnTo>
                <a:lnTo>
                  <a:pt x="3553" y="2588"/>
                </a:lnTo>
                <a:lnTo>
                  <a:pt x="3553" y="2584"/>
                </a:lnTo>
                <a:lnTo>
                  <a:pt x="3553" y="2580"/>
                </a:lnTo>
                <a:lnTo>
                  <a:pt x="3555" y="2577"/>
                </a:lnTo>
                <a:lnTo>
                  <a:pt x="3558" y="2575"/>
                </a:lnTo>
                <a:lnTo>
                  <a:pt x="3565" y="2570"/>
                </a:lnTo>
                <a:lnTo>
                  <a:pt x="3571" y="2566"/>
                </a:lnTo>
                <a:lnTo>
                  <a:pt x="3574" y="2564"/>
                </a:lnTo>
                <a:lnTo>
                  <a:pt x="3577" y="2561"/>
                </a:lnTo>
                <a:lnTo>
                  <a:pt x="3581" y="2561"/>
                </a:lnTo>
                <a:lnTo>
                  <a:pt x="3584" y="2561"/>
                </a:lnTo>
                <a:lnTo>
                  <a:pt x="3590" y="2564"/>
                </a:lnTo>
                <a:lnTo>
                  <a:pt x="3595" y="2565"/>
                </a:lnTo>
                <a:lnTo>
                  <a:pt x="3602" y="2565"/>
                </a:lnTo>
                <a:lnTo>
                  <a:pt x="3608" y="2565"/>
                </a:lnTo>
                <a:lnTo>
                  <a:pt x="3625" y="2562"/>
                </a:lnTo>
                <a:lnTo>
                  <a:pt x="3639" y="2562"/>
                </a:lnTo>
                <a:lnTo>
                  <a:pt x="3644" y="2565"/>
                </a:lnTo>
                <a:lnTo>
                  <a:pt x="3651" y="2567"/>
                </a:lnTo>
                <a:lnTo>
                  <a:pt x="3659" y="2569"/>
                </a:lnTo>
                <a:lnTo>
                  <a:pt x="3670" y="2569"/>
                </a:lnTo>
                <a:lnTo>
                  <a:pt x="3683" y="2569"/>
                </a:lnTo>
                <a:lnTo>
                  <a:pt x="3701" y="2568"/>
                </a:lnTo>
                <a:lnTo>
                  <a:pt x="3717" y="2568"/>
                </a:lnTo>
                <a:lnTo>
                  <a:pt x="3724" y="2566"/>
                </a:lnTo>
                <a:lnTo>
                  <a:pt x="3727" y="2558"/>
                </a:lnTo>
                <a:lnTo>
                  <a:pt x="3734" y="2543"/>
                </a:lnTo>
                <a:lnTo>
                  <a:pt x="3736" y="2534"/>
                </a:lnTo>
                <a:lnTo>
                  <a:pt x="3738" y="2525"/>
                </a:lnTo>
                <a:lnTo>
                  <a:pt x="3738" y="2516"/>
                </a:lnTo>
                <a:lnTo>
                  <a:pt x="3737" y="2510"/>
                </a:lnTo>
                <a:lnTo>
                  <a:pt x="3732" y="2496"/>
                </a:lnTo>
                <a:lnTo>
                  <a:pt x="3729" y="2485"/>
                </a:lnTo>
                <a:lnTo>
                  <a:pt x="3728" y="2479"/>
                </a:lnTo>
                <a:lnTo>
                  <a:pt x="3726" y="2474"/>
                </a:lnTo>
                <a:lnTo>
                  <a:pt x="3723" y="2470"/>
                </a:lnTo>
                <a:lnTo>
                  <a:pt x="3720" y="2468"/>
                </a:lnTo>
                <a:lnTo>
                  <a:pt x="3706" y="2457"/>
                </a:lnTo>
                <a:lnTo>
                  <a:pt x="3684" y="2436"/>
                </a:lnTo>
                <a:lnTo>
                  <a:pt x="3663" y="2417"/>
                </a:lnTo>
                <a:lnTo>
                  <a:pt x="3654" y="2408"/>
                </a:lnTo>
                <a:lnTo>
                  <a:pt x="3660" y="2404"/>
                </a:lnTo>
                <a:lnTo>
                  <a:pt x="3672" y="2400"/>
                </a:lnTo>
                <a:lnTo>
                  <a:pt x="3682" y="2402"/>
                </a:lnTo>
                <a:lnTo>
                  <a:pt x="3700" y="2408"/>
                </a:lnTo>
                <a:lnTo>
                  <a:pt x="3708" y="2411"/>
                </a:lnTo>
                <a:lnTo>
                  <a:pt x="3716" y="2413"/>
                </a:lnTo>
                <a:lnTo>
                  <a:pt x="3718" y="2413"/>
                </a:lnTo>
                <a:lnTo>
                  <a:pt x="3719" y="2413"/>
                </a:lnTo>
                <a:lnTo>
                  <a:pt x="3720" y="2413"/>
                </a:lnTo>
                <a:lnTo>
                  <a:pt x="3719" y="2412"/>
                </a:lnTo>
                <a:lnTo>
                  <a:pt x="3717" y="2408"/>
                </a:lnTo>
                <a:lnTo>
                  <a:pt x="3716" y="2403"/>
                </a:lnTo>
                <a:lnTo>
                  <a:pt x="3714" y="2399"/>
                </a:lnTo>
                <a:lnTo>
                  <a:pt x="3713" y="2394"/>
                </a:lnTo>
                <a:lnTo>
                  <a:pt x="3713" y="2389"/>
                </a:lnTo>
                <a:lnTo>
                  <a:pt x="3713" y="2385"/>
                </a:lnTo>
                <a:lnTo>
                  <a:pt x="3714" y="2382"/>
                </a:lnTo>
                <a:lnTo>
                  <a:pt x="3715" y="2381"/>
                </a:lnTo>
                <a:lnTo>
                  <a:pt x="3730" y="2379"/>
                </a:lnTo>
                <a:lnTo>
                  <a:pt x="3745" y="2379"/>
                </a:lnTo>
                <a:lnTo>
                  <a:pt x="3752" y="2378"/>
                </a:lnTo>
                <a:lnTo>
                  <a:pt x="3765" y="2374"/>
                </a:lnTo>
                <a:lnTo>
                  <a:pt x="3772" y="2372"/>
                </a:lnTo>
                <a:lnTo>
                  <a:pt x="3778" y="2369"/>
                </a:lnTo>
                <a:lnTo>
                  <a:pt x="3783" y="2366"/>
                </a:lnTo>
                <a:lnTo>
                  <a:pt x="3785" y="2363"/>
                </a:lnTo>
                <a:lnTo>
                  <a:pt x="3790" y="2356"/>
                </a:lnTo>
                <a:lnTo>
                  <a:pt x="3797" y="2345"/>
                </a:lnTo>
                <a:lnTo>
                  <a:pt x="3805" y="2334"/>
                </a:lnTo>
                <a:lnTo>
                  <a:pt x="3811" y="2328"/>
                </a:lnTo>
                <a:lnTo>
                  <a:pt x="3814" y="2324"/>
                </a:lnTo>
                <a:lnTo>
                  <a:pt x="3818" y="2317"/>
                </a:lnTo>
                <a:lnTo>
                  <a:pt x="3822" y="2314"/>
                </a:lnTo>
                <a:lnTo>
                  <a:pt x="3825" y="2310"/>
                </a:lnTo>
                <a:lnTo>
                  <a:pt x="3829" y="2307"/>
                </a:lnTo>
                <a:lnTo>
                  <a:pt x="3834" y="2303"/>
                </a:lnTo>
                <a:lnTo>
                  <a:pt x="3839" y="2297"/>
                </a:lnTo>
                <a:lnTo>
                  <a:pt x="3846" y="2288"/>
                </a:lnTo>
                <a:lnTo>
                  <a:pt x="3852" y="2277"/>
                </a:lnTo>
                <a:lnTo>
                  <a:pt x="3858" y="2265"/>
                </a:lnTo>
                <a:lnTo>
                  <a:pt x="3868" y="2244"/>
                </a:lnTo>
                <a:lnTo>
                  <a:pt x="3872" y="2233"/>
                </a:lnTo>
                <a:lnTo>
                  <a:pt x="3875" y="2227"/>
                </a:lnTo>
                <a:lnTo>
                  <a:pt x="3883" y="2215"/>
                </a:lnTo>
                <a:lnTo>
                  <a:pt x="3888" y="2207"/>
                </a:lnTo>
                <a:lnTo>
                  <a:pt x="3892" y="2201"/>
                </a:lnTo>
                <a:lnTo>
                  <a:pt x="3895" y="2198"/>
                </a:lnTo>
                <a:lnTo>
                  <a:pt x="3897" y="2198"/>
                </a:lnTo>
                <a:lnTo>
                  <a:pt x="3897" y="2205"/>
                </a:lnTo>
                <a:lnTo>
                  <a:pt x="3896" y="2219"/>
                </a:lnTo>
                <a:lnTo>
                  <a:pt x="3895" y="2224"/>
                </a:lnTo>
                <a:lnTo>
                  <a:pt x="3895" y="2229"/>
                </a:lnTo>
                <a:lnTo>
                  <a:pt x="3896" y="2231"/>
                </a:lnTo>
                <a:lnTo>
                  <a:pt x="3896" y="2232"/>
                </a:lnTo>
                <a:lnTo>
                  <a:pt x="3897" y="2232"/>
                </a:lnTo>
                <a:lnTo>
                  <a:pt x="3899" y="2232"/>
                </a:lnTo>
                <a:lnTo>
                  <a:pt x="3905" y="2228"/>
                </a:lnTo>
                <a:lnTo>
                  <a:pt x="3911" y="2223"/>
                </a:lnTo>
                <a:lnTo>
                  <a:pt x="3915" y="2218"/>
                </a:lnTo>
                <a:lnTo>
                  <a:pt x="3919" y="2213"/>
                </a:lnTo>
                <a:lnTo>
                  <a:pt x="3923" y="2205"/>
                </a:lnTo>
                <a:lnTo>
                  <a:pt x="3927" y="2191"/>
                </a:lnTo>
                <a:lnTo>
                  <a:pt x="3929" y="2183"/>
                </a:lnTo>
                <a:lnTo>
                  <a:pt x="3932" y="2175"/>
                </a:lnTo>
                <a:lnTo>
                  <a:pt x="3932" y="2166"/>
                </a:lnTo>
                <a:lnTo>
                  <a:pt x="3931" y="2160"/>
                </a:lnTo>
                <a:lnTo>
                  <a:pt x="3929" y="2153"/>
                </a:lnTo>
                <a:lnTo>
                  <a:pt x="3928" y="2144"/>
                </a:lnTo>
                <a:lnTo>
                  <a:pt x="3929" y="2135"/>
                </a:lnTo>
                <a:lnTo>
                  <a:pt x="3931" y="2127"/>
                </a:lnTo>
                <a:lnTo>
                  <a:pt x="3933" y="2118"/>
                </a:lnTo>
                <a:lnTo>
                  <a:pt x="3935" y="2111"/>
                </a:lnTo>
                <a:lnTo>
                  <a:pt x="3937" y="2106"/>
                </a:lnTo>
                <a:lnTo>
                  <a:pt x="3939" y="2103"/>
                </a:lnTo>
                <a:lnTo>
                  <a:pt x="3948" y="2094"/>
                </a:lnTo>
                <a:lnTo>
                  <a:pt x="3962" y="2083"/>
                </a:lnTo>
                <a:lnTo>
                  <a:pt x="3969" y="2076"/>
                </a:lnTo>
                <a:lnTo>
                  <a:pt x="3976" y="2072"/>
                </a:lnTo>
                <a:lnTo>
                  <a:pt x="3978" y="2071"/>
                </a:lnTo>
                <a:lnTo>
                  <a:pt x="3980" y="2071"/>
                </a:lnTo>
                <a:lnTo>
                  <a:pt x="3982" y="2071"/>
                </a:lnTo>
                <a:lnTo>
                  <a:pt x="3983" y="2073"/>
                </a:lnTo>
                <a:lnTo>
                  <a:pt x="3987" y="2086"/>
                </a:lnTo>
                <a:lnTo>
                  <a:pt x="3995" y="2103"/>
                </a:lnTo>
                <a:lnTo>
                  <a:pt x="4001" y="2111"/>
                </a:lnTo>
                <a:lnTo>
                  <a:pt x="4005" y="2117"/>
                </a:lnTo>
                <a:lnTo>
                  <a:pt x="4008" y="2119"/>
                </a:lnTo>
                <a:lnTo>
                  <a:pt x="4010" y="2120"/>
                </a:lnTo>
                <a:lnTo>
                  <a:pt x="4012" y="2120"/>
                </a:lnTo>
                <a:lnTo>
                  <a:pt x="4014" y="2119"/>
                </a:lnTo>
                <a:lnTo>
                  <a:pt x="4020" y="2114"/>
                </a:lnTo>
                <a:lnTo>
                  <a:pt x="4022" y="2111"/>
                </a:lnTo>
                <a:lnTo>
                  <a:pt x="4022" y="2108"/>
                </a:lnTo>
                <a:lnTo>
                  <a:pt x="4021" y="2105"/>
                </a:lnTo>
                <a:lnTo>
                  <a:pt x="4014" y="2091"/>
                </a:lnTo>
                <a:lnTo>
                  <a:pt x="4007" y="2074"/>
                </a:lnTo>
                <a:lnTo>
                  <a:pt x="4005" y="2062"/>
                </a:lnTo>
                <a:lnTo>
                  <a:pt x="4002" y="2044"/>
                </a:lnTo>
                <a:lnTo>
                  <a:pt x="3999" y="2027"/>
                </a:lnTo>
                <a:lnTo>
                  <a:pt x="3998" y="2019"/>
                </a:lnTo>
                <a:lnTo>
                  <a:pt x="3994" y="2018"/>
                </a:lnTo>
                <a:lnTo>
                  <a:pt x="3991" y="2017"/>
                </a:lnTo>
                <a:lnTo>
                  <a:pt x="3988" y="2017"/>
                </a:lnTo>
                <a:lnTo>
                  <a:pt x="3986" y="2018"/>
                </a:lnTo>
                <a:lnTo>
                  <a:pt x="3983" y="2019"/>
                </a:lnTo>
                <a:lnTo>
                  <a:pt x="3981" y="2021"/>
                </a:lnTo>
                <a:lnTo>
                  <a:pt x="3975" y="2027"/>
                </a:lnTo>
                <a:lnTo>
                  <a:pt x="3966" y="2038"/>
                </a:lnTo>
                <a:lnTo>
                  <a:pt x="3956" y="2048"/>
                </a:lnTo>
                <a:lnTo>
                  <a:pt x="3945" y="2056"/>
                </a:lnTo>
                <a:lnTo>
                  <a:pt x="3940" y="2060"/>
                </a:lnTo>
                <a:lnTo>
                  <a:pt x="3934" y="2062"/>
                </a:lnTo>
                <a:lnTo>
                  <a:pt x="3928" y="2063"/>
                </a:lnTo>
                <a:lnTo>
                  <a:pt x="3923" y="2064"/>
                </a:lnTo>
                <a:lnTo>
                  <a:pt x="3915" y="2064"/>
                </a:lnTo>
                <a:lnTo>
                  <a:pt x="3910" y="2064"/>
                </a:lnTo>
                <a:lnTo>
                  <a:pt x="3905" y="2061"/>
                </a:lnTo>
                <a:lnTo>
                  <a:pt x="3899" y="2053"/>
                </a:lnTo>
                <a:lnTo>
                  <a:pt x="3890" y="2042"/>
                </a:lnTo>
                <a:lnTo>
                  <a:pt x="3880" y="2029"/>
                </a:lnTo>
                <a:lnTo>
                  <a:pt x="3871" y="2016"/>
                </a:lnTo>
                <a:lnTo>
                  <a:pt x="3863" y="2003"/>
                </a:lnTo>
                <a:lnTo>
                  <a:pt x="3860" y="1998"/>
                </a:lnTo>
                <a:lnTo>
                  <a:pt x="3857" y="1993"/>
                </a:lnTo>
                <a:lnTo>
                  <a:pt x="3856" y="1988"/>
                </a:lnTo>
                <a:lnTo>
                  <a:pt x="3856" y="1985"/>
                </a:lnTo>
                <a:lnTo>
                  <a:pt x="3859" y="1979"/>
                </a:lnTo>
                <a:lnTo>
                  <a:pt x="3862" y="1975"/>
                </a:lnTo>
                <a:lnTo>
                  <a:pt x="3865" y="1973"/>
                </a:lnTo>
                <a:lnTo>
                  <a:pt x="3865" y="1972"/>
                </a:lnTo>
                <a:lnTo>
                  <a:pt x="3865" y="1969"/>
                </a:lnTo>
                <a:lnTo>
                  <a:pt x="3863" y="1968"/>
                </a:lnTo>
                <a:lnTo>
                  <a:pt x="3859" y="1963"/>
                </a:lnTo>
                <a:lnTo>
                  <a:pt x="3857" y="1957"/>
                </a:lnTo>
                <a:lnTo>
                  <a:pt x="3855" y="1951"/>
                </a:lnTo>
                <a:lnTo>
                  <a:pt x="3854" y="1945"/>
                </a:lnTo>
                <a:lnTo>
                  <a:pt x="3854" y="1939"/>
                </a:lnTo>
                <a:lnTo>
                  <a:pt x="3854" y="1930"/>
                </a:lnTo>
                <a:lnTo>
                  <a:pt x="3855" y="1921"/>
                </a:lnTo>
                <a:lnTo>
                  <a:pt x="3857" y="1917"/>
                </a:lnTo>
                <a:lnTo>
                  <a:pt x="3860" y="1910"/>
                </a:lnTo>
                <a:lnTo>
                  <a:pt x="3866" y="1896"/>
                </a:lnTo>
                <a:lnTo>
                  <a:pt x="3872" y="1882"/>
                </a:lnTo>
                <a:lnTo>
                  <a:pt x="3877" y="1873"/>
                </a:lnTo>
                <a:lnTo>
                  <a:pt x="3884" y="1862"/>
                </a:lnTo>
                <a:lnTo>
                  <a:pt x="3897" y="1844"/>
                </a:lnTo>
                <a:lnTo>
                  <a:pt x="3911" y="1825"/>
                </a:lnTo>
                <a:lnTo>
                  <a:pt x="3922" y="1812"/>
                </a:lnTo>
                <a:lnTo>
                  <a:pt x="3934" y="1802"/>
                </a:lnTo>
                <a:lnTo>
                  <a:pt x="3948" y="1788"/>
                </a:lnTo>
                <a:lnTo>
                  <a:pt x="3955" y="1782"/>
                </a:lnTo>
                <a:lnTo>
                  <a:pt x="3961" y="1777"/>
                </a:lnTo>
                <a:lnTo>
                  <a:pt x="3966" y="1774"/>
                </a:lnTo>
                <a:lnTo>
                  <a:pt x="3970" y="1772"/>
                </a:lnTo>
                <a:lnTo>
                  <a:pt x="3975" y="1771"/>
                </a:lnTo>
                <a:lnTo>
                  <a:pt x="3979" y="1769"/>
                </a:lnTo>
                <a:lnTo>
                  <a:pt x="3983" y="1763"/>
                </a:lnTo>
                <a:lnTo>
                  <a:pt x="3987" y="1753"/>
                </a:lnTo>
                <a:lnTo>
                  <a:pt x="3990" y="1747"/>
                </a:lnTo>
                <a:lnTo>
                  <a:pt x="3994" y="1744"/>
                </a:lnTo>
                <a:lnTo>
                  <a:pt x="3998" y="1742"/>
                </a:lnTo>
                <a:lnTo>
                  <a:pt x="4002" y="1741"/>
                </a:lnTo>
                <a:lnTo>
                  <a:pt x="4005" y="1740"/>
                </a:lnTo>
                <a:lnTo>
                  <a:pt x="4008" y="1738"/>
                </a:lnTo>
                <a:lnTo>
                  <a:pt x="4009" y="1735"/>
                </a:lnTo>
                <a:lnTo>
                  <a:pt x="4010" y="1730"/>
                </a:lnTo>
                <a:lnTo>
                  <a:pt x="4010" y="1714"/>
                </a:lnTo>
                <a:lnTo>
                  <a:pt x="4011" y="1698"/>
                </a:lnTo>
                <a:lnTo>
                  <a:pt x="4011" y="1691"/>
                </a:lnTo>
                <a:lnTo>
                  <a:pt x="4012" y="1686"/>
                </a:lnTo>
                <a:lnTo>
                  <a:pt x="4013" y="1681"/>
                </a:lnTo>
                <a:lnTo>
                  <a:pt x="4015" y="1679"/>
                </a:lnTo>
                <a:lnTo>
                  <a:pt x="4020" y="1672"/>
                </a:lnTo>
                <a:lnTo>
                  <a:pt x="4025" y="1660"/>
                </a:lnTo>
                <a:lnTo>
                  <a:pt x="4028" y="1654"/>
                </a:lnTo>
                <a:lnTo>
                  <a:pt x="4031" y="1648"/>
                </a:lnTo>
                <a:lnTo>
                  <a:pt x="4035" y="1643"/>
                </a:lnTo>
                <a:lnTo>
                  <a:pt x="4038" y="1638"/>
                </a:lnTo>
                <a:lnTo>
                  <a:pt x="4048" y="1631"/>
                </a:lnTo>
                <a:lnTo>
                  <a:pt x="4056" y="1620"/>
                </a:lnTo>
                <a:lnTo>
                  <a:pt x="4064" y="1609"/>
                </a:lnTo>
                <a:lnTo>
                  <a:pt x="4069" y="1603"/>
                </a:lnTo>
                <a:lnTo>
                  <a:pt x="4072" y="1596"/>
                </a:lnTo>
                <a:lnTo>
                  <a:pt x="4077" y="1588"/>
                </a:lnTo>
                <a:lnTo>
                  <a:pt x="4081" y="1580"/>
                </a:lnTo>
                <a:lnTo>
                  <a:pt x="4082" y="1574"/>
                </a:lnTo>
                <a:lnTo>
                  <a:pt x="4080" y="1571"/>
                </a:lnTo>
                <a:lnTo>
                  <a:pt x="4078" y="1566"/>
                </a:lnTo>
                <a:lnTo>
                  <a:pt x="4076" y="1564"/>
                </a:lnTo>
                <a:lnTo>
                  <a:pt x="4075" y="1563"/>
                </a:lnTo>
                <a:lnTo>
                  <a:pt x="4073" y="1563"/>
                </a:lnTo>
                <a:lnTo>
                  <a:pt x="4071" y="1564"/>
                </a:lnTo>
                <a:lnTo>
                  <a:pt x="4061" y="1570"/>
                </a:lnTo>
                <a:lnTo>
                  <a:pt x="4053" y="1576"/>
                </a:lnTo>
                <a:lnTo>
                  <a:pt x="4050" y="1577"/>
                </a:lnTo>
                <a:lnTo>
                  <a:pt x="4046" y="1577"/>
                </a:lnTo>
                <a:lnTo>
                  <a:pt x="4044" y="1578"/>
                </a:lnTo>
                <a:lnTo>
                  <a:pt x="4042" y="1579"/>
                </a:lnTo>
                <a:lnTo>
                  <a:pt x="4041" y="1581"/>
                </a:lnTo>
                <a:lnTo>
                  <a:pt x="4039" y="1584"/>
                </a:lnTo>
                <a:lnTo>
                  <a:pt x="4042" y="1595"/>
                </a:lnTo>
                <a:lnTo>
                  <a:pt x="4043" y="1600"/>
                </a:lnTo>
                <a:lnTo>
                  <a:pt x="4041" y="1600"/>
                </a:lnTo>
                <a:lnTo>
                  <a:pt x="4036" y="1600"/>
                </a:lnTo>
                <a:lnTo>
                  <a:pt x="4032" y="1600"/>
                </a:lnTo>
                <a:lnTo>
                  <a:pt x="4029" y="1598"/>
                </a:lnTo>
                <a:lnTo>
                  <a:pt x="4026" y="1593"/>
                </a:lnTo>
                <a:lnTo>
                  <a:pt x="4025" y="1587"/>
                </a:lnTo>
                <a:lnTo>
                  <a:pt x="4024" y="1583"/>
                </a:lnTo>
                <a:lnTo>
                  <a:pt x="4025" y="1579"/>
                </a:lnTo>
                <a:lnTo>
                  <a:pt x="4027" y="1574"/>
                </a:lnTo>
                <a:lnTo>
                  <a:pt x="4029" y="1570"/>
                </a:lnTo>
                <a:lnTo>
                  <a:pt x="4047" y="1555"/>
                </a:lnTo>
                <a:lnTo>
                  <a:pt x="4060" y="1542"/>
                </a:lnTo>
                <a:lnTo>
                  <a:pt x="4063" y="1537"/>
                </a:lnTo>
                <a:lnTo>
                  <a:pt x="4066" y="1528"/>
                </a:lnTo>
                <a:lnTo>
                  <a:pt x="4068" y="1524"/>
                </a:lnTo>
                <a:lnTo>
                  <a:pt x="4070" y="1519"/>
                </a:lnTo>
                <a:lnTo>
                  <a:pt x="4073" y="1515"/>
                </a:lnTo>
                <a:lnTo>
                  <a:pt x="4077" y="1511"/>
                </a:lnTo>
                <a:lnTo>
                  <a:pt x="4094" y="1495"/>
                </a:lnTo>
                <a:lnTo>
                  <a:pt x="4104" y="1486"/>
                </a:lnTo>
                <a:lnTo>
                  <a:pt x="4108" y="1486"/>
                </a:lnTo>
                <a:lnTo>
                  <a:pt x="4113" y="1486"/>
                </a:lnTo>
                <a:lnTo>
                  <a:pt x="4118" y="1485"/>
                </a:lnTo>
                <a:lnTo>
                  <a:pt x="4124" y="1482"/>
                </a:lnTo>
                <a:lnTo>
                  <a:pt x="4141" y="1469"/>
                </a:lnTo>
                <a:lnTo>
                  <a:pt x="4156" y="1456"/>
                </a:lnTo>
                <a:lnTo>
                  <a:pt x="4160" y="1449"/>
                </a:lnTo>
                <a:lnTo>
                  <a:pt x="4164" y="1438"/>
                </a:lnTo>
                <a:lnTo>
                  <a:pt x="4169" y="1431"/>
                </a:lnTo>
                <a:lnTo>
                  <a:pt x="4175" y="1425"/>
                </a:lnTo>
                <a:lnTo>
                  <a:pt x="4178" y="1423"/>
                </a:lnTo>
                <a:lnTo>
                  <a:pt x="4180" y="1420"/>
                </a:lnTo>
                <a:lnTo>
                  <a:pt x="4183" y="1420"/>
                </a:lnTo>
                <a:lnTo>
                  <a:pt x="4185" y="1420"/>
                </a:lnTo>
                <a:lnTo>
                  <a:pt x="4200" y="1421"/>
                </a:lnTo>
                <a:lnTo>
                  <a:pt x="4213" y="1424"/>
                </a:lnTo>
                <a:lnTo>
                  <a:pt x="4216" y="1425"/>
                </a:lnTo>
                <a:lnTo>
                  <a:pt x="4218" y="1426"/>
                </a:lnTo>
                <a:lnTo>
                  <a:pt x="4219" y="1426"/>
                </a:lnTo>
                <a:lnTo>
                  <a:pt x="4221" y="1426"/>
                </a:lnTo>
                <a:lnTo>
                  <a:pt x="4224" y="1424"/>
                </a:lnTo>
                <a:lnTo>
                  <a:pt x="4228" y="1419"/>
                </a:lnTo>
                <a:lnTo>
                  <a:pt x="4238" y="1409"/>
                </a:lnTo>
                <a:lnTo>
                  <a:pt x="4248" y="1399"/>
                </a:lnTo>
                <a:lnTo>
                  <a:pt x="4263" y="1395"/>
                </a:lnTo>
                <a:lnTo>
                  <a:pt x="4289" y="1388"/>
                </a:lnTo>
                <a:lnTo>
                  <a:pt x="4304" y="1385"/>
                </a:lnTo>
                <a:lnTo>
                  <a:pt x="4316" y="1383"/>
                </a:lnTo>
                <a:lnTo>
                  <a:pt x="4321" y="1382"/>
                </a:lnTo>
                <a:lnTo>
                  <a:pt x="4326" y="1382"/>
                </a:lnTo>
                <a:lnTo>
                  <a:pt x="4329" y="1383"/>
                </a:lnTo>
                <a:lnTo>
                  <a:pt x="4331" y="1384"/>
                </a:lnTo>
                <a:lnTo>
                  <a:pt x="4335" y="1386"/>
                </a:lnTo>
                <a:lnTo>
                  <a:pt x="4342" y="1387"/>
                </a:lnTo>
                <a:lnTo>
                  <a:pt x="4351" y="1387"/>
                </a:lnTo>
                <a:lnTo>
                  <a:pt x="4359" y="1387"/>
                </a:lnTo>
                <a:lnTo>
                  <a:pt x="4375" y="1386"/>
                </a:lnTo>
                <a:lnTo>
                  <a:pt x="4381" y="1386"/>
                </a:lnTo>
                <a:lnTo>
                  <a:pt x="4384" y="1386"/>
                </a:lnTo>
                <a:lnTo>
                  <a:pt x="4389" y="1387"/>
                </a:lnTo>
                <a:lnTo>
                  <a:pt x="4394" y="1388"/>
                </a:lnTo>
                <a:lnTo>
                  <a:pt x="4397" y="1389"/>
                </a:lnTo>
                <a:lnTo>
                  <a:pt x="4401" y="1391"/>
                </a:lnTo>
                <a:lnTo>
                  <a:pt x="4404" y="1394"/>
                </a:lnTo>
                <a:lnTo>
                  <a:pt x="4416" y="1401"/>
                </a:lnTo>
                <a:lnTo>
                  <a:pt x="4431" y="1408"/>
                </a:lnTo>
                <a:lnTo>
                  <a:pt x="4436" y="1411"/>
                </a:lnTo>
                <a:lnTo>
                  <a:pt x="4439" y="1413"/>
                </a:lnTo>
                <a:lnTo>
                  <a:pt x="4441" y="1415"/>
                </a:lnTo>
                <a:lnTo>
                  <a:pt x="4442" y="1418"/>
                </a:lnTo>
                <a:lnTo>
                  <a:pt x="4442" y="1421"/>
                </a:lnTo>
                <a:lnTo>
                  <a:pt x="4442" y="1424"/>
                </a:lnTo>
                <a:lnTo>
                  <a:pt x="4440" y="1428"/>
                </a:lnTo>
                <a:lnTo>
                  <a:pt x="4436" y="1431"/>
                </a:lnTo>
                <a:lnTo>
                  <a:pt x="4428" y="1437"/>
                </a:lnTo>
                <a:lnTo>
                  <a:pt x="4423" y="1442"/>
                </a:lnTo>
                <a:lnTo>
                  <a:pt x="4420" y="1447"/>
                </a:lnTo>
                <a:lnTo>
                  <a:pt x="4418" y="1451"/>
                </a:lnTo>
                <a:lnTo>
                  <a:pt x="4417" y="1455"/>
                </a:lnTo>
                <a:lnTo>
                  <a:pt x="4418" y="1456"/>
                </a:lnTo>
                <a:lnTo>
                  <a:pt x="4419" y="1459"/>
                </a:lnTo>
                <a:lnTo>
                  <a:pt x="4424" y="1463"/>
                </a:lnTo>
                <a:lnTo>
                  <a:pt x="4427" y="1465"/>
                </a:lnTo>
                <a:lnTo>
                  <a:pt x="4432" y="1467"/>
                </a:lnTo>
                <a:lnTo>
                  <a:pt x="4438" y="1465"/>
                </a:lnTo>
                <a:lnTo>
                  <a:pt x="4443" y="1461"/>
                </a:lnTo>
                <a:lnTo>
                  <a:pt x="4449" y="1457"/>
                </a:lnTo>
                <a:lnTo>
                  <a:pt x="4454" y="1455"/>
                </a:lnTo>
                <a:lnTo>
                  <a:pt x="4459" y="1454"/>
                </a:lnTo>
                <a:lnTo>
                  <a:pt x="4463" y="1454"/>
                </a:lnTo>
                <a:lnTo>
                  <a:pt x="4471" y="1456"/>
                </a:lnTo>
                <a:lnTo>
                  <a:pt x="4478" y="1461"/>
                </a:lnTo>
                <a:lnTo>
                  <a:pt x="4491" y="1467"/>
                </a:lnTo>
                <a:lnTo>
                  <a:pt x="4508" y="1470"/>
                </a:lnTo>
                <a:lnTo>
                  <a:pt x="4517" y="1473"/>
                </a:lnTo>
                <a:lnTo>
                  <a:pt x="4526" y="1475"/>
                </a:lnTo>
                <a:lnTo>
                  <a:pt x="4533" y="1478"/>
                </a:lnTo>
                <a:lnTo>
                  <a:pt x="4538" y="1482"/>
                </a:lnTo>
                <a:lnTo>
                  <a:pt x="4551" y="1492"/>
                </a:lnTo>
                <a:lnTo>
                  <a:pt x="4568" y="1502"/>
                </a:lnTo>
                <a:lnTo>
                  <a:pt x="4585" y="1514"/>
                </a:lnTo>
                <a:lnTo>
                  <a:pt x="4600" y="1525"/>
                </a:lnTo>
                <a:lnTo>
                  <a:pt x="4611" y="1538"/>
                </a:lnTo>
                <a:lnTo>
                  <a:pt x="4621" y="1551"/>
                </a:lnTo>
                <a:lnTo>
                  <a:pt x="4629" y="1564"/>
                </a:lnTo>
                <a:lnTo>
                  <a:pt x="4637" y="1572"/>
                </a:lnTo>
                <a:lnTo>
                  <a:pt x="4644" y="1577"/>
                </a:lnTo>
                <a:lnTo>
                  <a:pt x="4652" y="1582"/>
                </a:lnTo>
                <a:lnTo>
                  <a:pt x="4657" y="1584"/>
                </a:lnTo>
                <a:lnTo>
                  <a:pt x="4660" y="1587"/>
                </a:lnTo>
                <a:lnTo>
                  <a:pt x="4664" y="1591"/>
                </a:lnTo>
                <a:lnTo>
                  <a:pt x="4666" y="1595"/>
                </a:lnTo>
                <a:lnTo>
                  <a:pt x="4668" y="1601"/>
                </a:lnTo>
                <a:lnTo>
                  <a:pt x="4669" y="1606"/>
                </a:lnTo>
                <a:lnTo>
                  <a:pt x="4668" y="1611"/>
                </a:lnTo>
                <a:lnTo>
                  <a:pt x="4667" y="1616"/>
                </a:lnTo>
                <a:lnTo>
                  <a:pt x="4664" y="1626"/>
                </a:lnTo>
                <a:lnTo>
                  <a:pt x="4661" y="1635"/>
                </a:lnTo>
                <a:lnTo>
                  <a:pt x="4659" y="1639"/>
                </a:lnTo>
                <a:lnTo>
                  <a:pt x="4655" y="1645"/>
                </a:lnTo>
                <a:lnTo>
                  <a:pt x="4650" y="1651"/>
                </a:lnTo>
                <a:lnTo>
                  <a:pt x="4645" y="1656"/>
                </a:lnTo>
                <a:lnTo>
                  <a:pt x="4634" y="1667"/>
                </a:lnTo>
                <a:lnTo>
                  <a:pt x="4626" y="1672"/>
                </a:lnTo>
                <a:lnTo>
                  <a:pt x="4621" y="1675"/>
                </a:lnTo>
                <a:lnTo>
                  <a:pt x="4614" y="1678"/>
                </a:lnTo>
                <a:lnTo>
                  <a:pt x="4606" y="1680"/>
                </a:lnTo>
                <a:lnTo>
                  <a:pt x="4601" y="1680"/>
                </a:lnTo>
                <a:lnTo>
                  <a:pt x="4595" y="1678"/>
                </a:lnTo>
                <a:lnTo>
                  <a:pt x="4585" y="1676"/>
                </a:lnTo>
                <a:lnTo>
                  <a:pt x="4575" y="1673"/>
                </a:lnTo>
                <a:lnTo>
                  <a:pt x="4565" y="1669"/>
                </a:lnTo>
                <a:lnTo>
                  <a:pt x="4550" y="1662"/>
                </a:lnTo>
                <a:lnTo>
                  <a:pt x="4527" y="1655"/>
                </a:lnTo>
                <a:lnTo>
                  <a:pt x="4506" y="1650"/>
                </a:lnTo>
                <a:lnTo>
                  <a:pt x="4496" y="1647"/>
                </a:lnTo>
                <a:lnTo>
                  <a:pt x="4493" y="1647"/>
                </a:lnTo>
                <a:lnTo>
                  <a:pt x="4488" y="1648"/>
                </a:lnTo>
                <a:lnTo>
                  <a:pt x="4486" y="1649"/>
                </a:lnTo>
                <a:lnTo>
                  <a:pt x="4484" y="1651"/>
                </a:lnTo>
                <a:lnTo>
                  <a:pt x="4484" y="1654"/>
                </a:lnTo>
                <a:lnTo>
                  <a:pt x="4486" y="1658"/>
                </a:lnTo>
                <a:lnTo>
                  <a:pt x="4490" y="1664"/>
                </a:lnTo>
                <a:lnTo>
                  <a:pt x="4494" y="1668"/>
                </a:lnTo>
                <a:lnTo>
                  <a:pt x="4499" y="1672"/>
                </a:lnTo>
                <a:lnTo>
                  <a:pt x="4504" y="1674"/>
                </a:lnTo>
                <a:lnTo>
                  <a:pt x="4512" y="1678"/>
                </a:lnTo>
                <a:lnTo>
                  <a:pt x="4516" y="1680"/>
                </a:lnTo>
                <a:lnTo>
                  <a:pt x="4519" y="1679"/>
                </a:lnTo>
                <a:lnTo>
                  <a:pt x="4527" y="1680"/>
                </a:lnTo>
                <a:lnTo>
                  <a:pt x="4530" y="1681"/>
                </a:lnTo>
                <a:lnTo>
                  <a:pt x="4531" y="1684"/>
                </a:lnTo>
                <a:lnTo>
                  <a:pt x="4532" y="1689"/>
                </a:lnTo>
                <a:lnTo>
                  <a:pt x="4529" y="1694"/>
                </a:lnTo>
                <a:lnTo>
                  <a:pt x="4522" y="1704"/>
                </a:lnTo>
                <a:lnTo>
                  <a:pt x="4519" y="1711"/>
                </a:lnTo>
                <a:lnTo>
                  <a:pt x="4518" y="1713"/>
                </a:lnTo>
                <a:lnTo>
                  <a:pt x="4518" y="1716"/>
                </a:lnTo>
                <a:lnTo>
                  <a:pt x="4519" y="1718"/>
                </a:lnTo>
                <a:lnTo>
                  <a:pt x="4520" y="1721"/>
                </a:lnTo>
                <a:lnTo>
                  <a:pt x="4525" y="1736"/>
                </a:lnTo>
                <a:lnTo>
                  <a:pt x="4527" y="1749"/>
                </a:lnTo>
                <a:lnTo>
                  <a:pt x="4529" y="1754"/>
                </a:lnTo>
                <a:lnTo>
                  <a:pt x="4532" y="1758"/>
                </a:lnTo>
                <a:lnTo>
                  <a:pt x="4536" y="1762"/>
                </a:lnTo>
                <a:lnTo>
                  <a:pt x="4542" y="1767"/>
                </a:lnTo>
                <a:lnTo>
                  <a:pt x="4550" y="1771"/>
                </a:lnTo>
                <a:lnTo>
                  <a:pt x="4556" y="1775"/>
                </a:lnTo>
                <a:lnTo>
                  <a:pt x="4559" y="1776"/>
                </a:lnTo>
                <a:lnTo>
                  <a:pt x="4561" y="1778"/>
                </a:lnTo>
                <a:lnTo>
                  <a:pt x="4563" y="1780"/>
                </a:lnTo>
                <a:lnTo>
                  <a:pt x="4563" y="1783"/>
                </a:lnTo>
                <a:lnTo>
                  <a:pt x="4563" y="1786"/>
                </a:lnTo>
                <a:lnTo>
                  <a:pt x="4564" y="1788"/>
                </a:lnTo>
                <a:lnTo>
                  <a:pt x="4566" y="1790"/>
                </a:lnTo>
                <a:lnTo>
                  <a:pt x="4568" y="1791"/>
                </a:lnTo>
                <a:lnTo>
                  <a:pt x="4572" y="1793"/>
                </a:lnTo>
                <a:lnTo>
                  <a:pt x="4575" y="1793"/>
                </a:lnTo>
                <a:lnTo>
                  <a:pt x="4579" y="1789"/>
                </a:lnTo>
                <a:lnTo>
                  <a:pt x="4584" y="1781"/>
                </a:lnTo>
                <a:lnTo>
                  <a:pt x="4586" y="1776"/>
                </a:lnTo>
                <a:lnTo>
                  <a:pt x="4587" y="1771"/>
                </a:lnTo>
                <a:lnTo>
                  <a:pt x="4589" y="1768"/>
                </a:lnTo>
                <a:lnTo>
                  <a:pt x="4587" y="1766"/>
                </a:lnTo>
                <a:lnTo>
                  <a:pt x="4576" y="1761"/>
                </a:lnTo>
                <a:lnTo>
                  <a:pt x="4560" y="1754"/>
                </a:lnTo>
                <a:lnTo>
                  <a:pt x="4556" y="1752"/>
                </a:lnTo>
                <a:lnTo>
                  <a:pt x="4554" y="1748"/>
                </a:lnTo>
                <a:lnTo>
                  <a:pt x="4553" y="1746"/>
                </a:lnTo>
                <a:lnTo>
                  <a:pt x="4552" y="1744"/>
                </a:lnTo>
                <a:lnTo>
                  <a:pt x="4552" y="1738"/>
                </a:lnTo>
                <a:lnTo>
                  <a:pt x="4553" y="1733"/>
                </a:lnTo>
                <a:lnTo>
                  <a:pt x="4554" y="1730"/>
                </a:lnTo>
                <a:lnTo>
                  <a:pt x="4555" y="1725"/>
                </a:lnTo>
                <a:lnTo>
                  <a:pt x="4556" y="1722"/>
                </a:lnTo>
                <a:lnTo>
                  <a:pt x="4558" y="1719"/>
                </a:lnTo>
                <a:lnTo>
                  <a:pt x="4561" y="1718"/>
                </a:lnTo>
                <a:lnTo>
                  <a:pt x="4564" y="1717"/>
                </a:lnTo>
                <a:lnTo>
                  <a:pt x="4570" y="1719"/>
                </a:lnTo>
                <a:lnTo>
                  <a:pt x="4576" y="1723"/>
                </a:lnTo>
                <a:lnTo>
                  <a:pt x="4597" y="1738"/>
                </a:lnTo>
                <a:lnTo>
                  <a:pt x="4607" y="1745"/>
                </a:lnTo>
                <a:lnTo>
                  <a:pt x="4611" y="1753"/>
                </a:lnTo>
                <a:lnTo>
                  <a:pt x="4614" y="1761"/>
                </a:lnTo>
                <a:lnTo>
                  <a:pt x="4616" y="1764"/>
                </a:lnTo>
                <a:lnTo>
                  <a:pt x="4618" y="1766"/>
                </a:lnTo>
                <a:lnTo>
                  <a:pt x="4621" y="1766"/>
                </a:lnTo>
                <a:lnTo>
                  <a:pt x="4624" y="1763"/>
                </a:lnTo>
                <a:lnTo>
                  <a:pt x="4629" y="1756"/>
                </a:lnTo>
                <a:lnTo>
                  <a:pt x="4634" y="1748"/>
                </a:lnTo>
                <a:lnTo>
                  <a:pt x="4636" y="1744"/>
                </a:lnTo>
                <a:lnTo>
                  <a:pt x="4636" y="1741"/>
                </a:lnTo>
                <a:lnTo>
                  <a:pt x="4637" y="1737"/>
                </a:lnTo>
                <a:lnTo>
                  <a:pt x="4636" y="1734"/>
                </a:lnTo>
                <a:lnTo>
                  <a:pt x="4635" y="1730"/>
                </a:lnTo>
                <a:lnTo>
                  <a:pt x="4634" y="1727"/>
                </a:lnTo>
                <a:lnTo>
                  <a:pt x="4630" y="1724"/>
                </a:lnTo>
                <a:lnTo>
                  <a:pt x="4628" y="1722"/>
                </a:lnTo>
                <a:lnTo>
                  <a:pt x="4625" y="1720"/>
                </a:lnTo>
                <a:lnTo>
                  <a:pt x="4624" y="1717"/>
                </a:lnTo>
                <a:lnTo>
                  <a:pt x="4623" y="1715"/>
                </a:lnTo>
                <a:lnTo>
                  <a:pt x="4623" y="1712"/>
                </a:lnTo>
                <a:lnTo>
                  <a:pt x="4625" y="1708"/>
                </a:lnTo>
                <a:lnTo>
                  <a:pt x="4629" y="1702"/>
                </a:lnTo>
                <a:lnTo>
                  <a:pt x="4635" y="1697"/>
                </a:lnTo>
                <a:lnTo>
                  <a:pt x="4641" y="1691"/>
                </a:lnTo>
                <a:lnTo>
                  <a:pt x="4655" y="1679"/>
                </a:lnTo>
                <a:lnTo>
                  <a:pt x="4664" y="1672"/>
                </a:lnTo>
                <a:lnTo>
                  <a:pt x="4671" y="1664"/>
                </a:lnTo>
                <a:lnTo>
                  <a:pt x="4681" y="1649"/>
                </a:lnTo>
                <a:lnTo>
                  <a:pt x="4689" y="1635"/>
                </a:lnTo>
                <a:lnTo>
                  <a:pt x="4693" y="1628"/>
                </a:lnTo>
                <a:lnTo>
                  <a:pt x="4694" y="1626"/>
                </a:lnTo>
                <a:lnTo>
                  <a:pt x="4695" y="1625"/>
                </a:lnTo>
                <a:lnTo>
                  <a:pt x="4699" y="1624"/>
                </a:lnTo>
                <a:lnTo>
                  <a:pt x="4701" y="1623"/>
                </a:lnTo>
                <a:lnTo>
                  <a:pt x="4703" y="1624"/>
                </a:lnTo>
                <a:lnTo>
                  <a:pt x="4705" y="1627"/>
                </a:lnTo>
                <a:lnTo>
                  <a:pt x="4706" y="1631"/>
                </a:lnTo>
                <a:lnTo>
                  <a:pt x="4706" y="1637"/>
                </a:lnTo>
                <a:lnTo>
                  <a:pt x="4705" y="1649"/>
                </a:lnTo>
                <a:lnTo>
                  <a:pt x="4704" y="1655"/>
                </a:lnTo>
                <a:lnTo>
                  <a:pt x="4705" y="1657"/>
                </a:lnTo>
                <a:lnTo>
                  <a:pt x="4705" y="1658"/>
                </a:lnTo>
                <a:lnTo>
                  <a:pt x="4707" y="1660"/>
                </a:lnTo>
                <a:lnTo>
                  <a:pt x="4709" y="1661"/>
                </a:lnTo>
                <a:lnTo>
                  <a:pt x="4716" y="1672"/>
                </a:lnTo>
                <a:lnTo>
                  <a:pt x="4722" y="1679"/>
                </a:lnTo>
                <a:lnTo>
                  <a:pt x="4725" y="1675"/>
                </a:lnTo>
                <a:lnTo>
                  <a:pt x="4729" y="1666"/>
                </a:lnTo>
                <a:lnTo>
                  <a:pt x="4731" y="1659"/>
                </a:lnTo>
                <a:lnTo>
                  <a:pt x="4733" y="1654"/>
                </a:lnTo>
                <a:lnTo>
                  <a:pt x="4733" y="1649"/>
                </a:lnTo>
                <a:lnTo>
                  <a:pt x="4733" y="1645"/>
                </a:lnTo>
                <a:lnTo>
                  <a:pt x="4732" y="1638"/>
                </a:lnTo>
                <a:lnTo>
                  <a:pt x="4730" y="1632"/>
                </a:lnTo>
                <a:lnTo>
                  <a:pt x="4727" y="1628"/>
                </a:lnTo>
                <a:lnTo>
                  <a:pt x="4722" y="1623"/>
                </a:lnTo>
                <a:lnTo>
                  <a:pt x="4716" y="1620"/>
                </a:lnTo>
                <a:lnTo>
                  <a:pt x="4711" y="1616"/>
                </a:lnTo>
                <a:lnTo>
                  <a:pt x="4710" y="1614"/>
                </a:lnTo>
                <a:lnTo>
                  <a:pt x="4709" y="1611"/>
                </a:lnTo>
                <a:lnTo>
                  <a:pt x="4710" y="1608"/>
                </a:lnTo>
                <a:lnTo>
                  <a:pt x="4712" y="1603"/>
                </a:lnTo>
                <a:lnTo>
                  <a:pt x="4722" y="1586"/>
                </a:lnTo>
                <a:lnTo>
                  <a:pt x="4726" y="1579"/>
                </a:lnTo>
                <a:lnTo>
                  <a:pt x="4725" y="1572"/>
                </a:lnTo>
                <a:lnTo>
                  <a:pt x="4721" y="1557"/>
                </a:lnTo>
                <a:lnTo>
                  <a:pt x="4717" y="1548"/>
                </a:lnTo>
                <a:lnTo>
                  <a:pt x="4715" y="1542"/>
                </a:lnTo>
                <a:lnTo>
                  <a:pt x="4712" y="1537"/>
                </a:lnTo>
                <a:lnTo>
                  <a:pt x="4709" y="1531"/>
                </a:lnTo>
                <a:lnTo>
                  <a:pt x="4708" y="1530"/>
                </a:lnTo>
                <a:lnTo>
                  <a:pt x="4708" y="1529"/>
                </a:lnTo>
                <a:lnTo>
                  <a:pt x="4709" y="1528"/>
                </a:lnTo>
                <a:lnTo>
                  <a:pt x="4710" y="1528"/>
                </a:lnTo>
                <a:lnTo>
                  <a:pt x="4713" y="1527"/>
                </a:lnTo>
                <a:lnTo>
                  <a:pt x="4717" y="1526"/>
                </a:lnTo>
                <a:lnTo>
                  <a:pt x="4723" y="1527"/>
                </a:lnTo>
                <a:lnTo>
                  <a:pt x="4728" y="1527"/>
                </a:lnTo>
                <a:lnTo>
                  <a:pt x="4732" y="1528"/>
                </a:lnTo>
                <a:lnTo>
                  <a:pt x="4736" y="1530"/>
                </a:lnTo>
                <a:lnTo>
                  <a:pt x="4744" y="1534"/>
                </a:lnTo>
                <a:lnTo>
                  <a:pt x="4753" y="1538"/>
                </a:lnTo>
                <a:lnTo>
                  <a:pt x="4758" y="1539"/>
                </a:lnTo>
                <a:lnTo>
                  <a:pt x="4763" y="1541"/>
                </a:lnTo>
                <a:lnTo>
                  <a:pt x="4768" y="1544"/>
                </a:lnTo>
                <a:lnTo>
                  <a:pt x="4771" y="1547"/>
                </a:lnTo>
                <a:lnTo>
                  <a:pt x="4776" y="1553"/>
                </a:lnTo>
                <a:lnTo>
                  <a:pt x="4780" y="1560"/>
                </a:lnTo>
                <a:lnTo>
                  <a:pt x="4782" y="1563"/>
                </a:lnTo>
                <a:lnTo>
                  <a:pt x="4783" y="1567"/>
                </a:lnTo>
                <a:lnTo>
                  <a:pt x="4783" y="1570"/>
                </a:lnTo>
                <a:lnTo>
                  <a:pt x="4783" y="1572"/>
                </a:lnTo>
                <a:lnTo>
                  <a:pt x="4780" y="1578"/>
                </a:lnTo>
                <a:lnTo>
                  <a:pt x="4777" y="1582"/>
                </a:lnTo>
                <a:lnTo>
                  <a:pt x="4773" y="1586"/>
                </a:lnTo>
                <a:lnTo>
                  <a:pt x="4765" y="1591"/>
                </a:lnTo>
                <a:lnTo>
                  <a:pt x="4757" y="1595"/>
                </a:lnTo>
                <a:lnTo>
                  <a:pt x="4751" y="1598"/>
                </a:lnTo>
                <a:lnTo>
                  <a:pt x="4750" y="1599"/>
                </a:lnTo>
                <a:lnTo>
                  <a:pt x="4749" y="1600"/>
                </a:lnTo>
                <a:lnTo>
                  <a:pt x="4749" y="1602"/>
                </a:lnTo>
                <a:lnTo>
                  <a:pt x="4750" y="1604"/>
                </a:lnTo>
                <a:lnTo>
                  <a:pt x="4757" y="1611"/>
                </a:lnTo>
                <a:lnTo>
                  <a:pt x="4766" y="1621"/>
                </a:lnTo>
                <a:lnTo>
                  <a:pt x="4768" y="1623"/>
                </a:lnTo>
                <a:lnTo>
                  <a:pt x="4770" y="1624"/>
                </a:lnTo>
                <a:lnTo>
                  <a:pt x="4772" y="1625"/>
                </a:lnTo>
                <a:lnTo>
                  <a:pt x="4774" y="1626"/>
                </a:lnTo>
                <a:lnTo>
                  <a:pt x="4780" y="1626"/>
                </a:lnTo>
                <a:lnTo>
                  <a:pt x="4785" y="1625"/>
                </a:lnTo>
                <a:lnTo>
                  <a:pt x="4792" y="1622"/>
                </a:lnTo>
                <a:lnTo>
                  <a:pt x="4798" y="1617"/>
                </a:lnTo>
                <a:lnTo>
                  <a:pt x="4803" y="1611"/>
                </a:lnTo>
                <a:lnTo>
                  <a:pt x="4807" y="1605"/>
                </a:lnTo>
                <a:lnTo>
                  <a:pt x="4813" y="1594"/>
                </a:lnTo>
                <a:lnTo>
                  <a:pt x="4815" y="1588"/>
                </a:lnTo>
                <a:lnTo>
                  <a:pt x="4817" y="1585"/>
                </a:lnTo>
                <a:lnTo>
                  <a:pt x="4819" y="1582"/>
                </a:lnTo>
                <a:lnTo>
                  <a:pt x="4824" y="1579"/>
                </a:lnTo>
                <a:lnTo>
                  <a:pt x="4831" y="1574"/>
                </a:lnTo>
                <a:lnTo>
                  <a:pt x="4839" y="1569"/>
                </a:lnTo>
                <a:lnTo>
                  <a:pt x="4849" y="1561"/>
                </a:lnTo>
                <a:lnTo>
                  <a:pt x="4860" y="1551"/>
                </a:lnTo>
                <a:lnTo>
                  <a:pt x="4871" y="1541"/>
                </a:lnTo>
                <a:lnTo>
                  <a:pt x="4890" y="1523"/>
                </a:lnTo>
                <a:lnTo>
                  <a:pt x="4901" y="1514"/>
                </a:lnTo>
                <a:lnTo>
                  <a:pt x="4909" y="1511"/>
                </a:lnTo>
                <a:lnTo>
                  <a:pt x="4920" y="1508"/>
                </a:lnTo>
                <a:lnTo>
                  <a:pt x="4931" y="1506"/>
                </a:lnTo>
                <a:lnTo>
                  <a:pt x="4939" y="1506"/>
                </a:lnTo>
                <a:lnTo>
                  <a:pt x="4942" y="1516"/>
                </a:lnTo>
                <a:lnTo>
                  <a:pt x="4942" y="1528"/>
                </a:lnTo>
                <a:lnTo>
                  <a:pt x="4944" y="1530"/>
                </a:lnTo>
                <a:lnTo>
                  <a:pt x="4944" y="1534"/>
                </a:lnTo>
                <a:lnTo>
                  <a:pt x="4943" y="1536"/>
                </a:lnTo>
                <a:lnTo>
                  <a:pt x="4941" y="1539"/>
                </a:lnTo>
                <a:lnTo>
                  <a:pt x="4935" y="1544"/>
                </a:lnTo>
                <a:lnTo>
                  <a:pt x="4930" y="1548"/>
                </a:lnTo>
                <a:lnTo>
                  <a:pt x="4925" y="1551"/>
                </a:lnTo>
                <a:lnTo>
                  <a:pt x="4922" y="1552"/>
                </a:lnTo>
                <a:lnTo>
                  <a:pt x="4920" y="1555"/>
                </a:lnTo>
                <a:lnTo>
                  <a:pt x="4919" y="1558"/>
                </a:lnTo>
                <a:lnTo>
                  <a:pt x="4920" y="1560"/>
                </a:lnTo>
                <a:lnTo>
                  <a:pt x="4923" y="1561"/>
                </a:lnTo>
                <a:lnTo>
                  <a:pt x="4927" y="1562"/>
                </a:lnTo>
                <a:lnTo>
                  <a:pt x="4931" y="1562"/>
                </a:lnTo>
                <a:lnTo>
                  <a:pt x="4936" y="1562"/>
                </a:lnTo>
                <a:lnTo>
                  <a:pt x="4941" y="1561"/>
                </a:lnTo>
                <a:lnTo>
                  <a:pt x="4944" y="1560"/>
                </a:lnTo>
                <a:lnTo>
                  <a:pt x="4946" y="1558"/>
                </a:lnTo>
                <a:lnTo>
                  <a:pt x="4947" y="1555"/>
                </a:lnTo>
                <a:lnTo>
                  <a:pt x="4948" y="1551"/>
                </a:lnTo>
                <a:lnTo>
                  <a:pt x="4951" y="1547"/>
                </a:lnTo>
                <a:lnTo>
                  <a:pt x="4956" y="1542"/>
                </a:lnTo>
                <a:lnTo>
                  <a:pt x="4967" y="1531"/>
                </a:lnTo>
                <a:lnTo>
                  <a:pt x="4972" y="1528"/>
                </a:lnTo>
                <a:lnTo>
                  <a:pt x="4957" y="1514"/>
                </a:lnTo>
                <a:lnTo>
                  <a:pt x="4959" y="1512"/>
                </a:lnTo>
                <a:lnTo>
                  <a:pt x="4965" y="1506"/>
                </a:lnTo>
                <a:lnTo>
                  <a:pt x="4968" y="1504"/>
                </a:lnTo>
                <a:lnTo>
                  <a:pt x="4972" y="1502"/>
                </a:lnTo>
                <a:lnTo>
                  <a:pt x="4976" y="1502"/>
                </a:lnTo>
                <a:lnTo>
                  <a:pt x="4980" y="1504"/>
                </a:lnTo>
                <a:lnTo>
                  <a:pt x="4994" y="1514"/>
                </a:lnTo>
                <a:lnTo>
                  <a:pt x="5003" y="1519"/>
                </a:lnTo>
                <a:lnTo>
                  <a:pt x="5015" y="1520"/>
                </a:lnTo>
                <a:lnTo>
                  <a:pt x="5031" y="1520"/>
                </a:lnTo>
                <a:lnTo>
                  <a:pt x="5034" y="1520"/>
                </a:lnTo>
                <a:lnTo>
                  <a:pt x="5037" y="1520"/>
                </a:lnTo>
                <a:lnTo>
                  <a:pt x="5039" y="1520"/>
                </a:lnTo>
                <a:lnTo>
                  <a:pt x="5041" y="1518"/>
                </a:lnTo>
                <a:lnTo>
                  <a:pt x="5043" y="1515"/>
                </a:lnTo>
                <a:lnTo>
                  <a:pt x="5044" y="1511"/>
                </a:lnTo>
                <a:lnTo>
                  <a:pt x="5046" y="1505"/>
                </a:lnTo>
                <a:lnTo>
                  <a:pt x="5051" y="1500"/>
                </a:lnTo>
                <a:lnTo>
                  <a:pt x="5055" y="1495"/>
                </a:lnTo>
                <a:lnTo>
                  <a:pt x="5056" y="1493"/>
                </a:lnTo>
                <a:lnTo>
                  <a:pt x="5059" y="1513"/>
                </a:lnTo>
                <a:lnTo>
                  <a:pt x="5060" y="1515"/>
                </a:lnTo>
                <a:lnTo>
                  <a:pt x="5063" y="1519"/>
                </a:lnTo>
                <a:lnTo>
                  <a:pt x="5065" y="1521"/>
                </a:lnTo>
                <a:lnTo>
                  <a:pt x="5068" y="1523"/>
                </a:lnTo>
                <a:lnTo>
                  <a:pt x="5070" y="1524"/>
                </a:lnTo>
                <a:lnTo>
                  <a:pt x="5074" y="1525"/>
                </a:lnTo>
                <a:lnTo>
                  <a:pt x="5080" y="1527"/>
                </a:lnTo>
                <a:lnTo>
                  <a:pt x="5086" y="1528"/>
                </a:lnTo>
                <a:lnTo>
                  <a:pt x="5088" y="1528"/>
                </a:lnTo>
                <a:lnTo>
                  <a:pt x="5090" y="1525"/>
                </a:lnTo>
                <a:lnTo>
                  <a:pt x="5090" y="1521"/>
                </a:lnTo>
                <a:lnTo>
                  <a:pt x="5089" y="1513"/>
                </a:lnTo>
                <a:lnTo>
                  <a:pt x="5086" y="1499"/>
                </a:lnTo>
                <a:lnTo>
                  <a:pt x="5084" y="1491"/>
                </a:lnTo>
                <a:lnTo>
                  <a:pt x="5079" y="1484"/>
                </a:lnTo>
                <a:lnTo>
                  <a:pt x="5069" y="1474"/>
                </a:lnTo>
                <a:lnTo>
                  <a:pt x="5060" y="1462"/>
                </a:lnTo>
                <a:lnTo>
                  <a:pt x="5055" y="1455"/>
                </a:lnTo>
                <a:lnTo>
                  <a:pt x="5051" y="1450"/>
                </a:lnTo>
                <a:lnTo>
                  <a:pt x="5042" y="1443"/>
                </a:lnTo>
                <a:lnTo>
                  <a:pt x="5039" y="1442"/>
                </a:lnTo>
                <a:lnTo>
                  <a:pt x="5038" y="1439"/>
                </a:lnTo>
                <a:lnTo>
                  <a:pt x="5037" y="1437"/>
                </a:lnTo>
                <a:lnTo>
                  <a:pt x="5037" y="1435"/>
                </a:lnTo>
                <a:lnTo>
                  <a:pt x="5038" y="1430"/>
                </a:lnTo>
                <a:lnTo>
                  <a:pt x="5041" y="1425"/>
                </a:lnTo>
                <a:lnTo>
                  <a:pt x="5048" y="1415"/>
                </a:lnTo>
                <a:lnTo>
                  <a:pt x="5053" y="1412"/>
                </a:lnTo>
                <a:lnTo>
                  <a:pt x="5054" y="1416"/>
                </a:lnTo>
                <a:lnTo>
                  <a:pt x="5058" y="1425"/>
                </a:lnTo>
                <a:lnTo>
                  <a:pt x="5061" y="1430"/>
                </a:lnTo>
                <a:lnTo>
                  <a:pt x="5065" y="1435"/>
                </a:lnTo>
                <a:lnTo>
                  <a:pt x="5069" y="1439"/>
                </a:lnTo>
                <a:lnTo>
                  <a:pt x="5074" y="1442"/>
                </a:lnTo>
                <a:lnTo>
                  <a:pt x="5079" y="1446"/>
                </a:lnTo>
                <a:lnTo>
                  <a:pt x="5086" y="1448"/>
                </a:lnTo>
                <a:lnTo>
                  <a:pt x="5094" y="1450"/>
                </a:lnTo>
                <a:lnTo>
                  <a:pt x="5103" y="1451"/>
                </a:lnTo>
                <a:lnTo>
                  <a:pt x="5122" y="1455"/>
                </a:lnTo>
                <a:lnTo>
                  <a:pt x="5142" y="1459"/>
                </a:lnTo>
                <a:lnTo>
                  <a:pt x="5150" y="1462"/>
                </a:lnTo>
                <a:lnTo>
                  <a:pt x="5156" y="1465"/>
                </a:lnTo>
                <a:lnTo>
                  <a:pt x="5162" y="1469"/>
                </a:lnTo>
                <a:lnTo>
                  <a:pt x="5166" y="1472"/>
                </a:lnTo>
                <a:lnTo>
                  <a:pt x="5174" y="1480"/>
                </a:lnTo>
                <a:lnTo>
                  <a:pt x="5184" y="1491"/>
                </a:lnTo>
                <a:lnTo>
                  <a:pt x="5189" y="1500"/>
                </a:lnTo>
                <a:lnTo>
                  <a:pt x="5191" y="1505"/>
                </a:lnTo>
                <a:lnTo>
                  <a:pt x="5193" y="1507"/>
                </a:lnTo>
                <a:lnTo>
                  <a:pt x="5197" y="1511"/>
                </a:lnTo>
                <a:lnTo>
                  <a:pt x="5206" y="1516"/>
                </a:lnTo>
                <a:lnTo>
                  <a:pt x="5217" y="1522"/>
                </a:lnTo>
                <a:lnTo>
                  <a:pt x="5241" y="1534"/>
                </a:lnTo>
                <a:lnTo>
                  <a:pt x="5256" y="1541"/>
                </a:lnTo>
                <a:lnTo>
                  <a:pt x="5261" y="1543"/>
                </a:lnTo>
                <a:lnTo>
                  <a:pt x="5264" y="1546"/>
                </a:lnTo>
                <a:lnTo>
                  <a:pt x="5266" y="1549"/>
                </a:lnTo>
                <a:lnTo>
                  <a:pt x="5268" y="1552"/>
                </a:lnTo>
                <a:lnTo>
                  <a:pt x="5270" y="1556"/>
                </a:lnTo>
                <a:lnTo>
                  <a:pt x="5271" y="1556"/>
                </a:lnTo>
                <a:lnTo>
                  <a:pt x="5272" y="1553"/>
                </a:lnTo>
                <a:lnTo>
                  <a:pt x="5272" y="1550"/>
                </a:lnTo>
                <a:lnTo>
                  <a:pt x="5273" y="1541"/>
                </a:lnTo>
                <a:lnTo>
                  <a:pt x="5274" y="1530"/>
                </a:lnTo>
                <a:lnTo>
                  <a:pt x="5275" y="1523"/>
                </a:lnTo>
                <a:lnTo>
                  <a:pt x="5275" y="1518"/>
                </a:lnTo>
                <a:lnTo>
                  <a:pt x="5272" y="1514"/>
                </a:lnTo>
                <a:lnTo>
                  <a:pt x="5262" y="1505"/>
                </a:lnTo>
                <a:lnTo>
                  <a:pt x="5254" y="1497"/>
                </a:lnTo>
                <a:lnTo>
                  <a:pt x="5249" y="1493"/>
                </a:lnTo>
                <a:lnTo>
                  <a:pt x="5243" y="1487"/>
                </a:lnTo>
                <a:lnTo>
                  <a:pt x="5234" y="1478"/>
                </a:lnTo>
                <a:lnTo>
                  <a:pt x="5228" y="1472"/>
                </a:lnTo>
                <a:lnTo>
                  <a:pt x="5224" y="1467"/>
                </a:lnTo>
                <a:lnTo>
                  <a:pt x="5222" y="1462"/>
                </a:lnTo>
                <a:lnTo>
                  <a:pt x="5221" y="1457"/>
                </a:lnTo>
                <a:lnTo>
                  <a:pt x="5220" y="1446"/>
                </a:lnTo>
                <a:lnTo>
                  <a:pt x="5220" y="1432"/>
                </a:lnTo>
                <a:lnTo>
                  <a:pt x="5219" y="1425"/>
                </a:lnTo>
                <a:lnTo>
                  <a:pt x="5218" y="1418"/>
                </a:lnTo>
                <a:lnTo>
                  <a:pt x="5216" y="1413"/>
                </a:lnTo>
                <a:lnTo>
                  <a:pt x="5215" y="1410"/>
                </a:lnTo>
                <a:lnTo>
                  <a:pt x="5211" y="1405"/>
                </a:lnTo>
                <a:lnTo>
                  <a:pt x="5208" y="1399"/>
                </a:lnTo>
                <a:lnTo>
                  <a:pt x="5207" y="1397"/>
                </a:lnTo>
                <a:lnTo>
                  <a:pt x="5207" y="1395"/>
                </a:lnTo>
                <a:lnTo>
                  <a:pt x="5207" y="1394"/>
                </a:lnTo>
                <a:lnTo>
                  <a:pt x="5208" y="1392"/>
                </a:lnTo>
                <a:lnTo>
                  <a:pt x="5213" y="1386"/>
                </a:lnTo>
                <a:lnTo>
                  <a:pt x="5221" y="1376"/>
                </a:lnTo>
                <a:lnTo>
                  <a:pt x="5232" y="1365"/>
                </a:lnTo>
                <a:lnTo>
                  <a:pt x="5241" y="1354"/>
                </a:lnTo>
                <a:lnTo>
                  <a:pt x="5245" y="1350"/>
                </a:lnTo>
                <a:lnTo>
                  <a:pt x="5249" y="1346"/>
                </a:lnTo>
                <a:lnTo>
                  <a:pt x="5252" y="1342"/>
                </a:lnTo>
                <a:lnTo>
                  <a:pt x="5253" y="1338"/>
                </a:lnTo>
                <a:lnTo>
                  <a:pt x="5256" y="1325"/>
                </a:lnTo>
                <a:lnTo>
                  <a:pt x="5259" y="1307"/>
                </a:lnTo>
                <a:lnTo>
                  <a:pt x="5263" y="1289"/>
                </a:lnTo>
                <a:lnTo>
                  <a:pt x="5266" y="1273"/>
                </a:lnTo>
                <a:lnTo>
                  <a:pt x="5268" y="1260"/>
                </a:lnTo>
                <a:lnTo>
                  <a:pt x="5271" y="1252"/>
                </a:lnTo>
                <a:lnTo>
                  <a:pt x="5273" y="1248"/>
                </a:lnTo>
                <a:lnTo>
                  <a:pt x="5275" y="1244"/>
                </a:lnTo>
                <a:lnTo>
                  <a:pt x="5279" y="1241"/>
                </a:lnTo>
                <a:lnTo>
                  <a:pt x="5284" y="1238"/>
                </a:lnTo>
                <a:lnTo>
                  <a:pt x="5294" y="1232"/>
                </a:lnTo>
                <a:lnTo>
                  <a:pt x="5301" y="1227"/>
                </a:lnTo>
                <a:lnTo>
                  <a:pt x="5304" y="1225"/>
                </a:lnTo>
                <a:lnTo>
                  <a:pt x="5305" y="1222"/>
                </a:lnTo>
                <a:lnTo>
                  <a:pt x="5306" y="1219"/>
                </a:lnTo>
                <a:lnTo>
                  <a:pt x="5306" y="1217"/>
                </a:lnTo>
                <a:lnTo>
                  <a:pt x="5306" y="1215"/>
                </a:lnTo>
                <a:lnTo>
                  <a:pt x="5307" y="1212"/>
                </a:lnTo>
                <a:lnTo>
                  <a:pt x="5309" y="1210"/>
                </a:lnTo>
                <a:lnTo>
                  <a:pt x="5311" y="1208"/>
                </a:lnTo>
                <a:lnTo>
                  <a:pt x="5315" y="1208"/>
                </a:lnTo>
                <a:lnTo>
                  <a:pt x="5317" y="1208"/>
                </a:lnTo>
                <a:lnTo>
                  <a:pt x="5320" y="1210"/>
                </a:lnTo>
                <a:lnTo>
                  <a:pt x="5323" y="1214"/>
                </a:lnTo>
                <a:lnTo>
                  <a:pt x="5328" y="1223"/>
                </a:lnTo>
                <a:lnTo>
                  <a:pt x="5333" y="1230"/>
                </a:lnTo>
                <a:lnTo>
                  <a:pt x="5336" y="1233"/>
                </a:lnTo>
                <a:lnTo>
                  <a:pt x="5337" y="1235"/>
                </a:lnTo>
                <a:lnTo>
                  <a:pt x="5337" y="1237"/>
                </a:lnTo>
                <a:lnTo>
                  <a:pt x="5336" y="1239"/>
                </a:lnTo>
                <a:lnTo>
                  <a:pt x="5332" y="1243"/>
                </a:lnTo>
                <a:lnTo>
                  <a:pt x="5330" y="1248"/>
                </a:lnTo>
                <a:lnTo>
                  <a:pt x="5330" y="1249"/>
                </a:lnTo>
                <a:lnTo>
                  <a:pt x="5331" y="1251"/>
                </a:lnTo>
                <a:lnTo>
                  <a:pt x="5332" y="1252"/>
                </a:lnTo>
                <a:lnTo>
                  <a:pt x="5334" y="1253"/>
                </a:lnTo>
                <a:lnTo>
                  <a:pt x="5340" y="1254"/>
                </a:lnTo>
                <a:lnTo>
                  <a:pt x="5347" y="1253"/>
                </a:lnTo>
                <a:lnTo>
                  <a:pt x="5350" y="1253"/>
                </a:lnTo>
                <a:lnTo>
                  <a:pt x="5352" y="1254"/>
                </a:lnTo>
                <a:lnTo>
                  <a:pt x="5354" y="1256"/>
                </a:lnTo>
                <a:lnTo>
                  <a:pt x="5354" y="1259"/>
                </a:lnTo>
                <a:lnTo>
                  <a:pt x="5355" y="1269"/>
                </a:lnTo>
                <a:lnTo>
                  <a:pt x="5355" y="1278"/>
                </a:lnTo>
                <a:lnTo>
                  <a:pt x="5355" y="1289"/>
                </a:lnTo>
                <a:lnTo>
                  <a:pt x="5354" y="1300"/>
                </a:lnTo>
                <a:lnTo>
                  <a:pt x="5352" y="1314"/>
                </a:lnTo>
                <a:lnTo>
                  <a:pt x="5349" y="1326"/>
                </a:lnTo>
                <a:lnTo>
                  <a:pt x="5346" y="1337"/>
                </a:lnTo>
                <a:lnTo>
                  <a:pt x="5344" y="1341"/>
                </a:lnTo>
                <a:lnTo>
                  <a:pt x="5343" y="1342"/>
                </a:lnTo>
                <a:lnTo>
                  <a:pt x="5341" y="1345"/>
                </a:lnTo>
                <a:lnTo>
                  <a:pt x="5340" y="1348"/>
                </a:lnTo>
                <a:lnTo>
                  <a:pt x="5340" y="1352"/>
                </a:lnTo>
                <a:lnTo>
                  <a:pt x="5341" y="1357"/>
                </a:lnTo>
                <a:lnTo>
                  <a:pt x="5343" y="1363"/>
                </a:lnTo>
                <a:lnTo>
                  <a:pt x="5346" y="1374"/>
                </a:lnTo>
                <a:lnTo>
                  <a:pt x="5348" y="1382"/>
                </a:lnTo>
                <a:lnTo>
                  <a:pt x="5349" y="1390"/>
                </a:lnTo>
                <a:lnTo>
                  <a:pt x="5351" y="1402"/>
                </a:lnTo>
                <a:lnTo>
                  <a:pt x="5354" y="1413"/>
                </a:lnTo>
                <a:lnTo>
                  <a:pt x="5354" y="1421"/>
                </a:lnTo>
                <a:lnTo>
                  <a:pt x="5352" y="1429"/>
                </a:lnTo>
                <a:lnTo>
                  <a:pt x="5349" y="1437"/>
                </a:lnTo>
                <a:lnTo>
                  <a:pt x="5348" y="1442"/>
                </a:lnTo>
                <a:lnTo>
                  <a:pt x="5348" y="1449"/>
                </a:lnTo>
                <a:lnTo>
                  <a:pt x="5348" y="1455"/>
                </a:lnTo>
                <a:lnTo>
                  <a:pt x="5349" y="1461"/>
                </a:lnTo>
                <a:lnTo>
                  <a:pt x="5351" y="1473"/>
                </a:lnTo>
                <a:lnTo>
                  <a:pt x="5352" y="1480"/>
                </a:lnTo>
                <a:lnTo>
                  <a:pt x="5355" y="1484"/>
                </a:lnTo>
                <a:lnTo>
                  <a:pt x="5360" y="1489"/>
                </a:lnTo>
                <a:lnTo>
                  <a:pt x="5362" y="1491"/>
                </a:lnTo>
                <a:lnTo>
                  <a:pt x="5363" y="1494"/>
                </a:lnTo>
                <a:lnTo>
                  <a:pt x="5362" y="1497"/>
                </a:lnTo>
                <a:lnTo>
                  <a:pt x="5359" y="1501"/>
                </a:lnTo>
                <a:lnTo>
                  <a:pt x="5355" y="1506"/>
                </a:lnTo>
                <a:lnTo>
                  <a:pt x="5354" y="1511"/>
                </a:lnTo>
                <a:lnTo>
                  <a:pt x="5353" y="1515"/>
                </a:lnTo>
                <a:lnTo>
                  <a:pt x="5354" y="1519"/>
                </a:lnTo>
                <a:lnTo>
                  <a:pt x="5357" y="1526"/>
                </a:lnTo>
                <a:lnTo>
                  <a:pt x="5360" y="1534"/>
                </a:lnTo>
                <a:lnTo>
                  <a:pt x="5362" y="1540"/>
                </a:lnTo>
                <a:lnTo>
                  <a:pt x="5364" y="1547"/>
                </a:lnTo>
                <a:lnTo>
                  <a:pt x="5365" y="1551"/>
                </a:lnTo>
                <a:lnTo>
                  <a:pt x="5365" y="1555"/>
                </a:lnTo>
                <a:lnTo>
                  <a:pt x="5364" y="1559"/>
                </a:lnTo>
                <a:lnTo>
                  <a:pt x="5363" y="1562"/>
                </a:lnTo>
                <a:lnTo>
                  <a:pt x="5362" y="1569"/>
                </a:lnTo>
                <a:lnTo>
                  <a:pt x="5362" y="1578"/>
                </a:lnTo>
                <a:lnTo>
                  <a:pt x="5362" y="1582"/>
                </a:lnTo>
                <a:lnTo>
                  <a:pt x="5362" y="1587"/>
                </a:lnTo>
                <a:lnTo>
                  <a:pt x="5361" y="1591"/>
                </a:lnTo>
                <a:lnTo>
                  <a:pt x="5359" y="1596"/>
                </a:lnTo>
                <a:lnTo>
                  <a:pt x="5354" y="1608"/>
                </a:lnTo>
                <a:lnTo>
                  <a:pt x="5351" y="1618"/>
                </a:lnTo>
                <a:lnTo>
                  <a:pt x="5349" y="1623"/>
                </a:lnTo>
                <a:lnTo>
                  <a:pt x="5347" y="1627"/>
                </a:lnTo>
                <a:lnTo>
                  <a:pt x="5345" y="1630"/>
                </a:lnTo>
                <a:lnTo>
                  <a:pt x="5342" y="1633"/>
                </a:lnTo>
                <a:lnTo>
                  <a:pt x="5328" y="1636"/>
                </a:lnTo>
                <a:lnTo>
                  <a:pt x="5309" y="1640"/>
                </a:lnTo>
                <a:lnTo>
                  <a:pt x="5293" y="1643"/>
                </a:lnTo>
                <a:lnTo>
                  <a:pt x="5285" y="1644"/>
                </a:lnTo>
                <a:lnTo>
                  <a:pt x="5282" y="1644"/>
                </a:lnTo>
                <a:lnTo>
                  <a:pt x="5277" y="1643"/>
                </a:lnTo>
                <a:lnTo>
                  <a:pt x="5275" y="1642"/>
                </a:lnTo>
                <a:lnTo>
                  <a:pt x="5273" y="1643"/>
                </a:lnTo>
                <a:lnTo>
                  <a:pt x="5271" y="1645"/>
                </a:lnTo>
                <a:lnTo>
                  <a:pt x="5271" y="1647"/>
                </a:lnTo>
                <a:lnTo>
                  <a:pt x="5272" y="1651"/>
                </a:lnTo>
                <a:lnTo>
                  <a:pt x="5275" y="1654"/>
                </a:lnTo>
                <a:lnTo>
                  <a:pt x="5279" y="1657"/>
                </a:lnTo>
                <a:lnTo>
                  <a:pt x="5283" y="1659"/>
                </a:lnTo>
                <a:lnTo>
                  <a:pt x="5290" y="1664"/>
                </a:lnTo>
                <a:lnTo>
                  <a:pt x="5295" y="1666"/>
                </a:lnTo>
                <a:lnTo>
                  <a:pt x="5301" y="1666"/>
                </a:lnTo>
                <a:lnTo>
                  <a:pt x="5315" y="1666"/>
                </a:lnTo>
                <a:lnTo>
                  <a:pt x="5323" y="1666"/>
                </a:lnTo>
                <a:lnTo>
                  <a:pt x="5329" y="1665"/>
                </a:lnTo>
                <a:lnTo>
                  <a:pt x="5336" y="1664"/>
                </a:lnTo>
                <a:lnTo>
                  <a:pt x="5339" y="1662"/>
                </a:lnTo>
                <a:lnTo>
                  <a:pt x="5349" y="1651"/>
                </a:lnTo>
                <a:lnTo>
                  <a:pt x="5360" y="1640"/>
                </a:lnTo>
                <a:lnTo>
                  <a:pt x="5365" y="1638"/>
                </a:lnTo>
                <a:lnTo>
                  <a:pt x="5372" y="1637"/>
                </a:lnTo>
                <a:lnTo>
                  <a:pt x="5376" y="1636"/>
                </a:lnTo>
                <a:lnTo>
                  <a:pt x="5380" y="1634"/>
                </a:lnTo>
                <a:lnTo>
                  <a:pt x="5382" y="1632"/>
                </a:lnTo>
                <a:lnTo>
                  <a:pt x="5384" y="1629"/>
                </a:lnTo>
                <a:lnTo>
                  <a:pt x="5385" y="1618"/>
                </a:lnTo>
                <a:lnTo>
                  <a:pt x="5387" y="1605"/>
                </a:lnTo>
                <a:lnTo>
                  <a:pt x="5389" y="1593"/>
                </a:lnTo>
                <a:lnTo>
                  <a:pt x="5392" y="1585"/>
                </a:lnTo>
                <a:lnTo>
                  <a:pt x="5397" y="1581"/>
                </a:lnTo>
                <a:lnTo>
                  <a:pt x="5404" y="1577"/>
                </a:lnTo>
                <a:lnTo>
                  <a:pt x="5407" y="1574"/>
                </a:lnTo>
                <a:lnTo>
                  <a:pt x="5408" y="1571"/>
                </a:lnTo>
                <a:lnTo>
                  <a:pt x="5407" y="1567"/>
                </a:lnTo>
                <a:lnTo>
                  <a:pt x="5404" y="1562"/>
                </a:lnTo>
                <a:lnTo>
                  <a:pt x="5395" y="1550"/>
                </a:lnTo>
                <a:lnTo>
                  <a:pt x="5387" y="1542"/>
                </a:lnTo>
                <a:lnTo>
                  <a:pt x="5384" y="1539"/>
                </a:lnTo>
                <a:lnTo>
                  <a:pt x="5382" y="1537"/>
                </a:lnTo>
                <a:lnTo>
                  <a:pt x="5381" y="1535"/>
                </a:lnTo>
                <a:lnTo>
                  <a:pt x="5382" y="1533"/>
                </a:lnTo>
                <a:lnTo>
                  <a:pt x="5384" y="1530"/>
                </a:lnTo>
                <a:lnTo>
                  <a:pt x="5390" y="1527"/>
                </a:lnTo>
                <a:lnTo>
                  <a:pt x="5396" y="1525"/>
                </a:lnTo>
                <a:lnTo>
                  <a:pt x="5405" y="1522"/>
                </a:lnTo>
                <a:lnTo>
                  <a:pt x="5419" y="1518"/>
                </a:lnTo>
                <a:lnTo>
                  <a:pt x="5426" y="1516"/>
                </a:lnTo>
                <a:lnTo>
                  <a:pt x="5424" y="1515"/>
                </a:lnTo>
                <a:lnTo>
                  <a:pt x="5419" y="1511"/>
                </a:lnTo>
                <a:lnTo>
                  <a:pt x="5415" y="1509"/>
                </a:lnTo>
                <a:lnTo>
                  <a:pt x="5410" y="1507"/>
                </a:lnTo>
                <a:lnTo>
                  <a:pt x="5404" y="1506"/>
                </a:lnTo>
                <a:lnTo>
                  <a:pt x="5395" y="1505"/>
                </a:lnTo>
                <a:lnTo>
                  <a:pt x="5384" y="1504"/>
                </a:lnTo>
                <a:lnTo>
                  <a:pt x="5379" y="1503"/>
                </a:lnTo>
                <a:lnTo>
                  <a:pt x="5377" y="1500"/>
                </a:lnTo>
                <a:lnTo>
                  <a:pt x="5377" y="1494"/>
                </a:lnTo>
                <a:lnTo>
                  <a:pt x="5375" y="1481"/>
                </a:lnTo>
                <a:lnTo>
                  <a:pt x="5372" y="1460"/>
                </a:lnTo>
                <a:lnTo>
                  <a:pt x="5370" y="1450"/>
                </a:lnTo>
                <a:lnTo>
                  <a:pt x="5369" y="1440"/>
                </a:lnTo>
                <a:lnTo>
                  <a:pt x="5369" y="1433"/>
                </a:lnTo>
                <a:lnTo>
                  <a:pt x="5370" y="1429"/>
                </a:lnTo>
                <a:lnTo>
                  <a:pt x="5375" y="1425"/>
                </a:lnTo>
                <a:lnTo>
                  <a:pt x="5381" y="1423"/>
                </a:lnTo>
                <a:lnTo>
                  <a:pt x="5383" y="1420"/>
                </a:lnTo>
                <a:lnTo>
                  <a:pt x="5383" y="1417"/>
                </a:lnTo>
                <a:lnTo>
                  <a:pt x="5382" y="1413"/>
                </a:lnTo>
                <a:lnTo>
                  <a:pt x="5379" y="1407"/>
                </a:lnTo>
                <a:lnTo>
                  <a:pt x="5370" y="1395"/>
                </a:lnTo>
                <a:lnTo>
                  <a:pt x="5366" y="1386"/>
                </a:lnTo>
                <a:lnTo>
                  <a:pt x="5365" y="1381"/>
                </a:lnTo>
                <a:lnTo>
                  <a:pt x="5364" y="1374"/>
                </a:lnTo>
                <a:lnTo>
                  <a:pt x="5365" y="1367"/>
                </a:lnTo>
                <a:lnTo>
                  <a:pt x="5365" y="1358"/>
                </a:lnTo>
                <a:lnTo>
                  <a:pt x="5366" y="1348"/>
                </a:lnTo>
                <a:lnTo>
                  <a:pt x="5369" y="1339"/>
                </a:lnTo>
                <a:lnTo>
                  <a:pt x="5372" y="1330"/>
                </a:lnTo>
                <a:lnTo>
                  <a:pt x="5375" y="1323"/>
                </a:lnTo>
                <a:lnTo>
                  <a:pt x="5382" y="1314"/>
                </a:lnTo>
                <a:lnTo>
                  <a:pt x="5385" y="1309"/>
                </a:lnTo>
                <a:lnTo>
                  <a:pt x="5386" y="1307"/>
                </a:lnTo>
                <a:lnTo>
                  <a:pt x="5390" y="1300"/>
                </a:lnTo>
                <a:lnTo>
                  <a:pt x="5394" y="1292"/>
                </a:lnTo>
                <a:lnTo>
                  <a:pt x="5395" y="1283"/>
                </a:lnTo>
                <a:lnTo>
                  <a:pt x="5398" y="1270"/>
                </a:lnTo>
                <a:lnTo>
                  <a:pt x="5403" y="1252"/>
                </a:lnTo>
                <a:lnTo>
                  <a:pt x="5406" y="1243"/>
                </a:lnTo>
                <a:lnTo>
                  <a:pt x="5408" y="1238"/>
                </a:lnTo>
                <a:lnTo>
                  <a:pt x="5409" y="1236"/>
                </a:lnTo>
                <a:lnTo>
                  <a:pt x="5410" y="1235"/>
                </a:lnTo>
                <a:lnTo>
                  <a:pt x="5411" y="1235"/>
                </a:lnTo>
                <a:lnTo>
                  <a:pt x="5411" y="1237"/>
                </a:lnTo>
                <a:lnTo>
                  <a:pt x="5414" y="1248"/>
                </a:lnTo>
                <a:lnTo>
                  <a:pt x="5418" y="1261"/>
                </a:lnTo>
                <a:lnTo>
                  <a:pt x="5420" y="1267"/>
                </a:lnTo>
                <a:lnTo>
                  <a:pt x="5423" y="1275"/>
                </a:lnTo>
                <a:lnTo>
                  <a:pt x="5423" y="1281"/>
                </a:lnTo>
                <a:lnTo>
                  <a:pt x="5421" y="1287"/>
                </a:lnTo>
                <a:lnTo>
                  <a:pt x="5418" y="1298"/>
                </a:lnTo>
                <a:lnTo>
                  <a:pt x="5416" y="1308"/>
                </a:lnTo>
                <a:lnTo>
                  <a:pt x="5415" y="1320"/>
                </a:lnTo>
                <a:lnTo>
                  <a:pt x="5413" y="1331"/>
                </a:lnTo>
                <a:lnTo>
                  <a:pt x="5413" y="1336"/>
                </a:lnTo>
                <a:lnTo>
                  <a:pt x="5414" y="1338"/>
                </a:lnTo>
                <a:lnTo>
                  <a:pt x="5416" y="1339"/>
                </a:lnTo>
                <a:lnTo>
                  <a:pt x="5418" y="1338"/>
                </a:lnTo>
                <a:lnTo>
                  <a:pt x="5424" y="1335"/>
                </a:lnTo>
                <a:lnTo>
                  <a:pt x="5427" y="1332"/>
                </a:lnTo>
                <a:lnTo>
                  <a:pt x="5434" y="1293"/>
                </a:lnTo>
                <a:lnTo>
                  <a:pt x="5436" y="1287"/>
                </a:lnTo>
                <a:lnTo>
                  <a:pt x="5442" y="1278"/>
                </a:lnTo>
                <a:lnTo>
                  <a:pt x="5447" y="1273"/>
                </a:lnTo>
                <a:lnTo>
                  <a:pt x="5450" y="1270"/>
                </a:lnTo>
                <a:lnTo>
                  <a:pt x="5452" y="1267"/>
                </a:lnTo>
                <a:lnTo>
                  <a:pt x="5453" y="1267"/>
                </a:lnTo>
                <a:lnTo>
                  <a:pt x="5454" y="1267"/>
                </a:lnTo>
                <a:lnTo>
                  <a:pt x="5455" y="1267"/>
                </a:lnTo>
                <a:lnTo>
                  <a:pt x="5463" y="1273"/>
                </a:lnTo>
                <a:lnTo>
                  <a:pt x="5477" y="1281"/>
                </a:lnTo>
                <a:lnTo>
                  <a:pt x="5491" y="1289"/>
                </a:lnTo>
                <a:lnTo>
                  <a:pt x="5501" y="1297"/>
                </a:lnTo>
                <a:lnTo>
                  <a:pt x="5511" y="1304"/>
                </a:lnTo>
                <a:lnTo>
                  <a:pt x="5523" y="1310"/>
                </a:lnTo>
                <a:lnTo>
                  <a:pt x="5529" y="1315"/>
                </a:lnTo>
                <a:lnTo>
                  <a:pt x="5536" y="1318"/>
                </a:lnTo>
                <a:lnTo>
                  <a:pt x="5540" y="1322"/>
                </a:lnTo>
                <a:lnTo>
                  <a:pt x="5544" y="1326"/>
                </a:lnTo>
                <a:lnTo>
                  <a:pt x="5547" y="1329"/>
                </a:lnTo>
                <a:lnTo>
                  <a:pt x="5551" y="1331"/>
                </a:lnTo>
                <a:lnTo>
                  <a:pt x="5557" y="1332"/>
                </a:lnTo>
                <a:lnTo>
                  <a:pt x="5562" y="1333"/>
                </a:lnTo>
                <a:lnTo>
                  <a:pt x="5566" y="1335"/>
                </a:lnTo>
                <a:lnTo>
                  <a:pt x="5570" y="1337"/>
                </a:lnTo>
                <a:lnTo>
                  <a:pt x="5573" y="1339"/>
                </a:lnTo>
                <a:lnTo>
                  <a:pt x="5574" y="1343"/>
                </a:lnTo>
                <a:lnTo>
                  <a:pt x="5574" y="1351"/>
                </a:lnTo>
                <a:lnTo>
                  <a:pt x="5575" y="1358"/>
                </a:lnTo>
                <a:lnTo>
                  <a:pt x="5574" y="1364"/>
                </a:lnTo>
                <a:lnTo>
                  <a:pt x="5571" y="1372"/>
                </a:lnTo>
                <a:lnTo>
                  <a:pt x="5569" y="1377"/>
                </a:lnTo>
                <a:lnTo>
                  <a:pt x="5567" y="1382"/>
                </a:lnTo>
                <a:lnTo>
                  <a:pt x="5567" y="1387"/>
                </a:lnTo>
                <a:lnTo>
                  <a:pt x="5566" y="1391"/>
                </a:lnTo>
                <a:lnTo>
                  <a:pt x="5567" y="1396"/>
                </a:lnTo>
                <a:lnTo>
                  <a:pt x="5568" y="1402"/>
                </a:lnTo>
                <a:lnTo>
                  <a:pt x="5570" y="1408"/>
                </a:lnTo>
                <a:lnTo>
                  <a:pt x="5573" y="1414"/>
                </a:lnTo>
                <a:lnTo>
                  <a:pt x="5578" y="1420"/>
                </a:lnTo>
                <a:lnTo>
                  <a:pt x="5582" y="1425"/>
                </a:lnTo>
                <a:lnTo>
                  <a:pt x="5586" y="1428"/>
                </a:lnTo>
                <a:lnTo>
                  <a:pt x="5590" y="1428"/>
                </a:lnTo>
                <a:lnTo>
                  <a:pt x="5594" y="1428"/>
                </a:lnTo>
                <a:lnTo>
                  <a:pt x="5597" y="1425"/>
                </a:lnTo>
                <a:lnTo>
                  <a:pt x="5599" y="1420"/>
                </a:lnTo>
                <a:lnTo>
                  <a:pt x="5600" y="1415"/>
                </a:lnTo>
                <a:lnTo>
                  <a:pt x="5597" y="1399"/>
                </a:lnTo>
                <a:lnTo>
                  <a:pt x="5596" y="1383"/>
                </a:lnTo>
                <a:lnTo>
                  <a:pt x="5595" y="1368"/>
                </a:lnTo>
                <a:lnTo>
                  <a:pt x="5593" y="1359"/>
                </a:lnTo>
                <a:lnTo>
                  <a:pt x="5584" y="1348"/>
                </a:lnTo>
                <a:lnTo>
                  <a:pt x="5574" y="1336"/>
                </a:lnTo>
                <a:lnTo>
                  <a:pt x="5571" y="1326"/>
                </a:lnTo>
                <a:lnTo>
                  <a:pt x="5566" y="1315"/>
                </a:lnTo>
                <a:lnTo>
                  <a:pt x="5564" y="1311"/>
                </a:lnTo>
                <a:lnTo>
                  <a:pt x="5560" y="1308"/>
                </a:lnTo>
                <a:lnTo>
                  <a:pt x="5557" y="1305"/>
                </a:lnTo>
                <a:lnTo>
                  <a:pt x="5551" y="1302"/>
                </a:lnTo>
                <a:lnTo>
                  <a:pt x="5543" y="1296"/>
                </a:lnTo>
                <a:lnTo>
                  <a:pt x="5535" y="1288"/>
                </a:lnTo>
                <a:lnTo>
                  <a:pt x="5533" y="1282"/>
                </a:lnTo>
                <a:lnTo>
                  <a:pt x="5531" y="1276"/>
                </a:lnTo>
                <a:lnTo>
                  <a:pt x="5531" y="1267"/>
                </a:lnTo>
                <a:lnTo>
                  <a:pt x="5533" y="1260"/>
                </a:lnTo>
                <a:lnTo>
                  <a:pt x="5534" y="1253"/>
                </a:lnTo>
                <a:lnTo>
                  <a:pt x="5535" y="1247"/>
                </a:lnTo>
                <a:lnTo>
                  <a:pt x="5535" y="1241"/>
                </a:lnTo>
                <a:lnTo>
                  <a:pt x="5534" y="1237"/>
                </a:lnTo>
                <a:lnTo>
                  <a:pt x="5529" y="1232"/>
                </a:lnTo>
                <a:lnTo>
                  <a:pt x="5526" y="1227"/>
                </a:lnTo>
                <a:lnTo>
                  <a:pt x="5524" y="1221"/>
                </a:lnTo>
                <a:lnTo>
                  <a:pt x="5524" y="1218"/>
                </a:lnTo>
                <a:lnTo>
                  <a:pt x="5541" y="1212"/>
                </a:lnTo>
                <a:lnTo>
                  <a:pt x="5578" y="1201"/>
                </a:lnTo>
                <a:lnTo>
                  <a:pt x="5597" y="1196"/>
                </a:lnTo>
                <a:lnTo>
                  <a:pt x="5615" y="1193"/>
                </a:lnTo>
                <a:lnTo>
                  <a:pt x="5622" y="1192"/>
                </a:lnTo>
                <a:lnTo>
                  <a:pt x="5628" y="1191"/>
                </a:lnTo>
                <a:lnTo>
                  <a:pt x="5631" y="1191"/>
                </a:lnTo>
                <a:lnTo>
                  <a:pt x="5633" y="1192"/>
                </a:lnTo>
                <a:lnTo>
                  <a:pt x="5634" y="1194"/>
                </a:lnTo>
                <a:lnTo>
                  <a:pt x="5638" y="1197"/>
                </a:lnTo>
                <a:lnTo>
                  <a:pt x="5643" y="1199"/>
                </a:lnTo>
                <a:lnTo>
                  <a:pt x="5648" y="1201"/>
                </a:lnTo>
                <a:lnTo>
                  <a:pt x="5653" y="1204"/>
                </a:lnTo>
                <a:lnTo>
                  <a:pt x="5658" y="1205"/>
                </a:lnTo>
                <a:lnTo>
                  <a:pt x="5662" y="1205"/>
                </a:lnTo>
                <a:lnTo>
                  <a:pt x="5665" y="1203"/>
                </a:lnTo>
                <a:lnTo>
                  <a:pt x="5669" y="1198"/>
                </a:lnTo>
                <a:lnTo>
                  <a:pt x="5675" y="1192"/>
                </a:lnTo>
                <a:lnTo>
                  <a:pt x="5676" y="1187"/>
                </a:lnTo>
                <a:lnTo>
                  <a:pt x="5676" y="1180"/>
                </a:lnTo>
                <a:lnTo>
                  <a:pt x="5674" y="1172"/>
                </a:lnTo>
                <a:lnTo>
                  <a:pt x="5669" y="1161"/>
                </a:lnTo>
                <a:lnTo>
                  <a:pt x="5656" y="1141"/>
                </a:lnTo>
                <a:lnTo>
                  <a:pt x="5647" y="1127"/>
                </a:lnTo>
                <a:lnTo>
                  <a:pt x="5646" y="1124"/>
                </a:lnTo>
                <a:lnTo>
                  <a:pt x="5646" y="1121"/>
                </a:lnTo>
                <a:lnTo>
                  <a:pt x="5646" y="1119"/>
                </a:lnTo>
                <a:lnTo>
                  <a:pt x="5646" y="1116"/>
                </a:lnTo>
                <a:lnTo>
                  <a:pt x="5648" y="1112"/>
                </a:lnTo>
                <a:lnTo>
                  <a:pt x="5650" y="1108"/>
                </a:lnTo>
                <a:lnTo>
                  <a:pt x="5654" y="1105"/>
                </a:lnTo>
                <a:lnTo>
                  <a:pt x="5658" y="1101"/>
                </a:lnTo>
                <a:lnTo>
                  <a:pt x="5679" y="1082"/>
                </a:lnTo>
                <a:lnTo>
                  <a:pt x="5700" y="1062"/>
                </a:lnTo>
                <a:lnTo>
                  <a:pt x="5719" y="1044"/>
                </a:lnTo>
                <a:lnTo>
                  <a:pt x="5735" y="1030"/>
                </a:lnTo>
                <a:lnTo>
                  <a:pt x="5739" y="1026"/>
                </a:lnTo>
                <a:lnTo>
                  <a:pt x="5744" y="1024"/>
                </a:lnTo>
                <a:lnTo>
                  <a:pt x="5750" y="1022"/>
                </a:lnTo>
                <a:lnTo>
                  <a:pt x="5758" y="1021"/>
                </a:lnTo>
                <a:lnTo>
                  <a:pt x="5772" y="1018"/>
                </a:lnTo>
                <a:lnTo>
                  <a:pt x="5788" y="1016"/>
                </a:lnTo>
                <a:lnTo>
                  <a:pt x="5804" y="1014"/>
                </a:lnTo>
                <a:lnTo>
                  <a:pt x="5818" y="1011"/>
                </a:lnTo>
                <a:lnTo>
                  <a:pt x="5824" y="1010"/>
                </a:lnTo>
                <a:lnTo>
                  <a:pt x="5828" y="1008"/>
                </a:lnTo>
                <a:lnTo>
                  <a:pt x="5831" y="1004"/>
                </a:lnTo>
                <a:lnTo>
                  <a:pt x="5833" y="1002"/>
                </a:lnTo>
                <a:lnTo>
                  <a:pt x="5836" y="995"/>
                </a:lnTo>
                <a:lnTo>
                  <a:pt x="5837" y="988"/>
                </a:lnTo>
                <a:lnTo>
                  <a:pt x="5838" y="980"/>
                </a:lnTo>
                <a:lnTo>
                  <a:pt x="5838" y="973"/>
                </a:lnTo>
                <a:lnTo>
                  <a:pt x="5838" y="960"/>
                </a:lnTo>
                <a:lnTo>
                  <a:pt x="5837" y="956"/>
                </a:lnTo>
                <a:lnTo>
                  <a:pt x="5837" y="951"/>
                </a:lnTo>
                <a:lnTo>
                  <a:pt x="5836" y="940"/>
                </a:lnTo>
                <a:lnTo>
                  <a:pt x="5836" y="933"/>
                </a:lnTo>
                <a:lnTo>
                  <a:pt x="5836" y="928"/>
                </a:lnTo>
                <a:lnTo>
                  <a:pt x="5837" y="926"/>
                </a:lnTo>
                <a:lnTo>
                  <a:pt x="5838" y="925"/>
                </a:lnTo>
                <a:lnTo>
                  <a:pt x="5841" y="924"/>
                </a:lnTo>
                <a:lnTo>
                  <a:pt x="5842" y="923"/>
                </a:lnTo>
                <a:lnTo>
                  <a:pt x="5850" y="922"/>
                </a:lnTo>
                <a:lnTo>
                  <a:pt x="5859" y="919"/>
                </a:lnTo>
                <a:lnTo>
                  <a:pt x="5863" y="916"/>
                </a:lnTo>
                <a:lnTo>
                  <a:pt x="5865" y="914"/>
                </a:lnTo>
                <a:lnTo>
                  <a:pt x="5866" y="912"/>
                </a:lnTo>
                <a:lnTo>
                  <a:pt x="5866" y="910"/>
                </a:lnTo>
                <a:lnTo>
                  <a:pt x="5865" y="908"/>
                </a:lnTo>
                <a:lnTo>
                  <a:pt x="5865" y="904"/>
                </a:lnTo>
                <a:lnTo>
                  <a:pt x="5866" y="899"/>
                </a:lnTo>
                <a:lnTo>
                  <a:pt x="5868" y="894"/>
                </a:lnTo>
                <a:lnTo>
                  <a:pt x="5870" y="891"/>
                </a:lnTo>
                <a:lnTo>
                  <a:pt x="5873" y="889"/>
                </a:lnTo>
                <a:lnTo>
                  <a:pt x="5874" y="889"/>
                </a:lnTo>
                <a:lnTo>
                  <a:pt x="5875" y="890"/>
                </a:lnTo>
                <a:lnTo>
                  <a:pt x="5876" y="891"/>
                </a:lnTo>
                <a:lnTo>
                  <a:pt x="5877" y="894"/>
                </a:lnTo>
                <a:lnTo>
                  <a:pt x="5881" y="904"/>
                </a:lnTo>
                <a:lnTo>
                  <a:pt x="5882" y="910"/>
                </a:lnTo>
                <a:lnTo>
                  <a:pt x="5882" y="915"/>
                </a:lnTo>
                <a:lnTo>
                  <a:pt x="5880" y="921"/>
                </a:lnTo>
                <a:lnTo>
                  <a:pt x="5887" y="929"/>
                </a:lnTo>
                <a:lnTo>
                  <a:pt x="5894" y="941"/>
                </a:lnTo>
                <a:lnTo>
                  <a:pt x="5894" y="944"/>
                </a:lnTo>
                <a:lnTo>
                  <a:pt x="5892" y="947"/>
                </a:lnTo>
                <a:lnTo>
                  <a:pt x="5889" y="948"/>
                </a:lnTo>
                <a:lnTo>
                  <a:pt x="5885" y="949"/>
                </a:lnTo>
                <a:lnTo>
                  <a:pt x="5880" y="948"/>
                </a:lnTo>
                <a:lnTo>
                  <a:pt x="5876" y="947"/>
                </a:lnTo>
                <a:lnTo>
                  <a:pt x="5872" y="945"/>
                </a:lnTo>
                <a:lnTo>
                  <a:pt x="5868" y="942"/>
                </a:lnTo>
                <a:lnTo>
                  <a:pt x="5864" y="938"/>
                </a:lnTo>
                <a:lnTo>
                  <a:pt x="5858" y="935"/>
                </a:lnTo>
                <a:lnTo>
                  <a:pt x="5854" y="934"/>
                </a:lnTo>
                <a:lnTo>
                  <a:pt x="5850" y="932"/>
                </a:lnTo>
                <a:lnTo>
                  <a:pt x="5846" y="932"/>
                </a:lnTo>
                <a:lnTo>
                  <a:pt x="5843" y="932"/>
                </a:lnTo>
                <a:lnTo>
                  <a:pt x="5842" y="933"/>
                </a:lnTo>
                <a:lnTo>
                  <a:pt x="5842" y="935"/>
                </a:lnTo>
                <a:lnTo>
                  <a:pt x="5847" y="940"/>
                </a:lnTo>
                <a:lnTo>
                  <a:pt x="5853" y="944"/>
                </a:lnTo>
                <a:lnTo>
                  <a:pt x="5859" y="947"/>
                </a:lnTo>
                <a:lnTo>
                  <a:pt x="5863" y="948"/>
                </a:lnTo>
                <a:lnTo>
                  <a:pt x="5860" y="951"/>
                </a:lnTo>
                <a:lnTo>
                  <a:pt x="5857" y="962"/>
                </a:lnTo>
                <a:lnTo>
                  <a:pt x="5857" y="965"/>
                </a:lnTo>
                <a:lnTo>
                  <a:pt x="5857" y="967"/>
                </a:lnTo>
                <a:lnTo>
                  <a:pt x="5859" y="968"/>
                </a:lnTo>
                <a:lnTo>
                  <a:pt x="5863" y="968"/>
                </a:lnTo>
                <a:lnTo>
                  <a:pt x="5869" y="966"/>
                </a:lnTo>
                <a:lnTo>
                  <a:pt x="5875" y="962"/>
                </a:lnTo>
                <a:lnTo>
                  <a:pt x="5877" y="960"/>
                </a:lnTo>
                <a:lnTo>
                  <a:pt x="5880" y="960"/>
                </a:lnTo>
                <a:lnTo>
                  <a:pt x="5885" y="962"/>
                </a:lnTo>
                <a:lnTo>
                  <a:pt x="5888" y="964"/>
                </a:lnTo>
                <a:lnTo>
                  <a:pt x="5891" y="966"/>
                </a:lnTo>
                <a:lnTo>
                  <a:pt x="5892" y="969"/>
                </a:lnTo>
                <a:lnTo>
                  <a:pt x="5893" y="973"/>
                </a:lnTo>
                <a:lnTo>
                  <a:pt x="5892" y="977"/>
                </a:lnTo>
                <a:lnTo>
                  <a:pt x="5889" y="987"/>
                </a:lnTo>
                <a:lnTo>
                  <a:pt x="5886" y="995"/>
                </a:lnTo>
                <a:lnTo>
                  <a:pt x="5886" y="997"/>
                </a:lnTo>
                <a:lnTo>
                  <a:pt x="5887" y="999"/>
                </a:lnTo>
                <a:lnTo>
                  <a:pt x="5890" y="999"/>
                </a:lnTo>
                <a:lnTo>
                  <a:pt x="5893" y="997"/>
                </a:lnTo>
                <a:lnTo>
                  <a:pt x="5902" y="993"/>
                </a:lnTo>
                <a:lnTo>
                  <a:pt x="5912" y="991"/>
                </a:lnTo>
                <a:lnTo>
                  <a:pt x="5915" y="990"/>
                </a:lnTo>
                <a:lnTo>
                  <a:pt x="5918" y="988"/>
                </a:lnTo>
                <a:lnTo>
                  <a:pt x="5920" y="984"/>
                </a:lnTo>
                <a:lnTo>
                  <a:pt x="5922" y="978"/>
                </a:lnTo>
                <a:lnTo>
                  <a:pt x="5921" y="972"/>
                </a:lnTo>
                <a:lnTo>
                  <a:pt x="5920" y="966"/>
                </a:lnTo>
                <a:lnTo>
                  <a:pt x="5918" y="960"/>
                </a:lnTo>
                <a:lnTo>
                  <a:pt x="5916" y="955"/>
                </a:lnTo>
                <a:lnTo>
                  <a:pt x="5916" y="953"/>
                </a:lnTo>
                <a:lnTo>
                  <a:pt x="5916" y="951"/>
                </a:lnTo>
                <a:lnTo>
                  <a:pt x="5916" y="950"/>
                </a:lnTo>
                <a:lnTo>
                  <a:pt x="5917" y="948"/>
                </a:lnTo>
                <a:lnTo>
                  <a:pt x="5922" y="946"/>
                </a:lnTo>
                <a:lnTo>
                  <a:pt x="5930" y="946"/>
                </a:lnTo>
                <a:lnTo>
                  <a:pt x="5953" y="948"/>
                </a:lnTo>
                <a:lnTo>
                  <a:pt x="5974" y="950"/>
                </a:lnTo>
                <a:lnTo>
                  <a:pt x="5983" y="950"/>
                </a:lnTo>
                <a:lnTo>
                  <a:pt x="5989" y="949"/>
                </a:lnTo>
                <a:lnTo>
                  <a:pt x="5991" y="947"/>
                </a:lnTo>
                <a:lnTo>
                  <a:pt x="5992" y="945"/>
                </a:lnTo>
                <a:lnTo>
                  <a:pt x="5994" y="942"/>
                </a:lnTo>
                <a:lnTo>
                  <a:pt x="5992" y="938"/>
                </a:lnTo>
                <a:lnTo>
                  <a:pt x="5986" y="922"/>
                </a:lnTo>
                <a:lnTo>
                  <a:pt x="5980" y="905"/>
                </a:lnTo>
                <a:lnTo>
                  <a:pt x="5977" y="897"/>
                </a:lnTo>
                <a:lnTo>
                  <a:pt x="5976" y="890"/>
                </a:lnTo>
                <a:lnTo>
                  <a:pt x="5975" y="887"/>
                </a:lnTo>
                <a:lnTo>
                  <a:pt x="5976" y="884"/>
                </a:lnTo>
                <a:lnTo>
                  <a:pt x="5976" y="881"/>
                </a:lnTo>
                <a:lnTo>
                  <a:pt x="5977" y="879"/>
                </a:lnTo>
                <a:lnTo>
                  <a:pt x="5986" y="870"/>
                </a:lnTo>
                <a:lnTo>
                  <a:pt x="5998" y="862"/>
                </a:lnTo>
                <a:lnTo>
                  <a:pt x="6009" y="854"/>
                </a:lnTo>
                <a:lnTo>
                  <a:pt x="6021" y="848"/>
                </a:lnTo>
                <a:lnTo>
                  <a:pt x="6027" y="846"/>
                </a:lnTo>
                <a:lnTo>
                  <a:pt x="6035" y="845"/>
                </a:lnTo>
                <a:lnTo>
                  <a:pt x="6047" y="844"/>
                </a:lnTo>
                <a:lnTo>
                  <a:pt x="6058" y="844"/>
                </a:lnTo>
                <a:lnTo>
                  <a:pt x="6080" y="845"/>
                </a:lnTo>
                <a:lnTo>
                  <a:pt x="6092" y="847"/>
                </a:lnTo>
                <a:lnTo>
                  <a:pt x="6094" y="849"/>
                </a:lnTo>
                <a:lnTo>
                  <a:pt x="6095" y="853"/>
                </a:lnTo>
                <a:lnTo>
                  <a:pt x="6095" y="857"/>
                </a:lnTo>
                <a:lnTo>
                  <a:pt x="6095" y="862"/>
                </a:lnTo>
                <a:lnTo>
                  <a:pt x="6094" y="866"/>
                </a:lnTo>
                <a:lnTo>
                  <a:pt x="6092" y="871"/>
                </a:lnTo>
                <a:lnTo>
                  <a:pt x="6091" y="876"/>
                </a:lnTo>
                <a:lnTo>
                  <a:pt x="6088" y="878"/>
                </a:lnTo>
                <a:lnTo>
                  <a:pt x="6086" y="880"/>
                </a:lnTo>
                <a:lnTo>
                  <a:pt x="6085" y="882"/>
                </a:lnTo>
                <a:lnTo>
                  <a:pt x="6085" y="885"/>
                </a:lnTo>
                <a:lnTo>
                  <a:pt x="6086" y="887"/>
                </a:lnTo>
                <a:lnTo>
                  <a:pt x="6091" y="893"/>
                </a:lnTo>
                <a:lnTo>
                  <a:pt x="6099" y="901"/>
                </a:lnTo>
                <a:lnTo>
                  <a:pt x="6105" y="904"/>
                </a:lnTo>
                <a:lnTo>
                  <a:pt x="6110" y="905"/>
                </a:lnTo>
                <a:lnTo>
                  <a:pt x="6114" y="906"/>
                </a:lnTo>
                <a:lnTo>
                  <a:pt x="6117" y="907"/>
                </a:lnTo>
                <a:lnTo>
                  <a:pt x="6120" y="908"/>
                </a:lnTo>
                <a:lnTo>
                  <a:pt x="6122" y="909"/>
                </a:lnTo>
                <a:lnTo>
                  <a:pt x="6123" y="913"/>
                </a:lnTo>
                <a:lnTo>
                  <a:pt x="6122" y="919"/>
                </a:lnTo>
                <a:lnTo>
                  <a:pt x="6120" y="931"/>
                </a:lnTo>
                <a:lnTo>
                  <a:pt x="6118" y="941"/>
                </a:lnTo>
                <a:lnTo>
                  <a:pt x="6117" y="944"/>
                </a:lnTo>
                <a:lnTo>
                  <a:pt x="6118" y="947"/>
                </a:lnTo>
                <a:lnTo>
                  <a:pt x="6119" y="949"/>
                </a:lnTo>
                <a:lnTo>
                  <a:pt x="6121" y="950"/>
                </a:lnTo>
                <a:lnTo>
                  <a:pt x="6126" y="950"/>
                </a:lnTo>
                <a:lnTo>
                  <a:pt x="6129" y="948"/>
                </a:lnTo>
                <a:lnTo>
                  <a:pt x="6132" y="946"/>
                </a:lnTo>
                <a:lnTo>
                  <a:pt x="6135" y="942"/>
                </a:lnTo>
                <a:lnTo>
                  <a:pt x="6141" y="934"/>
                </a:lnTo>
                <a:lnTo>
                  <a:pt x="6150" y="929"/>
                </a:lnTo>
                <a:lnTo>
                  <a:pt x="6155" y="928"/>
                </a:lnTo>
                <a:lnTo>
                  <a:pt x="6160" y="927"/>
                </a:lnTo>
                <a:lnTo>
                  <a:pt x="6167" y="926"/>
                </a:lnTo>
                <a:lnTo>
                  <a:pt x="6174" y="927"/>
                </a:lnTo>
                <a:lnTo>
                  <a:pt x="6181" y="927"/>
                </a:lnTo>
                <a:lnTo>
                  <a:pt x="6187" y="928"/>
                </a:lnTo>
                <a:lnTo>
                  <a:pt x="6194" y="930"/>
                </a:lnTo>
                <a:lnTo>
                  <a:pt x="6198" y="932"/>
                </a:lnTo>
                <a:lnTo>
                  <a:pt x="6204" y="934"/>
                </a:lnTo>
                <a:lnTo>
                  <a:pt x="6209" y="934"/>
                </a:lnTo>
                <a:lnTo>
                  <a:pt x="6211" y="935"/>
                </a:lnTo>
                <a:lnTo>
                  <a:pt x="6216" y="937"/>
                </a:lnTo>
                <a:lnTo>
                  <a:pt x="6219" y="943"/>
                </a:lnTo>
                <a:lnTo>
                  <a:pt x="6224" y="950"/>
                </a:lnTo>
                <a:lnTo>
                  <a:pt x="6229" y="957"/>
                </a:lnTo>
                <a:lnTo>
                  <a:pt x="6235" y="962"/>
                </a:lnTo>
                <a:lnTo>
                  <a:pt x="6238" y="965"/>
                </a:lnTo>
                <a:lnTo>
                  <a:pt x="6242" y="967"/>
                </a:lnTo>
                <a:lnTo>
                  <a:pt x="6244" y="969"/>
                </a:lnTo>
                <a:lnTo>
                  <a:pt x="6247" y="970"/>
                </a:lnTo>
                <a:lnTo>
                  <a:pt x="6249" y="973"/>
                </a:lnTo>
                <a:lnTo>
                  <a:pt x="6252" y="977"/>
                </a:lnTo>
                <a:lnTo>
                  <a:pt x="6257" y="988"/>
                </a:lnTo>
                <a:lnTo>
                  <a:pt x="6259" y="999"/>
                </a:lnTo>
                <a:lnTo>
                  <a:pt x="6260" y="1009"/>
                </a:lnTo>
                <a:lnTo>
                  <a:pt x="6259" y="1016"/>
                </a:lnTo>
                <a:lnTo>
                  <a:pt x="6259" y="1024"/>
                </a:lnTo>
                <a:lnTo>
                  <a:pt x="6260" y="1034"/>
                </a:lnTo>
                <a:lnTo>
                  <a:pt x="6261" y="1039"/>
                </a:lnTo>
                <a:lnTo>
                  <a:pt x="6261" y="1045"/>
                </a:lnTo>
                <a:lnTo>
                  <a:pt x="6260" y="1051"/>
                </a:lnTo>
                <a:lnTo>
                  <a:pt x="6259" y="1057"/>
                </a:lnTo>
                <a:lnTo>
                  <a:pt x="6254" y="1068"/>
                </a:lnTo>
                <a:lnTo>
                  <a:pt x="6249" y="1078"/>
                </a:lnTo>
                <a:lnTo>
                  <a:pt x="6247" y="1082"/>
                </a:lnTo>
                <a:lnTo>
                  <a:pt x="6243" y="1085"/>
                </a:lnTo>
                <a:lnTo>
                  <a:pt x="6239" y="1088"/>
                </a:lnTo>
                <a:lnTo>
                  <a:pt x="6233" y="1092"/>
                </a:lnTo>
                <a:lnTo>
                  <a:pt x="6219" y="1102"/>
                </a:lnTo>
                <a:lnTo>
                  <a:pt x="6205" y="1112"/>
                </a:lnTo>
                <a:lnTo>
                  <a:pt x="6201" y="1116"/>
                </a:lnTo>
                <a:lnTo>
                  <a:pt x="6199" y="1117"/>
                </a:lnTo>
                <a:lnTo>
                  <a:pt x="6198" y="1116"/>
                </a:lnTo>
                <a:lnTo>
                  <a:pt x="6198" y="1114"/>
                </a:lnTo>
                <a:lnTo>
                  <a:pt x="6196" y="1116"/>
                </a:lnTo>
                <a:lnTo>
                  <a:pt x="6188" y="1124"/>
                </a:lnTo>
                <a:lnTo>
                  <a:pt x="6182" y="1133"/>
                </a:lnTo>
                <a:lnTo>
                  <a:pt x="6181" y="1135"/>
                </a:lnTo>
                <a:lnTo>
                  <a:pt x="6177" y="1141"/>
                </a:lnTo>
                <a:lnTo>
                  <a:pt x="6162" y="1155"/>
                </a:lnTo>
                <a:lnTo>
                  <a:pt x="6144" y="1174"/>
                </a:lnTo>
                <a:lnTo>
                  <a:pt x="6134" y="1186"/>
                </a:lnTo>
                <a:lnTo>
                  <a:pt x="6128" y="1193"/>
                </a:lnTo>
                <a:lnTo>
                  <a:pt x="6122" y="1200"/>
                </a:lnTo>
                <a:lnTo>
                  <a:pt x="6117" y="1209"/>
                </a:lnTo>
                <a:lnTo>
                  <a:pt x="6111" y="1216"/>
                </a:lnTo>
                <a:lnTo>
                  <a:pt x="6105" y="1225"/>
                </a:lnTo>
                <a:lnTo>
                  <a:pt x="6095" y="1238"/>
                </a:lnTo>
                <a:lnTo>
                  <a:pt x="6090" y="1245"/>
                </a:lnTo>
                <a:lnTo>
                  <a:pt x="6087" y="1252"/>
                </a:lnTo>
                <a:lnTo>
                  <a:pt x="6085" y="1258"/>
                </a:lnTo>
                <a:lnTo>
                  <a:pt x="6083" y="1262"/>
                </a:lnTo>
                <a:lnTo>
                  <a:pt x="6083" y="1265"/>
                </a:lnTo>
                <a:lnTo>
                  <a:pt x="6084" y="1267"/>
                </a:lnTo>
                <a:lnTo>
                  <a:pt x="6085" y="1267"/>
                </a:lnTo>
                <a:lnTo>
                  <a:pt x="6088" y="1265"/>
                </a:lnTo>
                <a:lnTo>
                  <a:pt x="6104" y="1254"/>
                </a:lnTo>
                <a:lnTo>
                  <a:pt x="6129" y="1236"/>
                </a:lnTo>
                <a:lnTo>
                  <a:pt x="6153" y="1219"/>
                </a:lnTo>
                <a:lnTo>
                  <a:pt x="6163" y="1212"/>
                </a:lnTo>
                <a:lnTo>
                  <a:pt x="6165" y="1211"/>
                </a:lnTo>
                <a:lnTo>
                  <a:pt x="6172" y="1208"/>
                </a:lnTo>
                <a:lnTo>
                  <a:pt x="6175" y="1205"/>
                </a:lnTo>
                <a:lnTo>
                  <a:pt x="6178" y="1201"/>
                </a:lnTo>
                <a:lnTo>
                  <a:pt x="6180" y="1195"/>
                </a:lnTo>
                <a:lnTo>
                  <a:pt x="6181" y="1189"/>
                </a:lnTo>
                <a:lnTo>
                  <a:pt x="6182" y="1182"/>
                </a:lnTo>
                <a:lnTo>
                  <a:pt x="6185" y="1174"/>
                </a:lnTo>
                <a:lnTo>
                  <a:pt x="6188" y="1167"/>
                </a:lnTo>
                <a:lnTo>
                  <a:pt x="6193" y="1162"/>
                </a:lnTo>
                <a:lnTo>
                  <a:pt x="6200" y="1153"/>
                </a:lnTo>
                <a:lnTo>
                  <a:pt x="6203" y="1150"/>
                </a:lnTo>
                <a:lnTo>
                  <a:pt x="6202" y="1154"/>
                </a:lnTo>
                <a:lnTo>
                  <a:pt x="6201" y="1165"/>
                </a:lnTo>
                <a:lnTo>
                  <a:pt x="6200" y="1171"/>
                </a:lnTo>
                <a:lnTo>
                  <a:pt x="6200" y="1176"/>
                </a:lnTo>
                <a:lnTo>
                  <a:pt x="6201" y="1180"/>
                </a:lnTo>
                <a:lnTo>
                  <a:pt x="6203" y="1183"/>
                </a:lnTo>
                <a:lnTo>
                  <a:pt x="6214" y="1185"/>
                </a:lnTo>
                <a:lnTo>
                  <a:pt x="6220" y="1186"/>
                </a:lnTo>
                <a:lnTo>
                  <a:pt x="6221" y="1182"/>
                </a:lnTo>
                <a:lnTo>
                  <a:pt x="6224" y="1173"/>
                </a:lnTo>
                <a:lnTo>
                  <a:pt x="6225" y="1163"/>
                </a:lnTo>
                <a:lnTo>
                  <a:pt x="6224" y="1155"/>
                </a:lnTo>
                <a:lnTo>
                  <a:pt x="6224" y="1152"/>
                </a:lnTo>
                <a:lnTo>
                  <a:pt x="6225" y="1148"/>
                </a:lnTo>
                <a:lnTo>
                  <a:pt x="6226" y="1142"/>
                </a:lnTo>
                <a:lnTo>
                  <a:pt x="6229" y="1136"/>
                </a:lnTo>
                <a:lnTo>
                  <a:pt x="6232" y="1132"/>
                </a:lnTo>
                <a:lnTo>
                  <a:pt x="6237" y="1129"/>
                </a:lnTo>
                <a:lnTo>
                  <a:pt x="6239" y="1128"/>
                </a:lnTo>
                <a:lnTo>
                  <a:pt x="6242" y="1128"/>
                </a:lnTo>
                <a:lnTo>
                  <a:pt x="6244" y="1129"/>
                </a:lnTo>
                <a:lnTo>
                  <a:pt x="6246" y="1131"/>
                </a:lnTo>
                <a:lnTo>
                  <a:pt x="6255" y="1139"/>
                </a:lnTo>
                <a:lnTo>
                  <a:pt x="6263" y="1143"/>
                </a:lnTo>
                <a:lnTo>
                  <a:pt x="6265" y="1146"/>
                </a:lnTo>
                <a:lnTo>
                  <a:pt x="6266" y="1148"/>
                </a:lnTo>
                <a:lnTo>
                  <a:pt x="6265" y="1152"/>
                </a:lnTo>
                <a:lnTo>
                  <a:pt x="6263" y="1157"/>
                </a:lnTo>
                <a:lnTo>
                  <a:pt x="6261" y="1161"/>
                </a:lnTo>
                <a:lnTo>
                  <a:pt x="6260" y="1164"/>
                </a:lnTo>
                <a:lnTo>
                  <a:pt x="6259" y="1167"/>
                </a:lnTo>
                <a:lnTo>
                  <a:pt x="6259" y="1170"/>
                </a:lnTo>
                <a:lnTo>
                  <a:pt x="6261" y="1175"/>
                </a:lnTo>
                <a:lnTo>
                  <a:pt x="6263" y="1179"/>
                </a:lnTo>
                <a:lnTo>
                  <a:pt x="6268" y="1186"/>
                </a:lnTo>
                <a:lnTo>
                  <a:pt x="6271" y="1189"/>
                </a:lnTo>
                <a:lnTo>
                  <a:pt x="6272" y="1188"/>
                </a:lnTo>
                <a:lnTo>
                  <a:pt x="6276" y="1188"/>
                </a:lnTo>
                <a:lnTo>
                  <a:pt x="6282" y="1188"/>
                </a:lnTo>
                <a:lnTo>
                  <a:pt x="6291" y="1191"/>
                </a:lnTo>
                <a:lnTo>
                  <a:pt x="6301" y="1194"/>
                </a:lnTo>
                <a:lnTo>
                  <a:pt x="6309" y="1196"/>
                </a:lnTo>
                <a:lnTo>
                  <a:pt x="6317" y="1197"/>
                </a:lnTo>
                <a:lnTo>
                  <a:pt x="6327" y="1198"/>
                </a:lnTo>
                <a:lnTo>
                  <a:pt x="6338" y="1198"/>
                </a:lnTo>
                <a:lnTo>
                  <a:pt x="6347" y="1199"/>
                </a:lnTo>
                <a:lnTo>
                  <a:pt x="6351" y="1200"/>
                </a:lnTo>
                <a:lnTo>
                  <a:pt x="6354" y="1203"/>
                </a:lnTo>
                <a:lnTo>
                  <a:pt x="6357" y="1205"/>
                </a:lnTo>
                <a:lnTo>
                  <a:pt x="6360" y="1207"/>
                </a:lnTo>
                <a:lnTo>
                  <a:pt x="6372" y="1217"/>
                </a:lnTo>
                <a:lnTo>
                  <a:pt x="6380" y="1225"/>
                </a:lnTo>
                <a:lnTo>
                  <a:pt x="6383" y="1227"/>
                </a:lnTo>
                <a:lnTo>
                  <a:pt x="6392" y="1230"/>
                </a:lnTo>
                <a:lnTo>
                  <a:pt x="6402" y="1232"/>
                </a:lnTo>
                <a:lnTo>
                  <a:pt x="6415" y="1235"/>
                </a:lnTo>
                <a:lnTo>
                  <a:pt x="6438" y="1239"/>
                </a:lnTo>
                <a:lnTo>
                  <a:pt x="6448" y="1241"/>
                </a:lnTo>
                <a:lnTo>
                  <a:pt x="6455" y="1241"/>
                </a:lnTo>
                <a:lnTo>
                  <a:pt x="6467" y="1241"/>
                </a:lnTo>
                <a:lnTo>
                  <a:pt x="6474" y="1240"/>
                </a:lnTo>
                <a:lnTo>
                  <a:pt x="6479" y="1238"/>
                </a:lnTo>
                <a:lnTo>
                  <a:pt x="6480" y="1237"/>
                </a:lnTo>
                <a:lnTo>
                  <a:pt x="6481" y="1235"/>
                </a:lnTo>
                <a:lnTo>
                  <a:pt x="6481" y="1233"/>
                </a:lnTo>
                <a:lnTo>
                  <a:pt x="6479" y="1230"/>
                </a:lnTo>
                <a:lnTo>
                  <a:pt x="6474" y="1223"/>
                </a:lnTo>
                <a:lnTo>
                  <a:pt x="6471" y="1217"/>
                </a:lnTo>
                <a:lnTo>
                  <a:pt x="6468" y="1211"/>
                </a:lnTo>
                <a:lnTo>
                  <a:pt x="6466" y="1205"/>
                </a:lnTo>
                <a:lnTo>
                  <a:pt x="6465" y="1199"/>
                </a:lnTo>
                <a:lnTo>
                  <a:pt x="6466" y="1195"/>
                </a:lnTo>
                <a:lnTo>
                  <a:pt x="6467" y="1194"/>
                </a:lnTo>
                <a:lnTo>
                  <a:pt x="6468" y="1193"/>
                </a:lnTo>
                <a:lnTo>
                  <a:pt x="6469" y="1192"/>
                </a:lnTo>
                <a:lnTo>
                  <a:pt x="6471" y="1192"/>
                </a:lnTo>
                <a:lnTo>
                  <a:pt x="6480" y="1191"/>
                </a:lnTo>
                <a:lnTo>
                  <a:pt x="6486" y="1192"/>
                </a:lnTo>
                <a:lnTo>
                  <a:pt x="6490" y="1192"/>
                </a:lnTo>
                <a:lnTo>
                  <a:pt x="6494" y="1194"/>
                </a:lnTo>
                <a:lnTo>
                  <a:pt x="6499" y="1196"/>
                </a:lnTo>
                <a:lnTo>
                  <a:pt x="6505" y="1200"/>
                </a:lnTo>
                <a:lnTo>
                  <a:pt x="6511" y="1204"/>
                </a:lnTo>
                <a:lnTo>
                  <a:pt x="6517" y="1206"/>
                </a:lnTo>
                <a:lnTo>
                  <a:pt x="6525" y="1208"/>
                </a:lnTo>
                <a:lnTo>
                  <a:pt x="6532" y="1208"/>
                </a:lnTo>
                <a:lnTo>
                  <a:pt x="6547" y="1209"/>
                </a:lnTo>
                <a:lnTo>
                  <a:pt x="6559" y="1209"/>
                </a:lnTo>
                <a:lnTo>
                  <a:pt x="6572" y="1211"/>
                </a:lnTo>
                <a:lnTo>
                  <a:pt x="6583" y="1213"/>
                </a:lnTo>
                <a:lnTo>
                  <a:pt x="6588" y="1216"/>
                </a:lnTo>
                <a:lnTo>
                  <a:pt x="6593" y="1219"/>
                </a:lnTo>
                <a:lnTo>
                  <a:pt x="6596" y="1225"/>
                </a:lnTo>
                <a:lnTo>
                  <a:pt x="6599" y="1232"/>
                </a:lnTo>
                <a:lnTo>
                  <a:pt x="6603" y="1247"/>
                </a:lnTo>
                <a:lnTo>
                  <a:pt x="6605" y="1260"/>
                </a:lnTo>
                <a:lnTo>
                  <a:pt x="6605" y="1266"/>
                </a:lnTo>
                <a:lnTo>
                  <a:pt x="6604" y="1271"/>
                </a:lnTo>
                <a:lnTo>
                  <a:pt x="6603" y="1276"/>
                </a:lnTo>
                <a:lnTo>
                  <a:pt x="6601" y="1279"/>
                </a:lnTo>
                <a:lnTo>
                  <a:pt x="6593" y="1283"/>
                </a:lnTo>
                <a:lnTo>
                  <a:pt x="6586" y="1287"/>
                </a:lnTo>
                <a:lnTo>
                  <a:pt x="6582" y="1291"/>
                </a:lnTo>
                <a:lnTo>
                  <a:pt x="6581" y="1294"/>
                </a:lnTo>
                <a:lnTo>
                  <a:pt x="6582" y="1299"/>
                </a:lnTo>
                <a:lnTo>
                  <a:pt x="6586" y="1305"/>
                </a:lnTo>
                <a:lnTo>
                  <a:pt x="6591" y="1311"/>
                </a:lnTo>
                <a:lnTo>
                  <a:pt x="6595" y="1317"/>
                </a:lnTo>
                <a:lnTo>
                  <a:pt x="6599" y="1320"/>
                </a:lnTo>
                <a:lnTo>
                  <a:pt x="6603" y="1322"/>
                </a:lnTo>
                <a:lnTo>
                  <a:pt x="6606" y="1324"/>
                </a:lnTo>
                <a:lnTo>
                  <a:pt x="6610" y="1327"/>
                </a:lnTo>
                <a:lnTo>
                  <a:pt x="6612" y="1331"/>
                </a:lnTo>
                <a:lnTo>
                  <a:pt x="6613" y="1339"/>
                </a:lnTo>
                <a:lnTo>
                  <a:pt x="6615" y="1346"/>
                </a:lnTo>
                <a:lnTo>
                  <a:pt x="6617" y="1354"/>
                </a:lnTo>
                <a:lnTo>
                  <a:pt x="6620" y="1364"/>
                </a:lnTo>
                <a:lnTo>
                  <a:pt x="6624" y="1371"/>
                </a:lnTo>
                <a:lnTo>
                  <a:pt x="6628" y="1380"/>
                </a:lnTo>
                <a:lnTo>
                  <a:pt x="6633" y="1386"/>
                </a:lnTo>
                <a:lnTo>
                  <a:pt x="6638" y="1392"/>
                </a:lnTo>
                <a:lnTo>
                  <a:pt x="6643" y="1395"/>
                </a:lnTo>
                <a:lnTo>
                  <a:pt x="6647" y="1398"/>
                </a:lnTo>
                <a:lnTo>
                  <a:pt x="6653" y="1399"/>
                </a:lnTo>
                <a:lnTo>
                  <a:pt x="6657" y="1401"/>
                </a:lnTo>
                <a:lnTo>
                  <a:pt x="6660" y="1399"/>
                </a:lnTo>
                <a:lnTo>
                  <a:pt x="6663" y="1396"/>
                </a:lnTo>
                <a:lnTo>
                  <a:pt x="6666" y="1392"/>
                </a:lnTo>
                <a:lnTo>
                  <a:pt x="6667" y="1387"/>
                </a:lnTo>
                <a:lnTo>
                  <a:pt x="6668" y="1380"/>
                </a:lnTo>
                <a:lnTo>
                  <a:pt x="6669" y="1361"/>
                </a:lnTo>
                <a:lnTo>
                  <a:pt x="6670" y="1343"/>
                </a:lnTo>
                <a:lnTo>
                  <a:pt x="6671" y="1335"/>
                </a:lnTo>
                <a:lnTo>
                  <a:pt x="6672" y="1328"/>
                </a:lnTo>
                <a:lnTo>
                  <a:pt x="6674" y="1324"/>
                </a:lnTo>
                <a:lnTo>
                  <a:pt x="6676" y="1323"/>
                </a:lnTo>
                <a:lnTo>
                  <a:pt x="6679" y="1324"/>
                </a:lnTo>
                <a:lnTo>
                  <a:pt x="6682" y="1326"/>
                </a:lnTo>
                <a:lnTo>
                  <a:pt x="6685" y="1329"/>
                </a:lnTo>
                <a:lnTo>
                  <a:pt x="6689" y="1333"/>
                </a:lnTo>
                <a:lnTo>
                  <a:pt x="6696" y="1341"/>
                </a:lnTo>
                <a:lnTo>
                  <a:pt x="6700" y="1347"/>
                </a:lnTo>
                <a:lnTo>
                  <a:pt x="6701" y="1350"/>
                </a:lnTo>
                <a:lnTo>
                  <a:pt x="6702" y="1352"/>
                </a:lnTo>
                <a:lnTo>
                  <a:pt x="6705" y="1354"/>
                </a:lnTo>
                <a:lnTo>
                  <a:pt x="6708" y="1357"/>
                </a:lnTo>
                <a:lnTo>
                  <a:pt x="6712" y="1358"/>
                </a:lnTo>
                <a:lnTo>
                  <a:pt x="6719" y="1358"/>
                </a:lnTo>
                <a:lnTo>
                  <a:pt x="6725" y="1358"/>
                </a:lnTo>
                <a:lnTo>
                  <a:pt x="6732" y="1357"/>
                </a:lnTo>
                <a:lnTo>
                  <a:pt x="6738" y="1354"/>
                </a:lnTo>
                <a:lnTo>
                  <a:pt x="6744" y="1352"/>
                </a:lnTo>
                <a:lnTo>
                  <a:pt x="6747" y="1350"/>
                </a:lnTo>
                <a:lnTo>
                  <a:pt x="6749" y="1348"/>
                </a:lnTo>
                <a:lnTo>
                  <a:pt x="6751" y="1347"/>
                </a:lnTo>
                <a:lnTo>
                  <a:pt x="6754" y="1347"/>
                </a:lnTo>
                <a:lnTo>
                  <a:pt x="6758" y="1348"/>
                </a:lnTo>
                <a:lnTo>
                  <a:pt x="6764" y="1351"/>
                </a:lnTo>
                <a:lnTo>
                  <a:pt x="6775" y="1362"/>
                </a:lnTo>
                <a:lnTo>
                  <a:pt x="6782" y="1370"/>
                </a:lnTo>
                <a:lnTo>
                  <a:pt x="6786" y="1373"/>
                </a:lnTo>
                <a:lnTo>
                  <a:pt x="6789" y="1374"/>
                </a:lnTo>
                <a:lnTo>
                  <a:pt x="6793" y="1375"/>
                </a:lnTo>
                <a:lnTo>
                  <a:pt x="6797" y="1373"/>
                </a:lnTo>
                <a:lnTo>
                  <a:pt x="6806" y="1369"/>
                </a:lnTo>
                <a:lnTo>
                  <a:pt x="6812" y="1365"/>
                </a:lnTo>
                <a:lnTo>
                  <a:pt x="6815" y="1363"/>
                </a:lnTo>
                <a:lnTo>
                  <a:pt x="6818" y="1359"/>
                </a:lnTo>
                <a:lnTo>
                  <a:pt x="6821" y="1353"/>
                </a:lnTo>
                <a:lnTo>
                  <a:pt x="6823" y="1346"/>
                </a:lnTo>
                <a:lnTo>
                  <a:pt x="6824" y="1339"/>
                </a:lnTo>
                <a:lnTo>
                  <a:pt x="6824" y="1330"/>
                </a:lnTo>
                <a:lnTo>
                  <a:pt x="6823" y="1322"/>
                </a:lnTo>
                <a:lnTo>
                  <a:pt x="6821" y="1314"/>
                </a:lnTo>
                <a:lnTo>
                  <a:pt x="6820" y="1305"/>
                </a:lnTo>
                <a:lnTo>
                  <a:pt x="6819" y="1298"/>
                </a:lnTo>
                <a:lnTo>
                  <a:pt x="6819" y="1292"/>
                </a:lnTo>
                <a:lnTo>
                  <a:pt x="6821" y="1286"/>
                </a:lnTo>
                <a:lnTo>
                  <a:pt x="6826" y="1281"/>
                </a:lnTo>
                <a:lnTo>
                  <a:pt x="6834" y="1275"/>
                </a:lnTo>
                <a:lnTo>
                  <a:pt x="6842" y="1270"/>
                </a:lnTo>
                <a:lnTo>
                  <a:pt x="6852" y="1264"/>
                </a:lnTo>
                <a:lnTo>
                  <a:pt x="6869" y="1256"/>
                </a:lnTo>
                <a:lnTo>
                  <a:pt x="6877" y="1252"/>
                </a:lnTo>
                <a:lnTo>
                  <a:pt x="6887" y="1253"/>
                </a:lnTo>
                <a:lnTo>
                  <a:pt x="6909" y="1257"/>
                </a:lnTo>
                <a:lnTo>
                  <a:pt x="6921" y="1260"/>
                </a:lnTo>
                <a:lnTo>
                  <a:pt x="6931" y="1265"/>
                </a:lnTo>
                <a:lnTo>
                  <a:pt x="6935" y="1267"/>
                </a:lnTo>
                <a:lnTo>
                  <a:pt x="6938" y="1271"/>
                </a:lnTo>
                <a:lnTo>
                  <a:pt x="6940" y="1275"/>
                </a:lnTo>
                <a:lnTo>
                  <a:pt x="6940" y="1278"/>
                </a:lnTo>
                <a:lnTo>
                  <a:pt x="6939" y="1285"/>
                </a:lnTo>
                <a:lnTo>
                  <a:pt x="6937" y="1289"/>
                </a:lnTo>
                <a:lnTo>
                  <a:pt x="6933" y="1293"/>
                </a:lnTo>
                <a:lnTo>
                  <a:pt x="6931" y="1296"/>
                </a:lnTo>
                <a:lnTo>
                  <a:pt x="6929" y="1298"/>
                </a:lnTo>
                <a:lnTo>
                  <a:pt x="6928" y="1301"/>
                </a:lnTo>
                <a:lnTo>
                  <a:pt x="6929" y="1304"/>
                </a:lnTo>
                <a:lnTo>
                  <a:pt x="6932" y="1309"/>
                </a:lnTo>
                <a:lnTo>
                  <a:pt x="6940" y="1320"/>
                </a:lnTo>
                <a:lnTo>
                  <a:pt x="6945" y="1327"/>
                </a:lnTo>
                <a:lnTo>
                  <a:pt x="6946" y="1332"/>
                </a:lnTo>
                <a:lnTo>
                  <a:pt x="6947" y="1337"/>
                </a:lnTo>
                <a:lnTo>
                  <a:pt x="6947" y="1339"/>
                </a:lnTo>
                <a:lnTo>
                  <a:pt x="6948" y="1341"/>
                </a:lnTo>
                <a:lnTo>
                  <a:pt x="6950" y="1344"/>
                </a:lnTo>
                <a:lnTo>
                  <a:pt x="6952" y="1346"/>
                </a:lnTo>
                <a:lnTo>
                  <a:pt x="6956" y="1346"/>
                </a:lnTo>
                <a:lnTo>
                  <a:pt x="6961" y="1346"/>
                </a:lnTo>
                <a:lnTo>
                  <a:pt x="6965" y="1343"/>
                </a:lnTo>
                <a:lnTo>
                  <a:pt x="6971" y="1337"/>
                </a:lnTo>
                <a:lnTo>
                  <a:pt x="6982" y="1321"/>
                </a:lnTo>
                <a:lnTo>
                  <a:pt x="6993" y="1303"/>
                </a:lnTo>
                <a:lnTo>
                  <a:pt x="6998" y="1296"/>
                </a:lnTo>
                <a:lnTo>
                  <a:pt x="7004" y="1291"/>
                </a:lnTo>
                <a:lnTo>
                  <a:pt x="7007" y="1289"/>
                </a:lnTo>
                <a:lnTo>
                  <a:pt x="7009" y="1288"/>
                </a:lnTo>
                <a:lnTo>
                  <a:pt x="7012" y="1288"/>
                </a:lnTo>
                <a:lnTo>
                  <a:pt x="7015" y="1289"/>
                </a:lnTo>
                <a:lnTo>
                  <a:pt x="7031" y="1299"/>
                </a:lnTo>
                <a:lnTo>
                  <a:pt x="7049" y="1310"/>
                </a:lnTo>
                <a:lnTo>
                  <a:pt x="7056" y="1317"/>
                </a:lnTo>
                <a:lnTo>
                  <a:pt x="7062" y="1323"/>
                </a:lnTo>
                <a:lnTo>
                  <a:pt x="7065" y="1326"/>
                </a:lnTo>
                <a:lnTo>
                  <a:pt x="7066" y="1329"/>
                </a:lnTo>
                <a:lnTo>
                  <a:pt x="7067" y="1331"/>
                </a:lnTo>
                <a:lnTo>
                  <a:pt x="7067" y="1335"/>
                </a:lnTo>
                <a:lnTo>
                  <a:pt x="7067" y="1337"/>
                </a:lnTo>
                <a:lnTo>
                  <a:pt x="7067" y="1339"/>
                </a:lnTo>
                <a:lnTo>
                  <a:pt x="7070" y="1341"/>
                </a:lnTo>
                <a:lnTo>
                  <a:pt x="7072" y="1344"/>
                </a:lnTo>
                <a:lnTo>
                  <a:pt x="7077" y="1349"/>
                </a:lnTo>
                <a:lnTo>
                  <a:pt x="7084" y="1354"/>
                </a:lnTo>
                <a:lnTo>
                  <a:pt x="7100" y="1365"/>
                </a:lnTo>
                <a:lnTo>
                  <a:pt x="7110" y="1374"/>
                </a:lnTo>
                <a:lnTo>
                  <a:pt x="7116" y="1383"/>
                </a:lnTo>
                <a:lnTo>
                  <a:pt x="7119" y="1392"/>
                </a:lnTo>
                <a:lnTo>
                  <a:pt x="7121" y="1396"/>
                </a:lnTo>
                <a:lnTo>
                  <a:pt x="7123" y="1399"/>
                </a:lnTo>
                <a:lnTo>
                  <a:pt x="7126" y="1401"/>
                </a:lnTo>
                <a:lnTo>
                  <a:pt x="7129" y="1401"/>
                </a:lnTo>
                <a:lnTo>
                  <a:pt x="7139" y="1398"/>
                </a:lnTo>
                <a:lnTo>
                  <a:pt x="7151" y="1393"/>
                </a:lnTo>
                <a:lnTo>
                  <a:pt x="7163" y="1389"/>
                </a:lnTo>
                <a:lnTo>
                  <a:pt x="7169" y="1386"/>
                </a:lnTo>
                <a:lnTo>
                  <a:pt x="7184" y="1388"/>
                </a:lnTo>
                <a:lnTo>
                  <a:pt x="7211" y="1394"/>
                </a:lnTo>
                <a:lnTo>
                  <a:pt x="7225" y="1398"/>
                </a:lnTo>
                <a:lnTo>
                  <a:pt x="7237" y="1403"/>
                </a:lnTo>
                <a:lnTo>
                  <a:pt x="7247" y="1406"/>
                </a:lnTo>
                <a:lnTo>
                  <a:pt x="7251" y="1408"/>
                </a:lnTo>
                <a:lnTo>
                  <a:pt x="7259" y="1409"/>
                </a:lnTo>
                <a:lnTo>
                  <a:pt x="7273" y="1409"/>
                </a:lnTo>
                <a:lnTo>
                  <a:pt x="7279" y="1409"/>
                </a:lnTo>
                <a:lnTo>
                  <a:pt x="7285" y="1411"/>
                </a:lnTo>
                <a:lnTo>
                  <a:pt x="7288" y="1413"/>
                </a:lnTo>
                <a:lnTo>
                  <a:pt x="7290" y="1416"/>
                </a:lnTo>
                <a:lnTo>
                  <a:pt x="7291" y="1419"/>
                </a:lnTo>
                <a:lnTo>
                  <a:pt x="7291" y="1424"/>
                </a:lnTo>
                <a:lnTo>
                  <a:pt x="7291" y="1432"/>
                </a:lnTo>
                <a:lnTo>
                  <a:pt x="7290" y="1439"/>
                </a:lnTo>
                <a:lnTo>
                  <a:pt x="7288" y="1446"/>
                </a:lnTo>
                <a:lnTo>
                  <a:pt x="7285" y="1451"/>
                </a:lnTo>
                <a:lnTo>
                  <a:pt x="7282" y="1459"/>
                </a:lnTo>
                <a:lnTo>
                  <a:pt x="7281" y="1467"/>
                </a:lnTo>
                <a:lnTo>
                  <a:pt x="7292" y="1481"/>
                </a:lnTo>
                <a:lnTo>
                  <a:pt x="7302" y="1495"/>
                </a:lnTo>
                <a:lnTo>
                  <a:pt x="7301" y="1505"/>
                </a:lnTo>
                <a:lnTo>
                  <a:pt x="7299" y="1518"/>
                </a:lnTo>
                <a:lnTo>
                  <a:pt x="7297" y="1528"/>
                </a:lnTo>
                <a:lnTo>
                  <a:pt x="7296" y="1533"/>
                </a:lnTo>
                <a:lnTo>
                  <a:pt x="7299" y="1530"/>
                </a:lnTo>
                <a:lnTo>
                  <a:pt x="7306" y="1525"/>
                </a:lnTo>
                <a:lnTo>
                  <a:pt x="7311" y="1521"/>
                </a:lnTo>
                <a:lnTo>
                  <a:pt x="7315" y="1516"/>
                </a:lnTo>
                <a:lnTo>
                  <a:pt x="7318" y="1508"/>
                </a:lnTo>
                <a:lnTo>
                  <a:pt x="7320" y="1500"/>
                </a:lnTo>
                <a:lnTo>
                  <a:pt x="7321" y="1492"/>
                </a:lnTo>
                <a:lnTo>
                  <a:pt x="7324" y="1484"/>
                </a:lnTo>
                <a:lnTo>
                  <a:pt x="7327" y="1479"/>
                </a:lnTo>
                <a:lnTo>
                  <a:pt x="7330" y="1474"/>
                </a:lnTo>
                <a:lnTo>
                  <a:pt x="7335" y="1471"/>
                </a:lnTo>
                <a:lnTo>
                  <a:pt x="7339" y="1468"/>
                </a:lnTo>
                <a:lnTo>
                  <a:pt x="7342" y="1467"/>
                </a:lnTo>
                <a:lnTo>
                  <a:pt x="7344" y="1465"/>
                </a:lnTo>
                <a:lnTo>
                  <a:pt x="7349" y="1463"/>
                </a:lnTo>
                <a:lnTo>
                  <a:pt x="7359" y="1462"/>
                </a:lnTo>
                <a:lnTo>
                  <a:pt x="7365" y="1462"/>
                </a:lnTo>
                <a:lnTo>
                  <a:pt x="7373" y="1463"/>
                </a:lnTo>
                <a:lnTo>
                  <a:pt x="7383" y="1467"/>
                </a:lnTo>
                <a:lnTo>
                  <a:pt x="7395" y="1472"/>
                </a:lnTo>
                <a:lnTo>
                  <a:pt x="7403" y="1474"/>
                </a:lnTo>
                <a:lnTo>
                  <a:pt x="7408" y="1476"/>
                </a:lnTo>
                <a:lnTo>
                  <a:pt x="7414" y="1476"/>
                </a:lnTo>
                <a:lnTo>
                  <a:pt x="7418" y="1476"/>
                </a:lnTo>
                <a:lnTo>
                  <a:pt x="7428" y="1473"/>
                </a:lnTo>
                <a:lnTo>
                  <a:pt x="7435" y="1469"/>
                </a:lnTo>
                <a:lnTo>
                  <a:pt x="7442" y="1465"/>
                </a:lnTo>
                <a:lnTo>
                  <a:pt x="7447" y="1462"/>
                </a:lnTo>
                <a:lnTo>
                  <a:pt x="7449" y="1461"/>
                </a:lnTo>
                <a:lnTo>
                  <a:pt x="7451" y="1462"/>
                </a:lnTo>
                <a:lnTo>
                  <a:pt x="7453" y="1463"/>
                </a:lnTo>
                <a:lnTo>
                  <a:pt x="7455" y="1465"/>
                </a:lnTo>
                <a:lnTo>
                  <a:pt x="7464" y="1476"/>
                </a:lnTo>
                <a:lnTo>
                  <a:pt x="7471" y="1486"/>
                </a:lnTo>
                <a:lnTo>
                  <a:pt x="7476" y="1496"/>
                </a:lnTo>
                <a:lnTo>
                  <a:pt x="7479" y="1505"/>
                </a:lnTo>
                <a:lnTo>
                  <a:pt x="7482" y="1511"/>
                </a:lnTo>
                <a:lnTo>
                  <a:pt x="7487" y="1516"/>
                </a:lnTo>
                <a:lnTo>
                  <a:pt x="7493" y="1520"/>
                </a:lnTo>
                <a:lnTo>
                  <a:pt x="7499" y="1523"/>
                </a:lnTo>
                <a:lnTo>
                  <a:pt x="7505" y="1524"/>
                </a:lnTo>
                <a:lnTo>
                  <a:pt x="7512" y="1525"/>
                </a:lnTo>
                <a:lnTo>
                  <a:pt x="7514" y="1524"/>
                </a:lnTo>
                <a:lnTo>
                  <a:pt x="7516" y="1522"/>
                </a:lnTo>
                <a:lnTo>
                  <a:pt x="7518" y="1521"/>
                </a:lnTo>
                <a:lnTo>
                  <a:pt x="7519" y="1518"/>
                </a:lnTo>
                <a:lnTo>
                  <a:pt x="7522" y="1507"/>
                </a:lnTo>
                <a:lnTo>
                  <a:pt x="7524" y="1500"/>
                </a:lnTo>
                <a:lnTo>
                  <a:pt x="7524" y="1497"/>
                </a:lnTo>
                <a:lnTo>
                  <a:pt x="7523" y="1494"/>
                </a:lnTo>
                <a:lnTo>
                  <a:pt x="7520" y="1490"/>
                </a:lnTo>
                <a:lnTo>
                  <a:pt x="7515" y="1484"/>
                </a:lnTo>
                <a:lnTo>
                  <a:pt x="7510" y="1478"/>
                </a:lnTo>
                <a:lnTo>
                  <a:pt x="7505" y="1473"/>
                </a:lnTo>
                <a:lnTo>
                  <a:pt x="7504" y="1468"/>
                </a:lnTo>
                <a:lnTo>
                  <a:pt x="7504" y="1463"/>
                </a:lnTo>
                <a:lnTo>
                  <a:pt x="7505" y="1460"/>
                </a:lnTo>
                <a:lnTo>
                  <a:pt x="7506" y="1457"/>
                </a:lnTo>
                <a:lnTo>
                  <a:pt x="7510" y="1455"/>
                </a:lnTo>
                <a:lnTo>
                  <a:pt x="7512" y="1454"/>
                </a:lnTo>
                <a:lnTo>
                  <a:pt x="7518" y="1452"/>
                </a:lnTo>
                <a:lnTo>
                  <a:pt x="7530" y="1447"/>
                </a:lnTo>
                <a:lnTo>
                  <a:pt x="7536" y="1446"/>
                </a:lnTo>
                <a:lnTo>
                  <a:pt x="7543" y="1445"/>
                </a:lnTo>
                <a:lnTo>
                  <a:pt x="7550" y="1446"/>
                </a:lnTo>
                <a:lnTo>
                  <a:pt x="7558" y="1448"/>
                </a:lnTo>
                <a:lnTo>
                  <a:pt x="7566" y="1452"/>
                </a:lnTo>
                <a:lnTo>
                  <a:pt x="7576" y="1455"/>
                </a:lnTo>
                <a:lnTo>
                  <a:pt x="7587" y="1457"/>
                </a:lnTo>
                <a:lnTo>
                  <a:pt x="7598" y="1459"/>
                </a:lnTo>
                <a:lnTo>
                  <a:pt x="7619" y="1462"/>
                </a:lnTo>
                <a:lnTo>
                  <a:pt x="7633" y="1465"/>
                </a:lnTo>
                <a:lnTo>
                  <a:pt x="7645" y="1472"/>
                </a:lnTo>
                <a:lnTo>
                  <a:pt x="7665" y="1484"/>
                </a:lnTo>
                <a:lnTo>
                  <a:pt x="7690" y="1502"/>
                </a:lnTo>
                <a:lnTo>
                  <a:pt x="7719" y="1523"/>
                </a:lnTo>
                <a:lnTo>
                  <a:pt x="7749" y="1545"/>
                </a:lnTo>
                <a:lnTo>
                  <a:pt x="7775" y="1566"/>
                </a:lnTo>
                <a:lnTo>
                  <a:pt x="7797" y="1584"/>
                </a:lnTo>
                <a:lnTo>
                  <a:pt x="7810" y="1596"/>
                </a:lnTo>
                <a:lnTo>
                  <a:pt x="7818" y="1604"/>
                </a:lnTo>
                <a:lnTo>
                  <a:pt x="7824" y="1608"/>
                </a:lnTo>
                <a:lnTo>
                  <a:pt x="7829" y="1611"/>
                </a:lnTo>
                <a:lnTo>
                  <a:pt x="7833" y="1613"/>
                </a:lnTo>
                <a:lnTo>
                  <a:pt x="7837" y="1616"/>
                </a:lnTo>
                <a:lnTo>
                  <a:pt x="7839" y="1621"/>
                </a:lnTo>
                <a:lnTo>
                  <a:pt x="7841" y="1629"/>
                </a:lnTo>
                <a:lnTo>
                  <a:pt x="7841" y="1640"/>
                </a:lnTo>
                <a:lnTo>
                  <a:pt x="7841" y="1654"/>
                </a:lnTo>
                <a:lnTo>
                  <a:pt x="7842" y="1664"/>
                </a:lnTo>
                <a:lnTo>
                  <a:pt x="7843" y="1670"/>
                </a:lnTo>
                <a:lnTo>
                  <a:pt x="7844" y="1673"/>
                </a:lnTo>
                <a:lnTo>
                  <a:pt x="7846" y="1675"/>
                </a:lnTo>
                <a:lnTo>
                  <a:pt x="7848" y="1674"/>
                </a:lnTo>
                <a:lnTo>
                  <a:pt x="7849" y="1672"/>
                </a:lnTo>
                <a:lnTo>
                  <a:pt x="7851" y="1670"/>
                </a:lnTo>
                <a:lnTo>
                  <a:pt x="7852" y="1660"/>
                </a:lnTo>
                <a:lnTo>
                  <a:pt x="7851" y="1650"/>
                </a:lnTo>
                <a:lnTo>
                  <a:pt x="7851" y="1645"/>
                </a:lnTo>
                <a:lnTo>
                  <a:pt x="7853" y="1639"/>
                </a:lnTo>
                <a:lnTo>
                  <a:pt x="7854" y="1638"/>
                </a:lnTo>
                <a:lnTo>
                  <a:pt x="7856" y="1637"/>
                </a:lnTo>
                <a:lnTo>
                  <a:pt x="7859" y="1636"/>
                </a:lnTo>
                <a:lnTo>
                  <a:pt x="7863" y="1636"/>
                </a:lnTo>
                <a:lnTo>
                  <a:pt x="7869" y="1636"/>
                </a:lnTo>
                <a:lnTo>
                  <a:pt x="7876" y="1638"/>
                </a:lnTo>
                <a:lnTo>
                  <a:pt x="7883" y="1640"/>
                </a:lnTo>
                <a:lnTo>
                  <a:pt x="7889" y="1645"/>
                </a:lnTo>
                <a:lnTo>
                  <a:pt x="7900" y="1652"/>
                </a:lnTo>
                <a:lnTo>
                  <a:pt x="7911" y="1660"/>
                </a:lnTo>
                <a:lnTo>
                  <a:pt x="7922" y="1666"/>
                </a:lnTo>
                <a:lnTo>
                  <a:pt x="7935" y="1669"/>
                </a:lnTo>
                <a:lnTo>
                  <a:pt x="7937" y="1670"/>
                </a:lnTo>
                <a:lnTo>
                  <a:pt x="7939" y="1672"/>
                </a:lnTo>
                <a:lnTo>
                  <a:pt x="7941" y="1674"/>
                </a:lnTo>
                <a:lnTo>
                  <a:pt x="7941" y="1676"/>
                </a:lnTo>
                <a:lnTo>
                  <a:pt x="7941" y="1679"/>
                </a:lnTo>
                <a:lnTo>
                  <a:pt x="7941" y="1682"/>
                </a:lnTo>
                <a:lnTo>
                  <a:pt x="7939" y="1687"/>
                </a:lnTo>
                <a:lnTo>
                  <a:pt x="7936" y="1692"/>
                </a:lnTo>
                <a:lnTo>
                  <a:pt x="7929" y="1701"/>
                </a:lnTo>
                <a:lnTo>
                  <a:pt x="7922" y="1709"/>
                </a:lnTo>
                <a:lnTo>
                  <a:pt x="7916" y="1714"/>
                </a:lnTo>
                <a:lnTo>
                  <a:pt x="7910" y="1717"/>
                </a:lnTo>
                <a:lnTo>
                  <a:pt x="7905" y="1720"/>
                </a:lnTo>
                <a:lnTo>
                  <a:pt x="7900" y="1722"/>
                </a:lnTo>
                <a:lnTo>
                  <a:pt x="7897" y="1725"/>
                </a:lnTo>
                <a:lnTo>
                  <a:pt x="7896" y="1731"/>
                </a:lnTo>
                <a:lnTo>
                  <a:pt x="7896" y="1743"/>
                </a:lnTo>
                <a:lnTo>
                  <a:pt x="7896" y="1757"/>
                </a:lnTo>
                <a:lnTo>
                  <a:pt x="7895" y="1764"/>
                </a:lnTo>
                <a:lnTo>
                  <a:pt x="7894" y="1769"/>
                </a:lnTo>
                <a:lnTo>
                  <a:pt x="7892" y="1775"/>
                </a:lnTo>
                <a:lnTo>
                  <a:pt x="7889" y="1778"/>
                </a:lnTo>
                <a:lnTo>
                  <a:pt x="7885" y="1779"/>
                </a:lnTo>
                <a:lnTo>
                  <a:pt x="7878" y="1779"/>
                </a:lnTo>
                <a:lnTo>
                  <a:pt x="7872" y="1778"/>
                </a:lnTo>
                <a:lnTo>
                  <a:pt x="7867" y="1777"/>
                </a:lnTo>
                <a:lnTo>
                  <a:pt x="7861" y="1775"/>
                </a:lnTo>
                <a:lnTo>
                  <a:pt x="7855" y="1772"/>
                </a:lnTo>
                <a:lnTo>
                  <a:pt x="7850" y="1769"/>
                </a:lnTo>
                <a:lnTo>
                  <a:pt x="7847" y="1766"/>
                </a:lnTo>
                <a:lnTo>
                  <a:pt x="7839" y="1756"/>
                </a:lnTo>
                <a:lnTo>
                  <a:pt x="7827" y="1741"/>
                </a:lnTo>
                <a:lnTo>
                  <a:pt x="7821" y="1734"/>
                </a:lnTo>
                <a:lnTo>
                  <a:pt x="7815" y="1726"/>
                </a:lnTo>
                <a:lnTo>
                  <a:pt x="7808" y="1721"/>
                </a:lnTo>
                <a:lnTo>
                  <a:pt x="7803" y="1718"/>
                </a:lnTo>
                <a:lnTo>
                  <a:pt x="7797" y="1717"/>
                </a:lnTo>
                <a:lnTo>
                  <a:pt x="7791" y="1717"/>
                </a:lnTo>
                <a:lnTo>
                  <a:pt x="7785" y="1718"/>
                </a:lnTo>
                <a:lnTo>
                  <a:pt x="7779" y="1720"/>
                </a:lnTo>
                <a:lnTo>
                  <a:pt x="7774" y="1721"/>
                </a:lnTo>
                <a:lnTo>
                  <a:pt x="7768" y="1722"/>
                </a:lnTo>
                <a:lnTo>
                  <a:pt x="7764" y="1722"/>
                </a:lnTo>
                <a:lnTo>
                  <a:pt x="7762" y="1721"/>
                </a:lnTo>
                <a:lnTo>
                  <a:pt x="7758" y="1710"/>
                </a:lnTo>
                <a:lnTo>
                  <a:pt x="7754" y="1691"/>
                </a:lnTo>
                <a:lnTo>
                  <a:pt x="7751" y="1682"/>
                </a:lnTo>
                <a:lnTo>
                  <a:pt x="7749" y="1675"/>
                </a:lnTo>
                <a:lnTo>
                  <a:pt x="7746" y="1672"/>
                </a:lnTo>
                <a:lnTo>
                  <a:pt x="7745" y="1671"/>
                </a:lnTo>
                <a:lnTo>
                  <a:pt x="7743" y="1670"/>
                </a:lnTo>
                <a:lnTo>
                  <a:pt x="7741" y="1671"/>
                </a:lnTo>
                <a:lnTo>
                  <a:pt x="7733" y="1675"/>
                </a:lnTo>
                <a:lnTo>
                  <a:pt x="7724" y="1680"/>
                </a:lnTo>
                <a:lnTo>
                  <a:pt x="7721" y="1682"/>
                </a:lnTo>
                <a:lnTo>
                  <a:pt x="7719" y="1686"/>
                </a:lnTo>
                <a:lnTo>
                  <a:pt x="7718" y="1689"/>
                </a:lnTo>
                <a:lnTo>
                  <a:pt x="7720" y="1692"/>
                </a:lnTo>
                <a:lnTo>
                  <a:pt x="7725" y="1698"/>
                </a:lnTo>
                <a:lnTo>
                  <a:pt x="7731" y="1703"/>
                </a:lnTo>
                <a:lnTo>
                  <a:pt x="7733" y="1706"/>
                </a:lnTo>
                <a:lnTo>
                  <a:pt x="7734" y="1710"/>
                </a:lnTo>
                <a:lnTo>
                  <a:pt x="7734" y="1713"/>
                </a:lnTo>
                <a:lnTo>
                  <a:pt x="7732" y="1717"/>
                </a:lnTo>
                <a:lnTo>
                  <a:pt x="7728" y="1724"/>
                </a:lnTo>
                <a:lnTo>
                  <a:pt x="7724" y="1728"/>
                </a:lnTo>
                <a:lnTo>
                  <a:pt x="7719" y="1734"/>
                </a:lnTo>
                <a:lnTo>
                  <a:pt x="7713" y="1742"/>
                </a:lnTo>
                <a:lnTo>
                  <a:pt x="7706" y="1753"/>
                </a:lnTo>
                <a:lnTo>
                  <a:pt x="7700" y="1759"/>
                </a:lnTo>
                <a:lnTo>
                  <a:pt x="7698" y="1761"/>
                </a:lnTo>
                <a:lnTo>
                  <a:pt x="7696" y="1762"/>
                </a:lnTo>
                <a:lnTo>
                  <a:pt x="7693" y="1761"/>
                </a:lnTo>
                <a:lnTo>
                  <a:pt x="7689" y="1760"/>
                </a:lnTo>
                <a:lnTo>
                  <a:pt x="7681" y="1754"/>
                </a:lnTo>
                <a:lnTo>
                  <a:pt x="7673" y="1746"/>
                </a:lnTo>
                <a:lnTo>
                  <a:pt x="7670" y="1744"/>
                </a:lnTo>
                <a:lnTo>
                  <a:pt x="7666" y="1742"/>
                </a:lnTo>
                <a:lnTo>
                  <a:pt x="7664" y="1743"/>
                </a:lnTo>
                <a:lnTo>
                  <a:pt x="7662" y="1743"/>
                </a:lnTo>
                <a:lnTo>
                  <a:pt x="7659" y="1744"/>
                </a:lnTo>
                <a:lnTo>
                  <a:pt x="7657" y="1746"/>
                </a:lnTo>
                <a:lnTo>
                  <a:pt x="7654" y="1750"/>
                </a:lnTo>
                <a:lnTo>
                  <a:pt x="7653" y="1754"/>
                </a:lnTo>
                <a:lnTo>
                  <a:pt x="7654" y="1757"/>
                </a:lnTo>
                <a:lnTo>
                  <a:pt x="7657" y="1760"/>
                </a:lnTo>
                <a:lnTo>
                  <a:pt x="7668" y="1769"/>
                </a:lnTo>
                <a:lnTo>
                  <a:pt x="7683" y="1784"/>
                </a:lnTo>
                <a:lnTo>
                  <a:pt x="7690" y="1794"/>
                </a:lnTo>
                <a:lnTo>
                  <a:pt x="7696" y="1803"/>
                </a:lnTo>
                <a:lnTo>
                  <a:pt x="7700" y="1810"/>
                </a:lnTo>
                <a:lnTo>
                  <a:pt x="7702" y="1816"/>
                </a:lnTo>
                <a:lnTo>
                  <a:pt x="7707" y="1828"/>
                </a:lnTo>
                <a:lnTo>
                  <a:pt x="7708" y="1835"/>
                </a:lnTo>
                <a:lnTo>
                  <a:pt x="7707" y="1846"/>
                </a:lnTo>
                <a:lnTo>
                  <a:pt x="7702" y="1857"/>
                </a:lnTo>
                <a:lnTo>
                  <a:pt x="7699" y="1868"/>
                </a:lnTo>
                <a:lnTo>
                  <a:pt x="7697" y="1873"/>
                </a:lnTo>
                <a:lnTo>
                  <a:pt x="7693" y="1867"/>
                </a:lnTo>
                <a:lnTo>
                  <a:pt x="7684" y="1856"/>
                </a:lnTo>
                <a:lnTo>
                  <a:pt x="7677" y="1851"/>
                </a:lnTo>
                <a:lnTo>
                  <a:pt x="7671" y="1848"/>
                </a:lnTo>
                <a:lnTo>
                  <a:pt x="7668" y="1848"/>
                </a:lnTo>
                <a:lnTo>
                  <a:pt x="7665" y="1848"/>
                </a:lnTo>
                <a:lnTo>
                  <a:pt x="7662" y="1850"/>
                </a:lnTo>
                <a:lnTo>
                  <a:pt x="7658" y="1852"/>
                </a:lnTo>
                <a:lnTo>
                  <a:pt x="7648" y="1862"/>
                </a:lnTo>
                <a:lnTo>
                  <a:pt x="7631" y="1874"/>
                </a:lnTo>
                <a:lnTo>
                  <a:pt x="7609" y="1890"/>
                </a:lnTo>
                <a:lnTo>
                  <a:pt x="7586" y="1907"/>
                </a:lnTo>
                <a:lnTo>
                  <a:pt x="7543" y="1936"/>
                </a:lnTo>
                <a:lnTo>
                  <a:pt x="7522" y="1953"/>
                </a:lnTo>
                <a:lnTo>
                  <a:pt x="7516" y="1961"/>
                </a:lnTo>
                <a:lnTo>
                  <a:pt x="7509" y="1973"/>
                </a:lnTo>
                <a:lnTo>
                  <a:pt x="7501" y="1983"/>
                </a:lnTo>
                <a:lnTo>
                  <a:pt x="7498" y="1987"/>
                </a:lnTo>
                <a:lnTo>
                  <a:pt x="7498" y="1984"/>
                </a:lnTo>
                <a:lnTo>
                  <a:pt x="7496" y="1977"/>
                </a:lnTo>
                <a:lnTo>
                  <a:pt x="7494" y="1972"/>
                </a:lnTo>
                <a:lnTo>
                  <a:pt x="7490" y="1966"/>
                </a:lnTo>
                <a:lnTo>
                  <a:pt x="7484" y="1961"/>
                </a:lnTo>
                <a:lnTo>
                  <a:pt x="7477" y="1957"/>
                </a:lnTo>
                <a:lnTo>
                  <a:pt x="7469" y="1954"/>
                </a:lnTo>
                <a:lnTo>
                  <a:pt x="7462" y="1952"/>
                </a:lnTo>
                <a:lnTo>
                  <a:pt x="7458" y="1953"/>
                </a:lnTo>
                <a:lnTo>
                  <a:pt x="7453" y="1954"/>
                </a:lnTo>
                <a:lnTo>
                  <a:pt x="7445" y="1962"/>
                </a:lnTo>
                <a:lnTo>
                  <a:pt x="7434" y="1974"/>
                </a:lnTo>
                <a:lnTo>
                  <a:pt x="7424" y="1985"/>
                </a:lnTo>
                <a:lnTo>
                  <a:pt x="7415" y="1993"/>
                </a:lnTo>
                <a:lnTo>
                  <a:pt x="7412" y="1995"/>
                </a:lnTo>
                <a:lnTo>
                  <a:pt x="7408" y="1995"/>
                </a:lnTo>
                <a:lnTo>
                  <a:pt x="7405" y="1994"/>
                </a:lnTo>
                <a:lnTo>
                  <a:pt x="7402" y="1989"/>
                </a:lnTo>
                <a:lnTo>
                  <a:pt x="7398" y="1986"/>
                </a:lnTo>
                <a:lnTo>
                  <a:pt x="7392" y="1984"/>
                </a:lnTo>
                <a:lnTo>
                  <a:pt x="7387" y="1983"/>
                </a:lnTo>
                <a:lnTo>
                  <a:pt x="7382" y="1983"/>
                </a:lnTo>
                <a:lnTo>
                  <a:pt x="7372" y="1985"/>
                </a:lnTo>
                <a:lnTo>
                  <a:pt x="7369" y="1986"/>
                </a:lnTo>
                <a:lnTo>
                  <a:pt x="7368" y="1985"/>
                </a:lnTo>
                <a:lnTo>
                  <a:pt x="7364" y="1985"/>
                </a:lnTo>
                <a:lnTo>
                  <a:pt x="7362" y="1986"/>
                </a:lnTo>
                <a:lnTo>
                  <a:pt x="7360" y="1988"/>
                </a:lnTo>
                <a:lnTo>
                  <a:pt x="7357" y="1991"/>
                </a:lnTo>
                <a:lnTo>
                  <a:pt x="7354" y="1997"/>
                </a:lnTo>
                <a:lnTo>
                  <a:pt x="7347" y="2010"/>
                </a:lnTo>
                <a:lnTo>
                  <a:pt x="7342" y="2024"/>
                </a:lnTo>
                <a:lnTo>
                  <a:pt x="7339" y="2033"/>
                </a:lnTo>
                <a:lnTo>
                  <a:pt x="7337" y="2038"/>
                </a:lnTo>
                <a:lnTo>
                  <a:pt x="7334" y="2038"/>
                </a:lnTo>
                <a:lnTo>
                  <a:pt x="7326" y="2040"/>
                </a:lnTo>
                <a:lnTo>
                  <a:pt x="7324" y="2042"/>
                </a:lnTo>
                <a:lnTo>
                  <a:pt x="7322" y="2045"/>
                </a:lnTo>
                <a:lnTo>
                  <a:pt x="7323" y="2049"/>
                </a:lnTo>
                <a:lnTo>
                  <a:pt x="7328" y="2054"/>
                </a:lnTo>
                <a:lnTo>
                  <a:pt x="7340" y="2064"/>
                </a:lnTo>
                <a:lnTo>
                  <a:pt x="7348" y="2069"/>
                </a:lnTo>
                <a:lnTo>
                  <a:pt x="7351" y="2071"/>
                </a:lnTo>
                <a:lnTo>
                  <a:pt x="7354" y="2073"/>
                </a:lnTo>
                <a:lnTo>
                  <a:pt x="7355" y="2074"/>
                </a:lnTo>
                <a:lnTo>
                  <a:pt x="7354" y="2076"/>
                </a:lnTo>
                <a:lnTo>
                  <a:pt x="7349" y="2082"/>
                </a:lnTo>
                <a:lnTo>
                  <a:pt x="7345" y="2086"/>
                </a:lnTo>
                <a:lnTo>
                  <a:pt x="7342" y="2089"/>
                </a:lnTo>
                <a:lnTo>
                  <a:pt x="7341" y="2092"/>
                </a:lnTo>
                <a:lnTo>
                  <a:pt x="7340" y="2095"/>
                </a:lnTo>
                <a:lnTo>
                  <a:pt x="7340" y="2099"/>
                </a:lnTo>
                <a:lnTo>
                  <a:pt x="7343" y="2108"/>
                </a:lnTo>
                <a:lnTo>
                  <a:pt x="7347" y="2116"/>
                </a:lnTo>
                <a:lnTo>
                  <a:pt x="7351" y="2121"/>
                </a:lnTo>
                <a:lnTo>
                  <a:pt x="7352" y="2123"/>
                </a:lnTo>
                <a:lnTo>
                  <a:pt x="7354" y="2126"/>
                </a:lnTo>
                <a:lnTo>
                  <a:pt x="7354" y="2131"/>
                </a:lnTo>
                <a:lnTo>
                  <a:pt x="7354" y="2134"/>
                </a:lnTo>
                <a:lnTo>
                  <a:pt x="7352" y="2137"/>
                </a:lnTo>
                <a:lnTo>
                  <a:pt x="7349" y="2140"/>
                </a:lnTo>
                <a:lnTo>
                  <a:pt x="7345" y="2143"/>
                </a:lnTo>
                <a:lnTo>
                  <a:pt x="7326" y="2153"/>
                </a:lnTo>
                <a:lnTo>
                  <a:pt x="7318" y="2157"/>
                </a:lnTo>
                <a:lnTo>
                  <a:pt x="7317" y="2166"/>
                </a:lnTo>
                <a:lnTo>
                  <a:pt x="7318" y="2179"/>
                </a:lnTo>
                <a:lnTo>
                  <a:pt x="7318" y="2185"/>
                </a:lnTo>
                <a:lnTo>
                  <a:pt x="7317" y="2193"/>
                </a:lnTo>
                <a:lnTo>
                  <a:pt x="7316" y="2197"/>
                </a:lnTo>
                <a:lnTo>
                  <a:pt x="7314" y="2200"/>
                </a:lnTo>
                <a:lnTo>
                  <a:pt x="7312" y="2203"/>
                </a:lnTo>
                <a:lnTo>
                  <a:pt x="7310" y="2205"/>
                </a:lnTo>
                <a:lnTo>
                  <a:pt x="7303" y="2210"/>
                </a:lnTo>
                <a:lnTo>
                  <a:pt x="7291" y="2224"/>
                </a:lnTo>
                <a:lnTo>
                  <a:pt x="7274" y="2243"/>
                </a:lnTo>
                <a:lnTo>
                  <a:pt x="7255" y="2265"/>
                </a:lnTo>
                <a:lnTo>
                  <a:pt x="7236" y="2288"/>
                </a:lnTo>
                <a:lnTo>
                  <a:pt x="7218" y="2310"/>
                </a:lnTo>
                <a:lnTo>
                  <a:pt x="7204" y="2329"/>
                </a:lnTo>
                <a:lnTo>
                  <a:pt x="7195" y="2342"/>
                </a:lnTo>
                <a:lnTo>
                  <a:pt x="7190" y="2352"/>
                </a:lnTo>
                <a:lnTo>
                  <a:pt x="7184" y="2360"/>
                </a:lnTo>
                <a:lnTo>
                  <a:pt x="7177" y="2368"/>
                </a:lnTo>
                <a:lnTo>
                  <a:pt x="7172" y="2373"/>
                </a:lnTo>
                <a:lnTo>
                  <a:pt x="7164" y="2381"/>
                </a:lnTo>
                <a:lnTo>
                  <a:pt x="7161" y="2383"/>
                </a:lnTo>
                <a:lnTo>
                  <a:pt x="7144" y="2423"/>
                </a:lnTo>
                <a:lnTo>
                  <a:pt x="7141" y="2427"/>
                </a:lnTo>
                <a:lnTo>
                  <a:pt x="7132" y="2438"/>
                </a:lnTo>
                <a:lnTo>
                  <a:pt x="7127" y="2444"/>
                </a:lnTo>
                <a:lnTo>
                  <a:pt x="7122" y="2448"/>
                </a:lnTo>
                <a:lnTo>
                  <a:pt x="7118" y="2452"/>
                </a:lnTo>
                <a:lnTo>
                  <a:pt x="7114" y="2454"/>
                </a:lnTo>
                <a:lnTo>
                  <a:pt x="7111" y="2454"/>
                </a:lnTo>
                <a:lnTo>
                  <a:pt x="7110" y="2452"/>
                </a:lnTo>
                <a:lnTo>
                  <a:pt x="7109" y="2451"/>
                </a:lnTo>
                <a:lnTo>
                  <a:pt x="7109" y="2450"/>
                </a:lnTo>
                <a:lnTo>
                  <a:pt x="7110" y="2446"/>
                </a:lnTo>
                <a:lnTo>
                  <a:pt x="7111" y="2442"/>
                </a:lnTo>
                <a:lnTo>
                  <a:pt x="7116" y="2435"/>
                </a:lnTo>
                <a:lnTo>
                  <a:pt x="7118" y="2430"/>
                </a:lnTo>
                <a:lnTo>
                  <a:pt x="7144" y="2402"/>
                </a:lnTo>
                <a:lnTo>
                  <a:pt x="7146" y="2370"/>
                </a:lnTo>
                <a:lnTo>
                  <a:pt x="7171" y="2366"/>
                </a:lnTo>
                <a:lnTo>
                  <a:pt x="7174" y="2361"/>
                </a:lnTo>
                <a:lnTo>
                  <a:pt x="7182" y="2353"/>
                </a:lnTo>
                <a:lnTo>
                  <a:pt x="7186" y="2348"/>
                </a:lnTo>
                <a:lnTo>
                  <a:pt x="7188" y="2341"/>
                </a:lnTo>
                <a:lnTo>
                  <a:pt x="7189" y="2339"/>
                </a:lnTo>
                <a:lnTo>
                  <a:pt x="7189" y="2337"/>
                </a:lnTo>
                <a:lnTo>
                  <a:pt x="7188" y="2334"/>
                </a:lnTo>
                <a:lnTo>
                  <a:pt x="7187" y="2332"/>
                </a:lnTo>
                <a:lnTo>
                  <a:pt x="7185" y="2328"/>
                </a:lnTo>
                <a:lnTo>
                  <a:pt x="7185" y="2324"/>
                </a:lnTo>
                <a:lnTo>
                  <a:pt x="7187" y="2318"/>
                </a:lnTo>
                <a:lnTo>
                  <a:pt x="7189" y="2313"/>
                </a:lnTo>
                <a:lnTo>
                  <a:pt x="7194" y="2305"/>
                </a:lnTo>
                <a:lnTo>
                  <a:pt x="7197" y="2302"/>
                </a:lnTo>
                <a:lnTo>
                  <a:pt x="7198" y="2299"/>
                </a:lnTo>
                <a:lnTo>
                  <a:pt x="7198" y="2293"/>
                </a:lnTo>
                <a:lnTo>
                  <a:pt x="7198" y="2289"/>
                </a:lnTo>
                <a:lnTo>
                  <a:pt x="7198" y="2284"/>
                </a:lnTo>
                <a:lnTo>
                  <a:pt x="7197" y="2280"/>
                </a:lnTo>
                <a:lnTo>
                  <a:pt x="7195" y="2274"/>
                </a:lnTo>
                <a:lnTo>
                  <a:pt x="7191" y="2266"/>
                </a:lnTo>
                <a:lnTo>
                  <a:pt x="7187" y="2258"/>
                </a:lnTo>
                <a:lnTo>
                  <a:pt x="7185" y="2252"/>
                </a:lnTo>
                <a:lnTo>
                  <a:pt x="7184" y="2247"/>
                </a:lnTo>
                <a:lnTo>
                  <a:pt x="7184" y="2241"/>
                </a:lnTo>
                <a:lnTo>
                  <a:pt x="7183" y="2233"/>
                </a:lnTo>
                <a:lnTo>
                  <a:pt x="7180" y="2210"/>
                </a:lnTo>
                <a:lnTo>
                  <a:pt x="7175" y="2176"/>
                </a:lnTo>
                <a:lnTo>
                  <a:pt x="7174" y="2167"/>
                </a:lnTo>
                <a:lnTo>
                  <a:pt x="7174" y="2158"/>
                </a:lnTo>
                <a:lnTo>
                  <a:pt x="7175" y="2150"/>
                </a:lnTo>
                <a:lnTo>
                  <a:pt x="7176" y="2141"/>
                </a:lnTo>
                <a:lnTo>
                  <a:pt x="7177" y="2133"/>
                </a:lnTo>
                <a:lnTo>
                  <a:pt x="7181" y="2126"/>
                </a:lnTo>
                <a:lnTo>
                  <a:pt x="7185" y="2118"/>
                </a:lnTo>
                <a:lnTo>
                  <a:pt x="7189" y="2113"/>
                </a:lnTo>
                <a:lnTo>
                  <a:pt x="7214" y="2086"/>
                </a:lnTo>
                <a:lnTo>
                  <a:pt x="7240" y="2055"/>
                </a:lnTo>
                <a:lnTo>
                  <a:pt x="7262" y="2027"/>
                </a:lnTo>
                <a:lnTo>
                  <a:pt x="7276" y="2010"/>
                </a:lnTo>
                <a:lnTo>
                  <a:pt x="7293" y="1994"/>
                </a:lnTo>
                <a:lnTo>
                  <a:pt x="7323" y="1969"/>
                </a:lnTo>
                <a:lnTo>
                  <a:pt x="7339" y="1956"/>
                </a:lnTo>
                <a:lnTo>
                  <a:pt x="7352" y="1943"/>
                </a:lnTo>
                <a:lnTo>
                  <a:pt x="7359" y="1937"/>
                </a:lnTo>
                <a:lnTo>
                  <a:pt x="7363" y="1932"/>
                </a:lnTo>
                <a:lnTo>
                  <a:pt x="7366" y="1928"/>
                </a:lnTo>
                <a:lnTo>
                  <a:pt x="7368" y="1923"/>
                </a:lnTo>
                <a:lnTo>
                  <a:pt x="7369" y="1909"/>
                </a:lnTo>
                <a:lnTo>
                  <a:pt x="7369" y="1892"/>
                </a:lnTo>
                <a:lnTo>
                  <a:pt x="7369" y="1884"/>
                </a:lnTo>
                <a:lnTo>
                  <a:pt x="7371" y="1876"/>
                </a:lnTo>
                <a:lnTo>
                  <a:pt x="7372" y="1873"/>
                </a:lnTo>
                <a:lnTo>
                  <a:pt x="7373" y="1870"/>
                </a:lnTo>
                <a:lnTo>
                  <a:pt x="7376" y="1867"/>
                </a:lnTo>
                <a:lnTo>
                  <a:pt x="7379" y="1864"/>
                </a:lnTo>
                <a:lnTo>
                  <a:pt x="7383" y="1859"/>
                </a:lnTo>
                <a:lnTo>
                  <a:pt x="7385" y="1853"/>
                </a:lnTo>
                <a:lnTo>
                  <a:pt x="7386" y="1848"/>
                </a:lnTo>
                <a:lnTo>
                  <a:pt x="7385" y="1844"/>
                </a:lnTo>
                <a:lnTo>
                  <a:pt x="7384" y="1842"/>
                </a:lnTo>
                <a:lnTo>
                  <a:pt x="7383" y="1841"/>
                </a:lnTo>
                <a:lnTo>
                  <a:pt x="7381" y="1840"/>
                </a:lnTo>
                <a:lnTo>
                  <a:pt x="7379" y="1838"/>
                </a:lnTo>
                <a:lnTo>
                  <a:pt x="7376" y="1840"/>
                </a:lnTo>
                <a:lnTo>
                  <a:pt x="7372" y="1841"/>
                </a:lnTo>
                <a:lnTo>
                  <a:pt x="7369" y="1843"/>
                </a:lnTo>
                <a:lnTo>
                  <a:pt x="7366" y="1846"/>
                </a:lnTo>
                <a:lnTo>
                  <a:pt x="7350" y="1862"/>
                </a:lnTo>
                <a:lnTo>
                  <a:pt x="7337" y="1877"/>
                </a:lnTo>
                <a:lnTo>
                  <a:pt x="7326" y="1890"/>
                </a:lnTo>
                <a:lnTo>
                  <a:pt x="7323" y="1895"/>
                </a:lnTo>
                <a:lnTo>
                  <a:pt x="7288" y="1940"/>
                </a:lnTo>
                <a:lnTo>
                  <a:pt x="7285" y="1938"/>
                </a:lnTo>
                <a:lnTo>
                  <a:pt x="7279" y="1932"/>
                </a:lnTo>
                <a:lnTo>
                  <a:pt x="7276" y="1928"/>
                </a:lnTo>
                <a:lnTo>
                  <a:pt x="7272" y="1921"/>
                </a:lnTo>
                <a:lnTo>
                  <a:pt x="7270" y="1914"/>
                </a:lnTo>
                <a:lnTo>
                  <a:pt x="7268" y="1906"/>
                </a:lnTo>
                <a:lnTo>
                  <a:pt x="7266" y="1889"/>
                </a:lnTo>
                <a:lnTo>
                  <a:pt x="7263" y="1876"/>
                </a:lnTo>
                <a:lnTo>
                  <a:pt x="7262" y="1875"/>
                </a:lnTo>
                <a:lnTo>
                  <a:pt x="7261" y="1874"/>
                </a:lnTo>
                <a:lnTo>
                  <a:pt x="7260" y="1873"/>
                </a:lnTo>
                <a:lnTo>
                  <a:pt x="7258" y="1873"/>
                </a:lnTo>
                <a:lnTo>
                  <a:pt x="7253" y="1875"/>
                </a:lnTo>
                <a:lnTo>
                  <a:pt x="7245" y="1880"/>
                </a:lnTo>
                <a:lnTo>
                  <a:pt x="7236" y="1886"/>
                </a:lnTo>
                <a:lnTo>
                  <a:pt x="7230" y="1890"/>
                </a:lnTo>
                <a:lnTo>
                  <a:pt x="7224" y="1892"/>
                </a:lnTo>
                <a:lnTo>
                  <a:pt x="7219" y="1893"/>
                </a:lnTo>
                <a:lnTo>
                  <a:pt x="7215" y="1895"/>
                </a:lnTo>
                <a:lnTo>
                  <a:pt x="7211" y="1898"/>
                </a:lnTo>
                <a:lnTo>
                  <a:pt x="7207" y="1902"/>
                </a:lnTo>
                <a:lnTo>
                  <a:pt x="7202" y="1910"/>
                </a:lnTo>
                <a:lnTo>
                  <a:pt x="7189" y="1928"/>
                </a:lnTo>
                <a:lnTo>
                  <a:pt x="7175" y="1947"/>
                </a:lnTo>
                <a:lnTo>
                  <a:pt x="7169" y="1957"/>
                </a:lnTo>
                <a:lnTo>
                  <a:pt x="7163" y="1966"/>
                </a:lnTo>
                <a:lnTo>
                  <a:pt x="7159" y="1975"/>
                </a:lnTo>
                <a:lnTo>
                  <a:pt x="7157" y="1981"/>
                </a:lnTo>
                <a:lnTo>
                  <a:pt x="7154" y="1995"/>
                </a:lnTo>
                <a:lnTo>
                  <a:pt x="7154" y="2007"/>
                </a:lnTo>
                <a:lnTo>
                  <a:pt x="7155" y="2017"/>
                </a:lnTo>
                <a:lnTo>
                  <a:pt x="7157" y="2020"/>
                </a:lnTo>
                <a:lnTo>
                  <a:pt x="7155" y="2021"/>
                </a:lnTo>
                <a:lnTo>
                  <a:pt x="7150" y="2022"/>
                </a:lnTo>
                <a:lnTo>
                  <a:pt x="7140" y="2025"/>
                </a:lnTo>
                <a:lnTo>
                  <a:pt x="7121" y="2028"/>
                </a:lnTo>
                <a:lnTo>
                  <a:pt x="7109" y="2030"/>
                </a:lnTo>
                <a:lnTo>
                  <a:pt x="7099" y="2029"/>
                </a:lnTo>
                <a:lnTo>
                  <a:pt x="7088" y="2028"/>
                </a:lnTo>
                <a:lnTo>
                  <a:pt x="7078" y="2025"/>
                </a:lnTo>
                <a:lnTo>
                  <a:pt x="7070" y="2022"/>
                </a:lnTo>
                <a:lnTo>
                  <a:pt x="7062" y="2018"/>
                </a:lnTo>
                <a:lnTo>
                  <a:pt x="7057" y="2013"/>
                </a:lnTo>
                <a:lnTo>
                  <a:pt x="7054" y="2010"/>
                </a:lnTo>
                <a:lnTo>
                  <a:pt x="7051" y="2006"/>
                </a:lnTo>
                <a:lnTo>
                  <a:pt x="7048" y="2004"/>
                </a:lnTo>
                <a:lnTo>
                  <a:pt x="7043" y="2003"/>
                </a:lnTo>
                <a:lnTo>
                  <a:pt x="7040" y="2002"/>
                </a:lnTo>
                <a:lnTo>
                  <a:pt x="7035" y="2002"/>
                </a:lnTo>
                <a:lnTo>
                  <a:pt x="7031" y="2003"/>
                </a:lnTo>
                <a:lnTo>
                  <a:pt x="7027" y="2005"/>
                </a:lnTo>
                <a:lnTo>
                  <a:pt x="7022" y="2008"/>
                </a:lnTo>
                <a:lnTo>
                  <a:pt x="7018" y="2010"/>
                </a:lnTo>
                <a:lnTo>
                  <a:pt x="7012" y="2011"/>
                </a:lnTo>
                <a:lnTo>
                  <a:pt x="7004" y="2011"/>
                </a:lnTo>
                <a:lnTo>
                  <a:pt x="6996" y="2011"/>
                </a:lnTo>
                <a:lnTo>
                  <a:pt x="6988" y="2010"/>
                </a:lnTo>
                <a:lnTo>
                  <a:pt x="6979" y="2008"/>
                </a:lnTo>
                <a:lnTo>
                  <a:pt x="6973" y="2006"/>
                </a:lnTo>
                <a:lnTo>
                  <a:pt x="6967" y="2004"/>
                </a:lnTo>
                <a:lnTo>
                  <a:pt x="6957" y="1999"/>
                </a:lnTo>
                <a:lnTo>
                  <a:pt x="6947" y="1994"/>
                </a:lnTo>
                <a:lnTo>
                  <a:pt x="6943" y="1993"/>
                </a:lnTo>
                <a:lnTo>
                  <a:pt x="6938" y="1991"/>
                </a:lnTo>
                <a:lnTo>
                  <a:pt x="6933" y="1993"/>
                </a:lnTo>
                <a:lnTo>
                  <a:pt x="6930" y="1996"/>
                </a:lnTo>
                <a:lnTo>
                  <a:pt x="6927" y="1999"/>
                </a:lnTo>
                <a:lnTo>
                  <a:pt x="6924" y="2000"/>
                </a:lnTo>
                <a:lnTo>
                  <a:pt x="6921" y="2001"/>
                </a:lnTo>
                <a:lnTo>
                  <a:pt x="6917" y="2002"/>
                </a:lnTo>
                <a:lnTo>
                  <a:pt x="6913" y="2003"/>
                </a:lnTo>
                <a:lnTo>
                  <a:pt x="6908" y="2006"/>
                </a:lnTo>
                <a:lnTo>
                  <a:pt x="6903" y="2009"/>
                </a:lnTo>
                <a:lnTo>
                  <a:pt x="6898" y="2016"/>
                </a:lnTo>
                <a:lnTo>
                  <a:pt x="6887" y="2028"/>
                </a:lnTo>
                <a:lnTo>
                  <a:pt x="6879" y="2035"/>
                </a:lnTo>
                <a:lnTo>
                  <a:pt x="6869" y="2044"/>
                </a:lnTo>
                <a:lnTo>
                  <a:pt x="6857" y="2060"/>
                </a:lnTo>
                <a:lnTo>
                  <a:pt x="6843" y="2075"/>
                </a:lnTo>
                <a:lnTo>
                  <a:pt x="6833" y="2084"/>
                </a:lnTo>
                <a:lnTo>
                  <a:pt x="6825" y="2091"/>
                </a:lnTo>
                <a:lnTo>
                  <a:pt x="6817" y="2098"/>
                </a:lnTo>
                <a:lnTo>
                  <a:pt x="6809" y="2109"/>
                </a:lnTo>
                <a:lnTo>
                  <a:pt x="6798" y="2121"/>
                </a:lnTo>
                <a:lnTo>
                  <a:pt x="6788" y="2135"/>
                </a:lnTo>
                <a:lnTo>
                  <a:pt x="6778" y="2145"/>
                </a:lnTo>
                <a:lnTo>
                  <a:pt x="6762" y="2163"/>
                </a:lnTo>
                <a:lnTo>
                  <a:pt x="6752" y="2172"/>
                </a:lnTo>
                <a:lnTo>
                  <a:pt x="6764" y="2203"/>
                </a:lnTo>
                <a:lnTo>
                  <a:pt x="6766" y="2198"/>
                </a:lnTo>
                <a:lnTo>
                  <a:pt x="6771" y="2188"/>
                </a:lnTo>
                <a:lnTo>
                  <a:pt x="6774" y="2185"/>
                </a:lnTo>
                <a:lnTo>
                  <a:pt x="6778" y="2183"/>
                </a:lnTo>
                <a:lnTo>
                  <a:pt x="6779" y="2183"/>
                </a:lnTo>
                <a:lnTo>
                  <a:pt x="6781" y="2184"/>
                </a:lnTo>
                <a:lnTo>
                  <a:pt x="6782" y="2185"/>
                </a:lnTo>
                <a:lnTo>
                  <a:pt x="6785" y="2188"/>
                </a:lnTo>
                <a:lnTo>
                  <a:pt x="6789" y="2201"/>
                </a:lnTo>
                <a:lnTo>
                  <a:pt x="6792" y="2210"/>
                </a:lnTo>
                <a:lnTo>
                  <a:pt x="6793" y="2217"/>
                </a:lnTo>
                <a:lnTo>
                  <a:pt x="6793" y="2220"/>
                </a:lnTo>
                <a:lnTo>
                  <a:pt x="6830" y="2205"/>
                </a:lnTo>
                <a:lnTo>
                  <a:pt x="6860" y="2227"/>
                </a:lnTo>
                <a:lnTo>
                  <a:pt x="6862" y="2233"/>
                </a:lnTo>
                <a:lnTo>
                  <a:pt x="6864" y="2246"/>
                </a:lnTo>
                <a:lnTo>
                  <a:pt x="6864" y="2253"/>
                </a:lnTo>
                <a:lnTo>
                  <a:pt x="6865" y="2262"/>
                </a:lnTo>
                <a:lnTo>
                  <a:pt x="6864" y="2269"/>
                </a:lnTo>
                <a:lnTo>
                  <a:pt x="6862" y="2274"/>
                </a:lnTo>
                <a:lnTo>
                  <a:pt x="6861" y="2280"/>
                </a:lnTo>
                <a:lnTo>
                  <a:pt x="6861" y="2285"/>
                </a:lnTo>
                <a:lnTo>
                  <a:pt x="6862" y="2290"/>
                </a:lnTo>
                <a:lnTo>
                  <a:pt x="6864" y="2295"/>
                </a:lnTo>
                <a:lnTo>
                  <a:pt x="6865" y="2303"/>
                </a:lnTo>
                <a:lnTo>
                  <a:pt x="6865" y="2310"/>
                </a:lnTo>
                <a:lnTo>
                  <a:pt x="6864" y="2319"/>
                </a:lnTo>
                <a:lnTo>
                  <a:pt x="6860" y="2330"/>
                </a:lnTo>
                <a:lnTo>
                  <a:pt x="6852" y="2360"/>
                </a:lnTo>
                <a:lnTo>
                  <a:pt x="6842" y="2396"/>
                </a:lnTo>
                <a:lnTo>
                  <a:pt x="6837" y="2413"/>
                </a:lnTo>
                <a:lnTo>
                  <a:pt x="6832" y="2427"/>
                </a:lnTo>
                <a:lnTo>
                  <a:pt x="6830" y="2433"/>
                </a:lnTo>
                <a:lnTo>
                  <a:pt x="6826" y="2438"/>
                </a:lnTo>
                <a:lnTo>
                  <a:pt x="6824" y="2442"/>
                </a:lnTo>
                <a:lnTo>
                  <a:pt x="6821" y="2445"/>
                </a:lnTo>
                <a:lnTo>
                  <a:pt x="6816" y="2451"/>
                </a:lnTo>
                <a:lnTo>
                  <a:pt x="6810" y="2462"/>
                </a:lnTo>
                <a:lnTo>
                  <a:pt x="6802" y="2473"/>
                </a:lnTo>
                <a:lnTo>
                  <a:pt x="6794" y="2487"/>
                </a:lnTo>
                <a:lnTo>
                  <a:pt x="6786" y="2501"/>
                </a:lnTo>
                <a:lnTo>
                  <a:pt x="6777" y="2514"/>
                </a:lnTo>
                <a:lnTo>
                  <a:pt x="6768" y="2527"/>
                </a:lnTo>
                <a:lnTo>
                  <a:pt x="6757" y="2537"/>
                </a:lnTo>
                <a:lnTo>
                  <a:pt x="6737" y="2556"/>
                </a:lnTo>
                <a:lnTo>
                  <a:pt x="6716" y="2572"/>
                </a:lnTo>
                <a:lnTo>
                  <a:pt x="6702" y="2582"/>
                </a:lnTo>
                <a:lnTo>
                  <a:pt x="6697" y="2587"/>
                </a:lnTo>
                <a:lnTo>
                  <a:pt x="6689" y="2584"/>
                </a:lnTo>
                <a:lnTo>
                  <a:pt x="6674" y="2579"/>
                </a:lnTo>
                <a:lnTo>
                  <a:pt x="6664" y="2578"/>
                </a:lnTo>
                <a:lnTo>
                  <a:pt x="6654" y="2579"/>
                </a:lnTo>
                <a:lnTo>
                  <a:pt x="6649" y="2580"/>
                </a:lnTo>
                <a:lnTo>
                  <a:pt x="6644" y="2582"/>
                </a:lnTo>
                <a:lnTo>
                  <a:pt x="6640" y="2586"/>
                </a:lnTo>
                <a:lnTo>
                  <a:pt x="6637" y="2589"/>
                </a:lnTo>
                <a:lnTo>
                  <a:pt x="6634" y="2594"/>
                </a:lnTo>
                <a:lnTo>
                  <a:pt x="6632" y="2598"/>
                </a:lnTo>
                <a:lnTo>
                  <a:pt x="6630" y="2602"/>
                </a:lnTo>
                <a:lnTo>
                  <a:pt x="6628" y="2608"/>
                </a:lnTo>
                <a:lnTo>
                  <a:pt x="6627" y="2617"/>
                </a:lnTo>
                <a:lnTo>
                  <a:pt x="6627" y="2626"/>
                </a:lnTo>
                <a:lnTo>
                  <a:pt x="6626" y="2635"/>
                </a:lnTo>
                <a:lnTo>
                  <a:pt x="6625" y="2642"/>
                </a:lnTo>
                <a:lnTo>
                  <a:pt x="6624" y="2646"/>
                </a:lnTo>
                <a:lnTo>
                  <a:pt x="6622" y="2648"/>
                </a:lnTo>
                <a:lnTo>
                  <a:pt x="6619" y="2650"/>
                </a:lnTo>
                <a:lnTo>
                  <a:pt x="6616" y="2653"/>
                </a:lnTo>
                <a:lnTo>
                  <a:pt x="6600" y="2659"/>
                </a:lnTo>
                <a:lnTo>
                  <a:pt x="6587" y="2664"/>
                </a:lnTo>
                <a:lnTo>
                  <a:pt x="6581" y="2668"/>
                </a:lnTo>
                <a:lnTo>
                  <a:pt x="6577" y="2671"/>
                </a:lnTo>
                <a:lnTo>
                  <a:pt x="6574" y="2676"/>
                </a:lnTo>
                <a:lnTo>
                  <a:pt x="6573" y="2680"/>
                </a:lnTo>
                <a:lnTo>
                  <a:pt x="6574" y="2686"/>
                </a:lnTo>
                <a:lnTo>
                  <a:pt x="6578" y="2696"/>
                </a:lnTo>
                <a:lnTo>
                  <a:pt x="6582" y="2707"/>
                </a:lnTo>
                <a:lnTo>
                  <a:pt x="6589" y="2719"/>
                </a:lnTo>
                <a:lnTo>
                  <a:pt x="6599" y="2741"/>
                </a:lnTo>
                <a:lnTo>
                  <a:pt x="6603" y="2749"/>
                </a:lnTo>
                <a:lnTo>
                  <a:pt x="6588" y="2783"/>
                </a:lnTo>
                <a:lnTo>
                  <a:pt x="6589" y="2787"/>
                </a:lnTo>
                <a:lnTo>
                  <a:pt x="6589" y="2798"/>
                </a:lnTo>
                <a:lnTo>
                  <a:pt x="6589" y="2805"/>
                </a:lnTo>
                <a:lnTo>
                  <a:pt x="6588" y="2811"/>
                </a:lnTo>
                <a:lnTo>
                  <a:pt x="6584" y="2816"/>
                </a:lnTo>
                <a:lnTo>
                  <a:pt x="6581" y="2819"/>
                </a:lnTo>
                <a:lnTo>
                  <a:pt x="6572" y="2825"/>
                </a:lnTo>
                <a:lnTo>
                  <a:pt x="6564" y="2832"/>
                </a:lnTo>
                <a:lnTo>
                  <a:pt x="6559" y="2834"/>
                </a:lnTo>
                <a:lnTo>
                  <a:pt x="6557" y="2836"/>
                </a:lnTo>
                <a:lnTo>
                  <a:pt x="6554" y="2837"/>
                </a:lnTo>
                <a:lnTo>
                  <a:pt x="6553" y="2836"/>
                </a:lnTo>
                <a:lnTo>
                  <a:pt x="6550" y="2828"/>
                </a:lnTo>
                <a:lnTo>
                  <a:pt x="6546" y="2812"/>
                </a:lnTo>
                <a:lnTo>
                  <a:pt x="6543" y="2793"/>
                </a:lnTo>
                <a:lnTo>
                  <a:pt x="6540" y="2778"/>
                </a:lnTo>
                <a:lnTo>
                  <a:pt x="6539" y="2771"/>
                </a:lnTo>
                <a:lnTo>
                  <a:pt x="6536" y="2764"/>
                </a:lnTo>
                <a:lnTo>
                  <a:pt x="6532" y="2755"/>
                </a:lnTo>
                <a:lnTo>
                  <a:pt x="6527" y="2748"/>
                </a:lnTo>
                <a:lnTo>
                  <a:pt x="6517" y="2735"/>
                </a:lnTo>
                <a:lnTo>
                  <a:pt x="6513" y="2729"/>
                </a:lnTo>
                <a:lnTo>
                  <a:pt x="6512" y="2727"/>
                </a:lnTo>
                <a:lnTo>
                  <a:pt x="6510" y="2722"/>
                </a:lnTo>
                <a:lnTo>
                  <a:pt x="6509" y="2718"/>
                </a:lnTo>
                <a:lnTo>
                  <a:pt x="6509" y="2714"/>
                </a:lnTo>
                <a:lnTo>
                  <a:pt x="6509" y="2710"/>
                </a:lnTo>
                <a:lnTo>
                  <a:pt x="6509" y="2706"/>
                </a:lnTo>
                <a:lnTo>
                  <a:pt x="6511" y="2699"/>
                </a:lnTo>
                <a:lnTo>
                  <a:pt x="6512" y="2691"/>
                </a:lnTo>
                <a:lnTo>
                  <a:pt x="6511" y="2688"/>
                </a:lnTo>
                <a:lnTo>
                  <a:pt x="6510" y="2686"/>
                </a:lnTo>
                <a:lnTo>
                  <a:pt x="6507" y="2685"/>
                </a:lnTo>
                <a:lnTo>
                  <a:pt x="6504" y="2685"/>
                </a:lnTo>
                <a:lnTo>
                  <a:pt x="6496" y="2687"/>
                </a:lnTo>
                <a:lnTo>
                  <a:pt x="6489" y="2687"/>
                </a:lnTo>
                <a:lnTo>
                  <a:pt x="6482" y="2688"/>
                </a:lnTo>
                <a:lnTo>
                  <a:pt x="6472" y="2691"/>
                </a:lnTo>
                <a:lnTo>
                  <a:pt x="6460" y="2696"/>
                </a:lnTo>
                <a:lnTo>
                  <a:pt x="6447" y="2701"/>
                </a:lnTo>
                <a:lnTo>
                  <a:pt x="6438" y="2705"/>
                </a:lnTo>
                <a:lnTo>
                  <a:pt x="6435" y="2707"/>
                </a:lnTo>
                <a:lnTo>
                  <a:pt x="6433" y="2706"/>
                </a:lnTo>
                <a:lnTo>
                  <a:pt x="6429" y="2703"/>
                </a:lnTo>
                <a:lnTo>
                  <a:pt x="6428" y="2700"/>
                </a:lnTo>
                <a:lnTo>
                  <a:pt x="6428" y="2697"/>
                </a:lnTo>
                <a:lnTo>
                  <a:pt x="6430" y="2692"/>
                </a:lnTo>
                <a:lnTo>
                  <a:pt x="6434" y="2688"/>
                </a:lnTo>
                <a:lnTo>
                  <a:pt x="6442" y="2678"/>
                </a:lnTo>
                <a:lnTo>
                  <a:pt x="6449" y="2668"/>
                </a:lnTo>
                <a:lnTo>
                  <a:pt x="6452" y="2664"/>
                </a:lnTo>
                <a:lnTo>
                  <a:pt x="6453" y="2661"/>
                </a:lnTo>
                <a:lnTo>
                  <a:pt x="6453" y="2659"/>
                </a:lnTo>
                <a:lnTo>
                  <a:pt x="6452" y="2658"/>
                </a:lnTo>
                <a:lnTo>
                  <a:pt x="6451" y="2658"/>
                </a:lnTo>
                <a:lnTo>
                  <a:pt x="6450" y="2657"/>
                </a:lnTo>
                <a:lnTo>
                  <a:pt x="6446" y="2657"/>
                </a:lnTo>
                <a:lnTo>
                  <a:pt x="6442" y="2658"/>
                </a:lnTo>
                <a:lnTo>
                  <a:pt x="6438" y="2659"/>
                </a:lnTo>
                <a:lnTo>
                  <a:pt x="6433" y="2661"/>
                </a:lnTo>
                <a:lnTo>
                  <a:pt x="6424" y="2666"/>
                </a:lnTo>
                <a:lnTo>
                  <a:pt x="6417" y="2671"/>
                </a:lnTo>
                <a:lnTo>
                  <a:pt x="6409" y="2676"/>
                </a:lnTo>
                <a:lnTo>
                  <a:pt x="6400" y="2681"/>
                </a:lnTo>
                <a:lnTo>
                  <a:pt x="6390" y="2688"/>
                </a:lnTo>
                <a:lnTo>
                  <a:pt x="6379" y="2697"/>
                </a:lnTo>
                <a:lnTo>
                  <a:pt x="6374" y="2701"/>
                </a:lnTo>
                <a:lnTo>
                  <a:pt x="6367" y="2705"/>
                </a:lnTo>
                <a:lnTo>
                  <a:pt x="6359" y="2707"/>
                </a:lnTo>
                <a:lnTo>
                  <a:pt x="6353" y="2709"/>
                </a:lnTo>
                <a:lnTo>
                  <a:pt x="6348" y="2710"/>
                </a:lnTo>
                <a:lnTo>
                  <a:pt x="6346" y="2712"/>
                </a:lnTo>
                <a:lnTo>
                  <a:pt x="6346" y="2713"/>
                </a:lnTo>
                <a:lnTo>
                  <a:pt x="6347" y="2715"/>
                </a:lnTo>
                <a:lnTo>
                  <a:pt x="6349" y="2716"/>
                </a:lnTo>
                <a:lnTo>
                  <a:pt x="6352" y="2719"/>
                </a:lnTo>
                <a:lnTo>
                  <a:pt x="6359" y="2722"/>
                </a:lnTo>
                <a:lnTo>
                  <a:pt x="6365" y="2724"/>
                </a:lnTo>
                <a:lnTo>
                  <a:pt x="6370" y="2724"/>
                </a:lnTo>
                <a:lnTo>
                  <a:pt x="6375" y="2724"/>
                </a:lnTo>
                <a:lnTo>
                  <a:pt x="6378" y="2724"/>
                </a:lnTo>
                <a:lnTo>
                  <a:pt x="6381" y="2725"/>
                </a:lnTo>
                <a:lnTo>
                  <a:pt x="6384" y="2728"/>
                </a:lnTo>
                <a:lnTo>
                  <a:pt x="6386" y="2732"/>
                </a:lnTo>
                <a:lnTo>
                  <a:pt x="6389" y="2736"/>
                </a:lnTo>
                <a:lnTo>
                  <a:pt x="6392" y="2740"/>
                </a:lnTo>
                <a:lnTo>
                  <a:pt x="6395" y="2742"/>
                </a:lnTo>
                <a:lnTo>
                  <a:pt x="6398" y="2743"/>
                </a:lnTo>
                <a:lnTo>
                  <a:pt x="6404" y="2742"/>
                </a:lnTo>
                <a:lnTo>
                  <a:pt x="6409" y="2739"/>
                </a:lnTo>
                <a:lnTo>
                  <a:pt x="6413" y="2735"/>
                </a:lnTo>
                <a:lnTo>
                  <a:pt x="6416" y="2732"/>
                </a:lnTo>
                <a:lnTo>
                  <a:pt x="6419" y="2730"/>
                </a:lnTo>
                <a:lnTo>
                  <a:pt x="6421" y="2730"/>
                </a:lnTo>
                <a:lnTo>
                  <a:pt x="6424" y="2730"/>
                </a:lnTo>
                <a:lnTo>
                  <a:pt x="6428" y="2730"/>
                </a:lnTo>
                <a:lnTo>
                  <a:pt x="6436" y="2732"/>
                </a:lnTo>
                <a:lnTo>
                  <a:pt x="6442" y="2732"/>
                </a:lnTo>
                <a:lnTo>
                  <a:pt x="6445" y="2732"/>
                </a:lnTo>
                <a:lnTo>
                  <a:pt x="6447" y="2733"/>
                </a:lnTo>
                <a:lnTo>
                  <a:pt x="6449" y="2735"/>
                </a:lnTo>
                <a:lnTo>
                  <a:pt x="6451" y="2739"/>
                </a:lnTo>
                <a:lnTo>
                  <a:pt x="6452" y="2741"/>
                </a:lnTo>
                <a:lnTo>
                  <a:pt x="6455" y="2743"/>
                </a:lnTo>
                <a:lnTo>
                  <a:pt x="6456" y="2743"/>
                </a:lnTo>
                <a:lnTo>
                  <a:pt x="6457" y="2743"/>
                </a:lnTo>
                <a:lnTo>
                  <a:pt x="6458" y="2744"/>
                </a:lnTo>
                <a:lnTo>
                  <a:pt x="6458" y="2745"/>
                </a:lnTo>
                <a:lnTo>
                  <a:pt x="6458" y="2747"/>
                </a:lnTo>
                <a:lnTo>
                  <a:pt x="6457" y="2751"/>
                </a:lnTo>
                <a:lnTo>
                  <a:pt x="6456" y="2759"/>
                </a:lnTo>
                <a:lnTo>
                  <a:pt x="6458" y="2763"/>
                </a:lnTo>
                <a:lnTo>
                  <a:pt x="6457" y="2764"/>
                </a:lnTo>
                <a:lnTo>
                  <a:pt x="6455" y="2766"/>
                </a:lnTo>
                <a:lnTo>
                  <a:pt x="6451" y="2769"/>
                </a:lnTo>
                <a:lnTo>
                  <a:pt x="6444" y="2774"/>
                </a:lnTo>
                <a:lnTo>
                  <a:pt x="6428" y="2785"/>
                </a:lnTo>
                <a:lnTo>
                  <a:pt x="6414" y="2794"/>
                </a:lnTo>
                <a:lnTo>
                  <a:pt x="6403" y="2800"/>
                </a:lnTo>
                <a:lnTo>
                  <a:pt x="6399" y="2803"/>
                </a:lnTo>
                <a:lnTo>
                  <a:pt x="6400" y="2810"/>
                </a:lnTo>
                <a:lnTo>
                  <a:pt x="6404" y="2822"/>
                </a:lnTo>
                <a:lnTo>
                  <a:pt x="6413" y="2837"/>
                </a:lnTo>
                <a:lnTo>
                  <a:pt x="6420" y="2851"/>
                </a:lnTo>
                <a:lnTo>
                  <a:pt x="6422" y="2861"/>
                </a:lnTo>
                <a:lnTo>
                  <a:pt x="6425" y="2874"/>
                </a:lnTo>
                <a:lnTo>
                  <a:pt x="6427" y="2881"/>
                </a:lnTo>
                <a:lnTo>
                  <a:pt x="6429" y="2887"/>
                </a:lnTo>
                <a:lnTo>
                  <a:pt x="6433" y="2893"/>
                </a:lnTo>
                <a:lnTo>
                  <a:pt x="6436" y="2898"/>
                </a:lnTo>
                <a:lnTo>
                  <a:pt x="6443" y="2903"/>
                </a:lnTo>
                <a:lnTo>
                  <a:pt x="6451" y="2907"/>
                </a:lnTo>
                <a:lnTo>
                  <a:pt x="6455" y="2909"/>
                </a:lnTo>
                <a:lnTo>
                  <a:pt x="6457" y="2912"/>
                </a:lnTo>
                <a:lnTo>
                  <a:pt x="6458" y="2918"/>
                </a:lnTo>
                <a:lnTo>
                  <a:pt x="6457" y="2924"/>
                </a:lnTo>
                <a:lnTo>
                  <a:pt x="6452" y="2937"/>
                </a:lnTo>
                <a:lnTo>
                  <a:pt x="6449" y="2947"/>
                </a:lnTo>
                <a:lnTo>
                  <a:pt x="6449" y="2953"/>
                </a:lnTo>
                <a:lnTo>
                  <a:pt x="6449" y="2957"/>
                </a:lnTo>
                <a:lnTo>
                  <a:pt x="6443" y="2967"/>
                </a:lnTo>
                <a:lnTo>
                  <a:pt x="6428" y="2985"/>
                </a:lnTo>
                <a:lnTo>
                  <a:pt x="6420" y="2995"/>
                </a:lnTo>
                <a:lnTo>
                  <a:pt x="6413" y="3006"/>
                </a:lnTo>
                <a:lnTo>
                  <a:pt x="6407" y="3014"/>
                </a:lnTo>
                <a:lnTo>
                  <a:pt x="6405" y="3020"/>
                </a:lnTo>
                <a:lnTo>
                  <a:pt x="6402" y="3031"/>
                </a:lnTo>
                <a:lnTo>
                  <a:pt x="6397" y="3041"/>
                </a:lnTo>
                <a:lnTo>
                  <a:pt x="6391" y="3052"/>
                </a:lnTo>
                <a:lnTo>
                  <a:pt x="6383" y="3060"/>
                </a:lnTo>
                <a:lnTo>
                  <a:pt x="6375" y="3070"/>
                </a:lnTo>
                <a:lnTo>
                  <a:pt x="6363" y="3080"/>
                </a:lnTo>
                <a:lnTo>
                  <a:pt x="6351" y="3092"/>
                </a:lnTo>
                <a:lnTo>
                  <a:pt x="6337" y="3103"/>
                </a:lnTo>
                <a:lnTo>
                  <a:pt x="6329" y="3108"/>
                </a:lnTo>
                <a:lnTo>
                  <a:pt x="6318" y="3114"/>
                </a:lnTo>
                <a:lnTo>
                  <a:pt x="6307" y="3120"/>
                </a:lnTo>
                <a:lnTo>
                  <a:pt x="6294" y="3125"/>
                </a:lnTo>
                <a:lnTo>
                  <a:pt x="6271" y="3135"/>
                </a:lnTo>
                <a:lnTo>
                  <a:pt x="6258" y="3140"/>
                </a:lnTo>
                <a:lnTo>
                  <a:pt x="6246" y="3143"/>
                </a:lnTo>
                <a:lnTo>
                  <a:pt x="6232" y="3144"/>
                </a:lnTo>
                <a:lnTo>
                  <a:pt x="6218" y="3146"/>
                </a:lnTo>
                <a:lnTo>
                  <a:pt x="6209" y="3149"/>
                </a:lnTo>
                <a:lnTo>
                  <a:pt x="6202" y="3151"/>
                </a:lnTo>
                <a:lnTo>
                  <a:pt x="6192" y="3152"/>
                </a:lnTo>
                <a:lnTo>
                  <a:pt x="6186" y="3153"/>
                </a:lnTo>
                <a:lnTo>
                  <a:pt x="6183" y="3154"/>
                </a:lnTo>
                <a:lnTo>
                  <a:pt x="6182" y="3156"/>
                </a:lnTo>
                <a:lnTo>
                  <a:pt x="6181" y="3157"/>
                </a:lnTo>
                <a:lnTo>
                  <a:pt x="6181" y="3158"/>
                </a:lnTo>
                <a:lnTo>
                  <a:pt x="6182" y="3160"/>
                </a:lnTo>
                <a:lnTo>
                  <a:pt x="6187" y="3170"/>
                </a:lnTo>
                <a:lnTo>
                  <a:pt x="6194" y="3186"/>
                </a:lnTo>
                <a:lnTo>
                  <a:pt x="6196" y="3194"/>
                </a:lnTo>
                <a:lnTo>
                  <a:pt x="6197" y="3203"/>
                </a:lnTo>
                <a:lnTo>
                  <a:pt x="6197" y="3206"/>
                </a:lnTo>
                <a:lnTo>
                  <a:pt x="6196" y="3209"/>
                </a:lnTo>
                <a:lnTo>
                  <a:pt x="6196" y="3212"/>
                </a:lnTo>
                <a:lnTo>
                  <a:pt x="6194" y="3215"/>
                </a:lnTo>
                <a:lnTo>
                  <a:pt x="6189" y="3218"/>
                </a:lnTo>
                <a:lnTo>
                  <a:pt x="6182" y="3222"/>
                </a:lnTo>
                <a:lnTo>
                  <a:pt x="6175" y="3223"/>
                </a:lnTo>
                <a:lnTo>
                  <a:pt x="6167" y="3224"/>
                </a:lnTo>
                <a:lnTo>
                  <a:pt x="6159" y="3223"/>
                </a:lnTo>
                <a:lnTo>
                  <a:pt x="6154" y="3220"/>
                </a:lnTo>
                <a:lnTo>
                  <a:pt x="6151" y="3219"/>
                </a:lnTo>
                <a:lnTo>
                  <a:pt x="6150" y="3217"/>
                </a:lnTo>
                <a:lnTo>
                  <a:pt x="6148" y="3216"/>
                </a:lnTo>
                <a:lnTo>
                  <a:pt x="6148" y="3214"/>
                </a:lnTo>
                <a:lnTo>
                  <a:pt x="6150" y="3209"/>
                </a:lnTo>
                <a:lnTo>
                  <a:pt x="6154" y="3203"/>
                </a:lnTo>
                <a:lnTo>
                  <a:pt x="6159" y="3195"/>
                </a:lnTo>
                <a:lnTo>
                  <a:pt x="6165" y="3188"/>
                </a:lnTo>
                <a:lnTo>
                  <a:pt x="6172" y="3181"/>
                </a:lnTo>
                <a:lnTo>
                  <a:pt x="6177" y="3174"/>
                </a:lnTo>
                <a:lnTo>
                  <a:pt x="6178" y="3171"/>
                </a:lnTo>
                <a:lnTo>
                  <a:pt x="6179" y="3169"/>
                </a:lnTo>
                <a:lnTo>
                  <a:pt x="6179" y="3166"/>
                </a:lnTo>
                <a:lnTo>
                  <a:pt x="6179" y="3165"/>
                </a:lnTo>
                <a:lnTo>
                  <a:pt x="6173" y="3156"/>
                </a:lnTo>
                <a:lnTo>
                  <a:pt x="6170" y="3153"/>
                </a:lnTo>
                <a:lnTo>
                  <a:pt x="6161" y="3151"/>
                </a:lnTo>
                <a:lnTo>
                  <a:pt x="6149" y="3149"/>
                </a:lnTo>
                <a:lnTo>
                  <a:pt x="6143" y="3151"/>
                </a:lnTo>
                <a:lnTo>
                  <a:pt x="6137" y="3157"/>
                </a:lnTo>
                <a:lnTo>
                  <a:pt x="6131" y="3164"/>
                </a:lnTo>
                <a:lnTo>
                  <a:pt x="6125" y="3170"/>
                </a:lnTo>
                <a:lnTo>
                  <a:pt x="6109" y="3185"/>
                </a:lnTo>
                <a:lnTo>
                  <a:pt x="6096" y="3197"/>
                </a:lnTo>
                <a:lnTo>
                  <a:pt x="6092" y="3204"/>
                </a:lnTo>
                <a:lnTo>
                  <a:pt x="6086" y="3212"/>
                </a:lnTo>
                <a:lnTo>
                  <a:pt x="6083" y="3216"/>
                </a:lnTo>
                <a:lnTo>
                  <a:pt x="6080" y="3219"/>
                </a:lnTo>
                <a:lnTo>
                  <a:pt x="6079" y="3223"/>
                </a:lnTo>
                <a:lnTo>
                  <a:pt x="6080" y="3225"/>
                </a:lnTo>
                <a:lnTo>
                  <a:pt x="6087" y="3230"/>
                </a:lnTo>
                <a:lnTo>
                  <a:pt x="6097" y="3237"/>
                </a:lnTo>
                <a:lnTo>
                  <a:pt x="6108" y="3244"/>
                </a:lnTo>
                <a:lnTo>
                  <a:pt x="6112" y="3247"/>
                </a:lnTo>
                <a:lnTo>
                  <a:pt x="6119" y="3253"/>
                </a:lnTo>
                <a:lnTo>
                  <a:pt x="6130" y="3262"/>
                </a:lnTo>
                <a:lnTo>
                  <a:pt x="6140" y="3277"/>
                </a:lnTo>
                <a:lnTo>
                  <a:pt x="6160" y="3306"/>
                </a:lnTo>
                <a:lnTo>
                  <a:pt x="6171" y="3322"/>
                </a:lnTo>
                <a:lnTo>
                  <a:pt x="6180" y="3336"/>
                </a:lnTo>
                <a:lnTo>
                  <a:pt x="6183" y="3341"/>
                </a:lnTo>
                <a:lnTo>
                  <a:pt x="6185" y="3346"/>
                </a:lnTo>
                <a:lnTo>
                  <a:pt x="6186" y="3349"/>
                </a:lnTo>
                <a:lnTo>
                  <a:pt x="6186" y="3351"/>
                </a:lnTo>
                <a:lnTo>
                  <a:pt x="6182" y="3356"/>
                </a:lnTo>
                <a:lnTo>
                  <a:pt x="6176" y="3359"/>
                </a:lnTo>
                <a:lnTo>
                  <a:pt x="6172" y="3362"/>
                </a:lnTo>
                <a:lnTo>
                  <a:pt x="6167" y="3365"/>
                </a:lnTo>
                <a:lnTo>
                  <a:pt x="6163" y="3370"/>
                </a:lnTo>
                <a:lnTo>
                  <a:pt x="6160" y="3378"/>
                </a:lnTo>
                <a:lnTo>
                  <a:pt x="6154" y="3385"/>
                </a:lnTo>
                <a:lnTo>
                  <a:pt x="6145" y="3394"/>
                </a:lnTo>
                <a:lnTo>
                  <a:pt x="6135" y="3403"/>
                </a:lnTo>
                <a:lnTo>
                  <a:pt x="6122" y="3412"/>
                </a:lnTo>
                <a:lnTo>
                  <a:pt x="6098" y="3428"/>
                </a:lnTo>
                <a:lnTo>
                  <a:pt x="6079" y="3437"/>
                </a:lnTo>
                <a:lnTo>
                  <a:pt x="6068" y="3444"/>
                </a:lnTo>
                <a:lnTo>
                  <a:pt x="6058" y="3448"/>
                </a:lnTo>
                <a:lnTo>
                  <a:pt x="6054" y="3448"/>
                </a:lnTo>
                <a:lnTo>
                  <a:pt x="6052" y="3448"/>
                </a:lnTo>
                <a:lnTo>
                  <a:pt x="6052" y="3446"/>
                </a:lnTo>
                <a:lnTo>
                  <a:pt x="6053" y="3443"/>
                </a:lnTo>
                <a:lnTo>
                  <a:pt x="6056" y="3434"/>
                </a:lnTo>
                <a:lnTo>
                  <a:pt x="6058" y="3427"/>
                </a:lnTo>
                <a:lnTo>
                  <a:pt x="6057" y="3423"/>
                </a:lnTo>
                <a:lnTo>
                  <a:pt x="6055" y="3417"/>
                </a:lnTo>
                <a:lnTo>
                  <a:pt x="6052" y="3413"/>
                </a:lnTo>
                <a:lnTo>
                  <a:pt x="6046" y="3408"/>
                </a:lnTo>
                <a:lnTo>
                  <a:pt x="6030" y="3393"/>
                </a:lnTo>
                <a:lnTo>
                  <a:pt x="6012" y="3376"/>
                </a:lnTo>
                <a:lnTo>
                  <a:pt x="6003" y="3368"/>
                </a:lnTo>
                <a:lnTo>
                  <a:pt x="5995" y="3362"/>
                </a:lnTo>
                <a:lnTo>
                  <a:pt x="5991" y="3360"/>
                </a:lnTo>
                <a:lnTo>
                  <a:pt x="5987" y="3359"/>
                </a:lnTo>
                <a:lnTo>
                  <a:pt x="5984" y="3359"/>
                </a:lnTo>
                <a:lnTo>
                  <a:pt x="5981" y="3360"/>
                </a:lnTo>
                <a:lnTo>
                  <a:pt x="5976" y="3362"/>
                </a:lnTo>
                <a:lnTo>
                  <a:pt x="5969" y="3362"/>
                </a:lnTo>
                <a:lnTo>
                  <a:pt x="5963" y="3361"/>
                </a:lnTo>
                <a:lnTo>
                  <a:pt x="5957" y="3360"/>
                </a:lnTo>
                <a:lnTo>
                  <a:pt x="5953" y="3360"/>
                </a:lnTo>
                <a:lnTo>
                  <a:pt x="5950" y="3360"/>
                </a:lnTo>
                <a:lnTo>
                  <a:pt x="5948" y="3361"/>
                </a:lnTo>
                <a:lnTo>
                  <a:pt x="5947" y="3363"/>
                </a:lnTo>
                <a:lnTo>
                  <a:pt x="5947" y="3365"/>
                </a:lnTo>
                <a:lnTo>
                  <a:pt x="5948" y="3368"/>
                </a:lnTo>
                <a:lnTo>
                  <a:pt x="5950" y="3373"/>
                </a:lnTo>
                <a:lnTo>
                  <a:pt x="5948" y="3376"/>
                </a:lnTo>
                <a:lnTo>
                  <a:pt x="5946" y="3377"/>
                </a:lnTo>
                <a:lnTo>
                  <a:pt x="5944" y="3378"/>
                </a:lnTo>
                <a:lnTo>
                  <a:pt x="5942" y="3378"/>
                </a:lnTo>
                <a:lnTo>
                  <a:pt x="5941" y="3380"/>
                </a:lnTo>
                <a:lnTo>
                  <a:pt x="5942" y="3384"/>
                </a:lnTo>
                <a:lnTo>
                  <a:pt x="5946" y="3390"/>
                </a:lnTo>
                <a:lnTo>
                  <a:pt x="5953" y="3398"/>
                </a:lnTo>
                <a:lnTo>
                  <a:pt x="5958" y="3402"/>
                </a:lnTo>
                <a:lnTo>
                  <a:pt x="5964" y="3405"/>
                </a:lnTo>
                <a:lnTo>
                  <a:pt x="5968" y="3406"/>
                </a:lnTo>
                <a:lnTo>
                  <a:pt x="5973" y="3408"/>
                </a:lnTo>
                <a:lnTo>
                  <a:pt x="5975" y="3409"/>
                </a:lnTo>
                <a:lnTo>
                  <a:pt x="5975" y="3412"/>
                </a:lnTo>
                <a:lnTo>
                  <a:pt x="5973" y="3417"/>
                </a:lnTo>
                <a:lnTo>
                  <a:pt x="5963" y="3428"/>
                </a:lnTo>
                <a:lnTo>
                  <a:pt x="5955" y="3435"/>
                </a:lnTo>
                <a:lnTo>
                  <a:pt x="5952" y="3439"/>
                </a:lnTo>
                <a:lnTo>
                  <a:pt x="5951" y="3444"/>
                </a:lnTo>
                <a:lnTo>
                  <a:pt x="5952" y="3448"/>
                </a:lnTo>
                <a:lnTo>
                  <a:pt x="5955" y="3454"/>
                </a:lnTo>
                <a:lnTo>
                  <a:pt x="5963" y="3466"/>
                </a:lnTo>
                <a:lnTo>
                  <a:pt x="5970" y="3477"/>
                </a:lnTo>
                <a:lnTo>
                  <a:pt x="5979" y="3488"/>
                </a:lnTo>
                <a:lnTo>
                  <a:pt x="5992" y="3499"/>
                </a:lnTo>
                <a:lnTo>
                  <a:pt x="6010" y="3511"/>
                </a:lnTo>
                <a:lnTo>
                  <a:pt x="6026" y="3520"/>
                </a:lnTo>
                <a:lnTo>
                  <a:pt x="6033" y="3525"/>
                </a:lnTo>
                <a:lnTo>
                  <a:pt x="6039" y="3532"/>
                </a:lnTo>
                <a:lnTo>
                  <a:pt x="6041" y="3535"/>
                </a:lnTo>
                <a:lnTo>
                  <a:pt x="6042" y="3539"/>
                </a:lnTo>
                <a:lnTo>
                  <a:pt x="6042" y="3543"/>
                </a:lnTo>
                <a:lnTo>
                  <a:pt x="6042" y="3548"/>
                </a:lnTo>
                <a:lnTo>
                  <a:pt x="6041" y="3569"/>
                </a:lnTo>
                <a:lnTo>
                  <a:pt x="6042" y="3588"/>
                </a:lnTo>
                <a:lnTo>
                  <a:pt x="6044" y="3603"/>
                </a:lnTo>
                <a:lnTo>
                  <a:pt x="6045" y="3608"/>
                </a:lnTo>
                <a:lnTo>
                  <a:pt x="6039" y="3604"/>
                </a:lnTo>
                <a:lnTo>
                  <a:pt x="6024" y="3599"/>
                </a:lnTo>
                <a:lnTo>
                  <a:pt x="6018" y="3597"/>
                </a:lnTo>
                <a:lnTo>
                  <a:pt x="6012" y="3597"/>
                </a:lnTo>
                <a:lnTo>
                  <a:pt x="6010" y="3598"/>
                </a:lnTo>
                <a:lnTo>
                  <a:pt x="6009" y="3600"/>
                </a:lnTo>
                <a:lnTo>
                  <a:pt x="6009" y="3603"/>
                </a:lnTo>
                <a:lnTo>
                  <a:pt x="6010" y="3607"/>
                </a:lnTo>
                <a:lnTo>
                  <a:pt x="6013" y="3615"/>
                </a:lnTo>
                <a:lnTo>
                  <a:pt x="6018" y="3623"/>
                </a:lnTo>
                <a:lnTo>
                  <a:pt x="6023" y="3628"/>
                </a:lnTo>
                <a:lnTo>
                  <a:pt x="6028" y="3633"/>
                </a:lnTo>
                <a:lnTo>
                  <a:pt x="6036" y="3641"/>
                </a:lnTo>
                <a:lnTo>
                  <a:pt x="6043" y="3646"/>
                </a:lnTo>
                <a:lnTo>
                  <a:pt x="6049" y="3653"/>
                </a:lnTo>
                <a:lnTo>
                  <a:pt x="6060" y="3663"/>
                </a:lnTo>
                <a:lnTo>
                  <a:pt x="6070" y="3673"/>
                </a:lnTo>
                <a:lnTo>
                  <a:pt x="6079" y="3683"/>
                </a:lnTo>
                <a:lnTo>
                  <a:pt x="6082" y="3685"/>
                </a:lnTo>
                <a:lnTo>
                  <a:pt x="6085" y="3686"/>
                </a:lnTo>
                <a:lnTo>
                  <a:pt x="6087" y="3687"/>
                </a:lnTo>
                <a:lnTo>
                  <a:pt x="6090" y="3687"/>
                </a:lnTo>
                <a:lnTo>
                  <a:pt x="6096" y="3687"/>
                </a:lnTo>
                <a:lnTo>
                  <a:pt x="6103" y="3686"/>
                </a:lnTo>
                <a:lnTo>
                  <a:pt x="6109" y="3685"/>
                </a:lnTo>
                <a:lnTo>
                  <a:pt x="6115" y="3685"/>
                </a:lnTo>
                <a:lnTo>
                  <a:pt x="6117" y="3685"/>
                </a:lnTo>
                <a:lnTo>
                  <a:pt x="6119" y="3685"/>
                </a:lnTo>
                <a:lnTo>
                  <a:pt x="6122" y="3686"/>
                </a:lnTo>
                <a:lnTo>
                  <a:pt x="6123" y="3688"/>
                </a:lnTo>
                <a:lnTo>
                  <a:pt x="6134" y="3698"/>
                </a:lnTo>
                <a:lnTo>
                  <a:pt x="6148" y="3709"/>
                </a:lnTo>
                <a:lnTo>
                  <a:pt x="6154" y="3715"/>
                </a:lnTo>
                <a:lnTo>
                  <a:pt x="6158" y="3720"/>
                </a:lnTo>
                <a:lnTo>
                  <a:pt x="6159" y="3722"/>
                </a:lnTo>
                <a:lnTo>
                  <a:pt x="6160" y="3724"/>
                </a:lnTo>
                <a:lnTo>
                  <a:pt x="6160" y="3727"/>
                </a:lnTo>
                <a:lnTo>
                  <a:pt x="6160" y="3728"/>
                </a:lnTo>
                <a:lnTo>
                  <a:pt x="6157" y="3730"/>
                </a:lnTo>
                <a:lnTo>
                  <a:pt x="6154" y="3731"/>
                </a:lnTo>
                <a:lnTo>
                  <a:pt x="6150" y="3731"/>
                </a:lnTo>
                <a:lnTo>
                  <a:pt x="6145" y="3729"/>
                </a:lnTo>
                <a:lnTo>
                  <a:pt x="6136" y="3723"/>
                </a:lnTo>
                <a:lnTo>
                  <a:pt x="6125" y="3718"/>
                </a:lnTo>
                <a:lnTo>
                  <a:pt x="6118" y="3715"/>
                </a:lnTo>
                <a:lnTo>
                  <a:pt x="6111" y="3712"/>
                </a:lnTo>
                <a:lnTo>
                  <a:pt x="6104" y="3711"/>
                </a:lnTo>
                <a:lnTo>
                  <a:pt x="6096" y="3710"/>
                </a:lnTo>
                <a:lnTo>
                  <a:pt x="6090" y="3711"/>
                </a:lnTo>
                <a:lnTo>
                  <a:pt x="6086" y="3713"/>
                </a:lnTo>
                <a:lnTo>
                  <a:pt x="6084" y="3714"/>
                </a:lnTo>
                <a:lnTo>
                  <a:pt x="6084" y="3717"/>
                </a:lnTo>
                <a:lnTo>
                  <a:pt x="6084" y="3719"/>
                </a:lnTo>
                <a:lnTo>
                  <a:pt x="6084" y="3722"/>
                </a:lnTo>
                <a:lnTo>
                  <a:pt x="6087" y="3730"/>
                </a:lnTo>
                <a:lnTo>
                  <a:pt x="6092" y="3737"/>
                </a:lnTo>
                <a:lnTo>
                  <a:pt x="6097" y="3743"/>
                </a:lnTo>
                <a:lnTo>
                  <a:pt x="6104" y="3750"/>
                </a:lnTo>
                <a:lnTo>
                  <a:pt x="6116" y="3760"/>
                </a:lnTo>
                <a:lnTo>
                  <a:pt x="6127" y="3767"/>
                </a:lnTo>
                <a:lnTo>
                  <a:pt x="6132" y="3769"/>
                </a:lnTo>
                <a:lnTo>
                  <a:pt x="6137" y="3771"/>
                </a:lnTo>
                <a:lnTo>
                  <a:pt x="6143" y="3772"/>
                </a:lnTo>
                <a:lnTo>
                  <a:pt x="6150" y="3772"/>
                </a:lnTo>
                <a:lnTo>
                  <a:pt x="6166" y="3772"/>
                </a:lnTo>
                <a:lnTo>
                  <a:pt x="6185" y="3773"/>
                </a:lnTo>
                <a:lnTo>
                  <a:pt x="6209" y="3777"/>
                </a:lnTo>
                <a:lnTo>
                  <a:pt x="6238" y="3783"/>
                </a:lnTo>
                <a:lnTo>
                  <a:pt x="6264" y="3789"/>
                </a:lnTo>
                <a:lnTo>
                  <a:pt x="6286" y="3795"/>
                </a:lnTo>
                <a:lnTo>
                  <a:pt x="6298" y="3798"/>
                </a:lnTo>
                <a:lnTo>
                  <a:pt x="6316" y="3803"/>
                </a:lnTo>
                <a:lnTo>
                  <a:pt x="6337" y="3808"/>
                </a:lnTo>
                <a:lnTo>
                  <a:pt x="6362" y="3813"/>
                </a:lnTo>
                <a:lnTo>
                  <a:pt x="6387" y="3818"/>
                </a:lnTo>
                <a:lnTo>
                  <a:pt x="6413" y="3821"/>
                </a:lnTo>
                <a:lnTo>
                  <a:pt x="6424" y="3822"/>
                </a:lnTo>
                <a:lnTo>
                  <a:pt x="6436" y="3822"/>
                </a:lnTo>
                <a:lnTo>
                  <a:pt x="6446" y="3821"/>
                </a:lnTo>
                <a:lnTo>
                  <a:pt x="6456" y="3819"/>
                </a:lnTo>
                <a:lnTo>
                  <a:pt x="6484" y="3812"/>
                </a:lnTo>
                <a:lnTo>
                  <a:pt x="6505" y="3807"/>
                </a:lnTo>
                <a:lnTo>
                  <a:pt x="6512" y="3806"/>
                </a:lnTo>
                <a:lnTo>
                  <a:pt x="6518" y="3806"/>
                </a:lnTo>
                <a:lnTo>
                  <a:pt x="6524" y="3807"/>
                </a:lnTo>
                <a:lnTo>
                  <a:pt x="6529" y="3809"/>
                </a:lnTo>
                <a:lnTo>
                  <a:pt x="6532" y="3809"/>
                </a:lnTo>
                <a:lnTo>
                  <a:pt x="6535" y="3809"/>
                </a:lnTo>
                <a:lnTo>
                  <a:pt x="6539" y="3809"/>
                </a:lnTo>
                <a:lnTo>
                  <a:pt x="6544" y="3808"/>
                </a:lnTo>
                <a:lnTo>
                  <a:pt x="6553" y="3804"/>
                </a:lnTo>
                <a:lnTo>
                  <a:pt x="6564" y="3800"/>
                </a:lnTo>
                <a:lnTo>
                  <a:pt x="6573" y="3796"/>
                </a:lnTo>
                <a:lnTo>
                  <a:pt x="6582" y="3793"/>
                </a:lnTo>
                <a:lnTo>
                  <a:pt x="6586" y="3791"/>
                </a:lnTo>
                <a:lnTo>
                  <a:pt x="6589" y="3790"/>
                </a:lnTo>
                <a:lnTo>
                  <a:pt x="6591" y="3790"/>
                </a:lnTo>
                <a:lnTo>
                  <a:pt x="6593" y="3791"/>
                </a:lnTo>
                <a:lnTo>
                  <a:pt x="6595" y="3793"/>
                </a:lnTo>
                <a:lnTo>
                  <a:pt x="6598" y="3793"/>
                </a:lnTo>
                <a:lnTo>
                  <a:pt x="6602" y="3793"/>
                </a:lnTo>
                <a:lnTo>
                  <a:pt x="6609" y="3793"/>
                </a:lnTo>
                <a:lnTo>
                  <a:pt x="6621" y="3790"/>
                </a:lnTo>
                <a:lnTo>
                  <a:pt x="6636" y="3788"/>
                </a:lnTo>
                <a:lnTo>
                  <a:pt x="6648" y="3787"/>
                </a:lnTo>
                <a:lnTo>
                  <a:pt x="6659" y="3787"/>
                </a:lnTo>
                <a:lnTo>
                  <a:pt x="6663" y="3787"/>
                </a:lnTo>
                <a:lnTo>
                  <a:pt x="6665" y="3788"/>
                </a:lnTo>
                <a:lnTo>
                  <a:pt x="6666" y="3790"/>
                </a:lnTo>
                <a:lnTo>
                  <a:pt x="6664" y="3794"/>
                </a:lnTo>
                <a:lnTo>
                  <a:pt x="6660" y="3800"/>
                </a:lnTo>
                <a:lnTo>
                  <a:pt x="6656" y="3804"/>
                </a:lnTo>
                <a:lnTo>
                  <a:pt x="6652" y="3807"/>
                </a:lnTo>
                <a:lnTo>
                  <a:pt x="6647" y="3810"/>
                </a:lnTo>
                <a:lnTo>
                  <a:pt x="6643" y="3811"/>
                </a:lnTo>
                <a:lnTo>
                  <a:pt x="6639" y="3812"/>
                </a:lnTo>
                <a:lnTo>
                  <a:pt x="6633" y="3812"/>
                </a:lnTo>
                <a:lnTo>
                  <a:pt x="6626" y="3813"/>
                </a:lnTo>
                <a:lnTo>
                  <a:pt x="6612" y="3811"/>
                </a:lnTo>
                <a:lnTo>
                  <a:pt x="6596" y="3810"/>
                </a:lnTo>
                <a:lnTo>
                  <a:pt x="6588" y="3810"/>
                </a:lnTo>
                <a:lnTo>
                  <a:pt x="6579" y="3811"/>
                </a:lnTo>
                <a:lnTo>
                  <a:pt x="6570" y="3815"/>
                </a:lnTo>
                <a:lnTo>
                  <a:pt x="6560" y="3819"/>
                </a:lnTo>
                <a:lnTo>
                  <a:pt x="6537" y="3832"/>
                </a:lnTo>
                <a:lnTo>
                  <a:pt x="6510" y="3846"/>
                </a:lnTo>
                <a:lnTo>
                  <a:pt x="6498" y="3852"/>
                </a:lnTo>
                <a:lnTo>
                  <a:pt x="6487" y="3856"/>
                </a:lnTo>
                <a:lnTo>
                  <a:pt x="6479" y="3859"/>
                </a:lnTo>
                <a:lnTo>
                  <a:pt x="6474" y="3859"/>
                </a:lnTo>
                <a:lnTo>
                  <a:pt x="6465" y="3851"/>
                </a:lnTo>
                <a:lnTo>
                  <a:pt x="6446" y="3840"/>
                </a:lnTo>
                <a:lnTo>
                  <a:pt x="6436" y="3834"/>
                </a:lnTo>
                <a:lnTo>
                  <a:pt x="6425" y="3831"/>
                </a:lnTo>
                <a:lnTo>
                  <a:pt x="6420" y="3830"/>
                </a:lnTo>
                <a:lnTo>
                  <a:pt x="6415" y="3830"/>
                </a:lnTo>
                <a:lnTo>
                  <a:pt x="6411" y="3831"/>
                </a:lnTo>
                <a:lnTo>
                  <a:pt x="6406" y="3833"/>
                </a:lnTo>
                <a:lnTo>
                  <a:pt x="6397" y="3838"/>
                </a:lnTo>
                <a:lnTo>
                  <a:pt x="6387" y="3840"/>
                </a:lnTo>
                <a:lnTo>
                  <a:pt x="6377" y="3841"/>
                </a:lnTo>
                <a:lnTo>
                  <a:pt x="6365" y="3841"/>
                </a:lnTo>
                <a:lnTo>
                  <a:pt x="6346" y="3839"/>
                </a:lnTo>
                <a:lnTo>
                  <a:pt x="6331" y="3835"/>
                </a:lnTo>
                <a:lnTo>
                  <a:pt x="6311" y="3831"/>
                </a:lnTo>
                <a:lnTo>
                  <a:pt x="6279" y="3825"/>
                </a:lnTo>
                <a:lnTo>
                  <a:pt x="6260" y="3822"/>
                </a:lnTo>
                <a:lnTo>
                  <a:pt x="6242" y="3819"/>
                </a:lnTo>
                <a:lnTo>
                  <a:pt x="6225" y="3818"/>
                </a:lnTo>
                <a:lnTo>
                  <a:pt x="6211" y="3818"/>
                </a:lnTo>
                <a:lnTo>
                  <a:pt x="6198" y="3817"/>
                </a:lnTo>
                <a:lnTo>
                  <a:pt x="6184" y="3815"/>
                </a:lnTo>
                <a:lnTo>
                  <a:pt x="6171" y="3812"/>
                </a:lnTo>
                <a:lnTo>
                  <a:pt x="6158" y="3809"/>
                </a:lnTo>
                <a:lnTo>
                  <a:pt x="6135" y="3803"/>
                </a:lnTo>
                <a:lnTo>
                  <a:pt x="6120" y="3799"/>
                </a:lnTo>
                <a:lnTo>
                  <a:pt x="6107" y="3794"/>
                </a:lnTo>
                <a:lnTo>
                  <a:pt x="6088" y="3784"/>
                </a:lnTo>
                <a:lnTo>
                  <a:pt x="6071" y="3776"/>
                </a:lnTo>
                <a:lnTo>
                  <a:pt x="6064" y="3772"/>
                </a:lnTo>
                <a:lnTo>
                  <a:pt x="6053" y="3761"/>
                </a:lnTo>
                <a:lnTo>
                  <a:pt x="6029" y="3735"/>
                </a:lnTo>
                <a:lnTo>
                  <a:pt x="6002" y="3707"/>
                </a:lnTo>
                <a:lnTo>
                  <a:pt x="5983" y="3686"/>
                </a:lnTo>
                <a:lnTo>
                  <a:pt x="5967" y="3666"/>
                </a:lnTo>
                <a:lnTo>
                  <a:pt x="5946" y="3641"/>
                </a:lnTo>
                <a:lnTo>
                  <a:pt x="5938" y="3629"/>
                </a:lnTo>
                <a:lnTo>
                  <a:pt x="5931" y="3623"/>
                </a:lnTo>
                <a:lnTo>
                  <a:pt x="5929" y="3621"/>
                </a:lnTo>
                <a:lnTo>
                  <a:pt x="5926" y="3622"/>
                </a:lnTo>
                <a:lnTo>
                  <a:pt x="5926" y="3624"/>
                </a:lnTo>
                <a:lnTo>
                  <a:pt x="5926" y="3627"/>
                </a:lnTo>
                <a:lnTo>
                  <a:pt x="5931" y="3639"/>
                </a:lnTo>
                <a:lnTo>
                  <a:pt x="5937" y="3649"/>
                </a:lnTo>
                <a:lnTo>
                  <a:pt x="5944" y="3661"/>
                </a:lnTo>
                <a:lnTo>
                  <a:pt x="5951" y="3669"/>
                </a:lnTo>
                <a:lnTo>
                  <a:pt x="5955" y="3676"/>
                </a:lnTo>
                <a:lnTo>
                  <a:pt x="5958" y="3680"/>
                </a:lnTo>
                <a:lnTo>
                  <a:pt x="5956" y="3681"/>
                </a:lnTo>
                <a:lnTo>
                  <a:pt x="5950" y="3676"/>
                </a:lnTo>
                <a:lnTo>
                  <a:pt x="5930" y="3662"/>
                </a:lnTo>
                <a:lnTo>
                  <a:pt x="5912" y="3647"/>
                </a:lnTo>
                <a:lnTo>
                  <a:pt x="5904" y="3640"/>
                </a:lnTo>
                <a:lnTo>
                  <a:pt x="5899" y="3631"/>
                </a:lnTo>
                <a:lnTo>
                  <a:pt x="5897" y="3628"/>
                </a:lnTo>
                <a:lnTo>
                  <a:pt x="5896" y="3625"/>
                </a:lnTo>
                <a:lnTo>
                  <a:pt x="5896" y="3622"/>
                </a:lnTo>
                <a:lnTo>
                  <a:pt x="5897" y="3619"/>
                </a:lnTo>
                <a:lnTo>
                  <a:pt x="5902" y="3606"/>
                </a:lnTo>
                <a:lnTo>
                  <a:pt x="5904" y="3593"/>
                </a:lnTo>
                <a:lnTo>
                  <a:pt x="5904" y="3588"/>
                </a:lnTo>
                <a:lnTo>
                  <a:pt x="5903" y="3584"/>
                </a:lnTo>
                <a:lnTo>
                  <a:pt x="5901" y="3580"/>
                </a:lnTo>
                <a:lnTo>
                  <a:pt x="5897" y="3577"/>
                </a:lnTo>
                <a:lnTo>
                  <a:pt x="5887" y="3575"/>
                </a:lnTo>
                <a:lnTo>
                  <a:pt x="5876" y="3574"/>
                </a:lnTo>
                <a:lnTo>
                  <a:pt x="5871" y="3573"/>
                </a:lnTo>
                <a:lnTo>
                  <a:pt x="5867" y="3570"/>
                </a:lnTo>
                <a:lnTo>
                  <a:pt x="5865" y="3567"/>
                </a:lnTo>
                <a:lnTo>
                  <a:pt x="5864" y="3563"/>
                </a:lnTo>
                <a:lnTo>
                  <a:pt x="5864" y="3551"/>
                </a:lnTo>
                <a:lnTo>
                  <a:pt x="5863" y="3538"/>
                </a:lnTo>
                <a:lnTo>
                  <a:pt x="5862" y="3533"/>
                </a:lnTo>
                <a:lnTo>
                  <a:pt x="5859" y="3526"/>
                </a:lnTo>
                <a:lnTo>
                  <a:pt x="5857" y="3522"/>
                </a:lnTo>
                <a:lnTo>
                  <a:pt x="5853" y="3518"/>
                </a:lnTo>
                <a:lnTo>
                  <a:pt x="5846" y="3511"/>
                </a:lnTo>
                <a:lnTo>
                  <a:pt x="5843" y="3505"/>
                </a:lnTo>
                <a:lnTo>
                  <a:pt x="5843" y="3503"/>
                </a:lnTo>
                <a:lnTo>
                  <a:pt x="5844" y="3501"/>
                </a:lnTo>
                <a:lnTo>
                  <a:pt x="5845" y="3500"/>
                </a:lnTo>
                <a:lnTo>
                  <a:pt x="5847" y="3500"/>
                </a:lnTo>
                <a:lnTo>
                  <a:pt x="5859" y="3502"/>
                </a:lnTo>
                <a:lnTo>
                  <a:pt x="5879" y="3509"/>
                </a:lnTo>
                <a:lnTo>
                  <a:pt x="5898" y="3515"/>
                </a:lnTo>
                <a:lnTo>
                  <a:pt x="5910" y="3520"/>
                </a:lnTo>
                <a:lnTo>
                  <a:pt x="5918" y="3527"/>
                </a:lnTo>
                <a:lnTo>
                  <a:pt x="5932" y="3540"/>
                </a:lnTo>
                <a:lnTo>
                  <a:pt x="5947" y="3554"/>
                </a:lnTo>
                <a:lnTo>
                  <a:pt x="5962" y="3564"/>
                </a:lnTo>
                <a:lnTo>
                  <a:pt x="5974" y="3573"/>
                </a:lnTo>
                <a:lnTo>
                  <a:pt x="5983" y="3581"/>
                </a:lnTo>
                <a:lnTo>
                  <a:pt x="5986" y="3583"/>
                </a:lnTo>
                <a:lnTo>
                  <a:pt x="5988" y="3583"/>
                </a:lnTo>
                <a:lnTo>
                  <a:pt x="5989" y="3580"/>
                </a:lnTo>
                <a:lnTo>
                  <a:pt x="5987" y="3575"/>
                </a:lnTo>
                <a:lnTo>
                  <a:pt x="5984" y="3567"/>
                </a:lnTo>
                <a:lnTo>
                  <a:pt x="5981" y="3561"/>
                </a:lnTo>
                <a:lnTo>
                  <a:pt x="5977" y="3556"/>
                </a:lnTo>
                <a:lnTo>
                  <a:pt x="5973" y="3551"/>
                </a:lnTo>
                <a:lnTo>
                  <a:pt x="5968" y="3544"/>
                </a:lnTo>
                <a:lnTo>
                  <a:pt x="5963" y="3538"/>
                </a:lnTo>
                <a:lnTo>
                  <a:pt x="5958" y="3530"/>
                </a:lnTo>
                <a:lnTo>
                  <a:pt x="5953" y="3519"/>
                </a:lnTo>
                <a:lnTo>
                  <a:pt x="5940" y="3494"/>
                </a:lnTo>
                <a:lnTo>
                  <a:pt x="5926" y="3470"/>
                </a:lnTo>
                <a:lnTo>
                  <a:pt x="5916" y="3451"/>
                </a:lnTo>
                <a:lnTo>
                  <a:pt x="5912" y="3444"/>
                </a:lnTo>
                <a:lnTo>
                  <a:pt x="5909" y="3421"/>
                </a:lnTo>
                <a:lnTo>
                  <a:pt x="5911" y="3416"/>
                </a:lnTo>
                <a:lnTo>
                  <a:pt x="5915" y="3406"/>
                </a:lnTo>
                <a:lnTo>
                  <a:pt x="5917" y="3401"/>
                </a:lnTo>
                <a:lnTo>
                  <a:pt x="5917" y="3395"/>
                </a:lnTo>
                <a:lnTo>
                  <a:pt x="5917" y="3393"/>
                </a:lnTo>
                <a:lnTo>
                  <a:pt x="5916" y="3391"/>
                </a:lnTo>
                <a:lnTo>
                  <a:pt x="5914" y="3390"/>
                </a:lnTo>
                <a:lnTo>
                  <a:pt x="5912" y="3389"/>
                </a:lnTo>
                <a:lnTo>
                  <a:pt x="5909" y="3388"/>
                </a:lnTo>
                <a:lnTo>
                  <a:pt x="5908" y="3387"/>
                </a:lnTo>
                <a:lnTo>
                  <a:pt x="5906" y="3385"/>
                </a:lnTo>
                <a:lnTo>
                  <a:pt x="5904" y="3383"/>
                </a:lnTo>
                <a:lnTo>
                  <a:pt x="5904" y="3378"/>
                </a:lnTo>
                <a:lnTo>
                  <a:pt x="5904" y="3372"/>
                </a:lnTo>
                <a:lnTo>
                  <a:pt x="5907" y="3366"/>
                </a:lnTo>
                <a:lnTo>
                  <a:pt x="5909" y="3361"/>
                </a:lnTo>
                <a:lnTo>
                  <a:pt x="5911" y="3357"/>
                </a:lnTo>
                <a:lnTo>
                  <a:pt x="5914" y="3355"/>
                </a:lnTo>
                <a:lnTo>
                  <a:pt x="5915" y="3354"/>
                </a:lnTo>
                <a:lnTo>
                  <a:pt x="5915" y="3352"/>
                </a:lnTo>
                <a:lnTo>
                  <a:pt x="5916" y="3349"/>
                </a:lnTo>
                <a:lnTo>
                  <a:pt x="5915" y="3347"/>
                </a:lnTo>
                <a:lnTo>
                  <a:pt x="5914" y="3340"/>
                </a:lnTo>
                <a:lnTo>
                  <a:pt x="5912" y="3333"/>
                </a:lnTo>
                <a:lnTo>
                  <a:pt x="5907" y="3317"/>
                </a:lnTo>
                <a:lnTo>
                  <a:pt x="5901" y="3305"/>
                </a:lnTo>
                <a:lnTo>
                  <a:pt x="5901" y="3300"/>
                </a:lnTo>
                <a:lnTo>
                  <a:pt x="5902" y="3292"/>
                </a:lnTo>
                <a:lnTo>
                  <a:pt x="5906" y="3281"/>
                </a:lnTo>
                <a:lnTo>
                  <a:pt x="5908" y="3272"/>
                </a:lnTo>
                <a:lnTo>
                  <a:pt x="5909" y="3263"/>
                </a:lnTo>
                <a:lnTo>
                  <a:pt x="5909" y="3258"/>
                </a:lnTo>
                <a:lnTo>
                  <a:pt x="5907" y="3257"/>
                </a:lnTo>
                <a:lnTo>
                  <a:pt x="5904" y="3258"/>
                </a:lnTo>
                <a:lnTo>
                  <a:pt x="5901" y="3260"/>
                </a:lnTo>
                <a:lnTo>
                  <a:pt x="5896" y="3263"/>
                </a:lnTo>
                <a:lnTo>
                  <a:pt x="5877" y="3281"/>
                </a:lnTo>
                <a:lnTo>
                  <a:pt x="5862" y="3297"/>
                </a:lnTo>
                <a:lnTo>
                  <a:pt x="5858" y="3300"/>
                </a:lnTo>
                <a:lnTo>
                  <a:pt x="5855" y="3302"/>
                </a:lnTo>
                <a:lnTo>
                  <a:pt x="5852" y="3303"/>
                </a:lnTo>
                <a:lnTo>
                  <a:pt x="5849" y="3303"/>
                </a:lnTo>
                <a:lnTo>
                  <a:pt x="5846" y="3303"/>
                </a:lnTo>
                <a:lnTo>
                  <a:pt x="5844" y="3301"/>
                </a:lnTo>
                <a:lnTo>
                  <a:pt x="5841" y="3299"/>
                </a:lnTo>
                <a:lnTo>
                  <a:pt x="5837" y="3295"/>
                </a:lnTo>
                <a:lnTo>
                  <a:pt x="5835" y="3291"/>
                </a:lnTo>
                <a:lnTo>
                  <a:pt x="5834" y="3285"/>
                </a:lnTo>
                <a:lnTo>
                  <a:pt x="5834" y="3281"/>
                </a:lnTo>
                <a:lnTo>
                  <a:pt x="5834" y="3276"/>
                </a:lnTo>
                <a:lnTo>
                  <a:pt x="5836" y="3266"/>
                </a:lnTo>
                <a:lnTo>
                  <a:pt x="5840" y="3255"/>
                </a:lnTo>
                <a:lnTo>
                  <a:pt x="5842" y="3246"/>
                </a:lnTo>
                <a:lnTo>
                  <a:pt x="5844" y="3237"/>
                </a:lnTo>
                <a:lnTo>
                  <a:pt x="5844" y="3234"/>
                </a:lnTo>
                <a:lnTo>
                  <a:pt x="5843" y="3231"/>
                </a:lnTo>
                <a:lnTo>
                  <a:pt x="5842" y="3228"/>
                </a:lnTo>
                <a:lnTo>
                  <a:pt x="5838" y="3227"/>
                </a:lnTo>
                <a:lnTo>
                  <a:pt x="5825" y="3218"/>
                </a:lnTo>
                <a:lnTo>
                  <a:pt x="5809" y="3209"/>
                </a:lnTo>
                <a:lnTo>
                  <a:pt x="5803" y="3204"/>
                </a:lnTo>
                <a:lnTo>
                  <a:pt x="5798" y="3198"/>
                </a:lnTo>
                <a:lnTo>
                  <a:pt x="5793" y="3193"/>
                </a:lnTo>
                <a:lnTo>
                  <a:pt x="5792" y="3189"/>
                </a:lnTo>
                <a:lnTo>
                  <a:pt x="5791" y="3178"/>
                </a:lnTo>
                <a:lnTo>
                  <a:pt x="5789" y="3160"/>
                </a:lnTo>
                <a:lnTo>
                  <a:pt x="5787" y="3151"/>
                </a:lnTo>
                <a:lnTo>
                  <a:pt x="5785" y="3145"/>
                </a:lnTo>
                <a:lnTo>
                  <a:pt x="5783" y="3142"/>
                </a:lnTo>
                <a:lnTo>
                  <a:pt x="5782" y="3140"/>
                </a:lnTo>
                <a:lnTo>
                  <a:pt x="5780" y="3139"/>
                </a:lnTo>
                <a:lnTo>
                  <a:pt x="5779" y="3139"/>
                </a:lnTo>
                <a:lnTo>
                  <a:pt x="5763" y="3139"/>
                </a:lnTo>
                <a:lnTo>
                  <a:pt x="5740" y="3139"/>
                </a:lnTo>
                <a:lnTo>
                  <a:pt x="5728" y="3140"/>
                </a:lnTo>
                <a:lnTo>
                  <a:pt x="5718" y="3141"/>
                </a:lnTo>
                <a:lnTo>
                  <a:pt x="5710" y="3142"/>
                </a:lnTo>
                <a:lnTo>
                  <a:pt x="5705" y="3143"/>
                </a:lnTo>
                <a:lnTo>
                  <a:pt x="5692" y="3154"/>
                </a:lnTo>
                <a:lnTo>
                  <a:pt x="5668" y="3174"/>
                </a:lnTo>
                <a:lnTo>
                  <a:pt x="5641" y="3197"/>
                </a:lnTo>
                <a:lnTo>
                  <a:pt x="5624" y="3215"/>
                </a:lnTo>
                <a:lnTo>
                  <a:pt x="5606" y="3234"/>
                </a:lnTo>
                <a:lnTo>
                  <a:pt x="5582" y="3258"/>
                </a:lnTo>
                <a:lnTo>
                  <a:pt x="5560" y="3281"/>
                </a:lnTo>
                <a:lnTo>
                  <a:pt x="5548" y="3293"/>
                </a:lnTo>
                <a:lnTo>
                  <a:pt x="5543" y="3296"/>
                </a:lnTo>
                <a:lnTo>
                  <a:pt x="5535" y="3299"/>
                </a:lnTo>
                <a:lnTo>
                  <a:pt x="5530" y="3302"/>
                </a:lnTo>
                <a:lnTo>
                  <a:pt x="5527" y="3305"/>
                </a:lnTo>
                <a:lnTo>
                  <a:pt x="5524" y="3312"/>
                </a:lnTo>
                <a:lnTo>
                  <a:pt x="5524" y="3320"/>
                </a:lnTo>
                <a:lnTo>
                  <a:pt x="5524" y="3329"/>
                </a:lnTo>
                <a:lnTo>
                  <a:pt x="5523" y="3338"/>
                </a:lnTo>
                <a:lnTo>
                  <a:pt x="5522" y="3347"/>
                </a:lnTo>
                <a:lnTo>
                  <a:pt x="5521" y="3355"/>
                </a:lnTo>
                <a:lnTo>
                  <a:pt x="5518" y="3368"/>
                </a:lnTo>
                <a:lnTo>
                  <a:pt x="5515" y="3378"/>
                </a:lnTo>
                <a:lnTo>
                  <a:pt x="5514" y="3389"/>
                </a:lnTo>
                <a:lnTo>
                  <a:pt x="5512" y="3407"/>
                </a:lnTo>
                <a:lnTo>
                  <a:pt x="5511" y="3417"/>
                </a:lnTo>
                <a:lnTo>
                  <a:pt x="5508" y="3426"/>
                </a:lnTo>
                <a:lnTo>
                  <a:pt x="5506" y="3430"/>
                </a:lnTo>
                <a:lnTo>
                  <a:pt x="5504" y="3434"/>
                </a:lnTo>
                <a:lnTo>
                  <a:pt x="5502" y="3437"/>
                </a:lnTo>
                <a:lnTo>
                  <a:pt x="5499" y="3439"/>
                </a:lnTo>
                <a:lnTo>
                  <a:pt x="5487" y="3449"/>
                </a:lnTo>
                <a:lnTo>
                  <a:pt x="5478" y="3456"/>
                </a:lnTo>
                <a:lnTo>
                  <a:pt x="5473" y="3458"/>
                </a:lnTo>
                <a:lnTo>
                  <a:pt x="5469" y="3460"/>
                </a:lnTo>
                <a:lnTo>
                  <a:pt x="5464" y="3461"/>
                </a:lnTo>
                <a:lnTo>
                  <a:pt x="5460" y="3460"/>
                </a:lnTo>
                <a:lnTo>
                  <a:pt x="5457" y="3457"/>
                </a:lnTo>
                <a:lnTo>
                  <a:pt x="5453" y="3452"/>
                </a:lnTo>
                <a:lnTo>
                  <a:pt x="5450" y="3445"/>
                </a:lnTo>
                <a:lnTo>
                  <a:pt x="5446" y="3436"/>
                </a:lnTo>
                <a:lnTo>
                  <a:pt x="5438" y="3415"/>
                </a:lnTo>
                <a:lnTo>
                  <a:pt x="5430" y="3393"/>
                </a:lnTo>
                <a:lnTo>
                  <a:pt x="5421" y="3370"/>
                </a:lnTo>
                <a:lnTo>
                  <a:pt x="5413" y="3344"/>
                </a:lnTo>
                <a:lnTo>
                  <a:pt x="5410" y="3333"/>
                </a:lnTo>
                <a:lnTo>
                  <a:pt x="5406" y="3323"/>
                </a:lnTo>
                <a:lnTo>
                  <a:pt x="5402" y="3315"/>
                </a:lnTo>
                <a:lnTo>
                  <a:pt x="5397" y="3310"/>
                </a:lnTo>
                <a:lnTo>
                  <a:pt x="5389" y="3303"/>
                </a:lnTo>
                <a:lnTo>
                  <a:pt x="5381" y="3297"/>
                </a:lnTo>
                <a:lnTo>
                  <a:pt x="5377" y="3294"/>
                </a:lnTo>
                <a:lnTo>
                  <a:pt x="5375" y="3291"/>
                </a:lnTo>
                <a:lnTo>
                  <a:pt x="5373" y="3286"/>
                </a:lnTo>
                <a:lnTo>
                  <a:pt x="5372" y="3281"/>
                </a:lnTo>
                <a:lnTo>
                  <a:pt x="5370" y="3262"/>
                </a:lnTo>
                <a:lnTo>
                  <a:pt x="5366" y="3236"/>
                </a:lnTo>
                <a:lnTo>
                  <a:pt x="5362" y="3212"/>
                </a:lnTo>
                <a:lnTo>
                  <a:pt x="5360" y="3197"/>
                </a:lnTo>
                <a:lnTo>
                  <a:pt x="5361" y="3188"/>
                </a:lnTo>
                <a:lnTo>
                  <a:pt x="5363" y="3173"/>
                </a:lnTo>
                <a:lnTo>
                  <a:pt x="5364" y="3166"/>
                </a:lnTo>
                <a:lnTo>
                  <a:pt x="5363" y="3161"/>
                </a:lnTo>
                <a:lnTo>
                  <a:pt x="5363" y="3159"/>
                </a:lnTo>
                <a:lnTo>
                  <a:pt x="5362" y="3157"/>
                </a:lnTo>
                <a:lnTo>
                  <a:pt x="5361" y="3157"/>
                </a:lnTo>
                <a:lnTo>
                  <a:pt x="5360" y="3157"/>
                </a:lnTo>
                <a:lnTo>
                  <a:pt x="5348" y="3159"/>
                </a:lnTo>
                <a:lnTo>
                  <a:pt x="5330" y="3161"/>
                </a:lnTo>
                <a:lnTo>
                  <a:pt x="5314" y="3161"/>
                </a:lnTo>
                <a:lnTo>
                  <a:pt x="5306" y="3161"/>
                </a:lnTo>
                <a:lnTo>
                  <a:pt x="5302" y="3156"/>
                </a:lnTo>
                <a:lnTo>
                  <a:pt x="5293" y="3143"/>
                </a:lnTo>
                <a:lnTo>
                  <a:pt x="5282" y="3129"/>
                </a:lnTo>
                <a:lnTo>
                  <a:pt x="5276" y="3120"/>
                </a:lnTo>
                <a:lnTo>
                  <a:pt x="5273" y="3115"/>
                </a:lnTo>
                <a:lnTo>
                  <a:pt x="5265" y="3107"/>
                </a:lnTo>
                <a:lnTo>
                  <a:pt x="5256" y="3099"/>
                </a:lnTo>
                <a:lnTo>
                  <a:pt x="5244" y="3088"/>
                </a:lnTo>
                <a:lnTo>
                  <a:pt x="5233" y="3079"/>
                </a:lnTo>
                <a:lnTo>
                  <a:pt x="5220" y="3071"/>
                </a:lnTo>
                <a:lnTo>
                  <a:pt x="5215" y="3067"/>
                </a:lnTo>
                <a:lnTo>
                  <a:pt x="5209" y="3065"/>
                </a:lnTo>
                <a:lnTo>
                  <a:pt x="5205" y="3063"/>
                </a:lnTo>
                <a:lnTo>
                  <a:pt x="5199" y="3062"/>
                </a:lnTo>
                <a:lnTo>
                  <a:pt x="5191" y="3062"/>
                </a:lnTo>
                <a:lnTo>
                  <a:pt x="5179" y="3063"/>
                </a:lnTo>
                <a:lnTo>
                  <a:pt x="5168" y="3064"/>
                </a:lnTo>
                <a:lnTo>
                  <a:pt x="5156" y="3066"/>
                </a:lnTo>
                <a:lnTo>
                  <a:pt x="5145" y="3069"/>
                </a:lnTo>
                <a:lnTo>
                  <a:pt x="5134" y="3070"/>
                </a:lnTo>
                <a:lnTo>
                  <a:pt x="5127" y="3070"/>
                </a:lnTo>
                <a:lnTo>
                  <a:pt x="5122" y="3070"/>
                </a:lnTo>
                <a:lnTo>
                  <a:pt x="5106" y="3067"/>
                </a:lnTo>
                <a:lnTo>
                  <a:pt x="5078" y="3066"/>
                </a:lnTo>
                <a:lnTo>
                  <a:pt x="5062" y="3065"/>
                </a:lnTo>
                <a:lnTo>
                  <a:pt x="5048" y="3063"/>
                </a:lnTo>
                <a:lnTo>
                  <a:pt x="5043" y="3062"/>
                </a:lnTo>
                <a:lnTo>
                  <a:pt x="5039" y="3061"/>
                </a:lnTo>
                <a:lnTo>
                  <a:pt x="5035" y="3059"/>
                </a:lnTo>
                <a:lnTo>
                  <a:pt x="5033" y="3057"/>
                </a:lnTo>
                <a:lnTo>
                  <a:pt x="5023" y="3045"/>
                </a:lnTo>
                <a:lnTo>
                  <a:pt x="5012" y="3032"/>
                </a:lnTo>
                <a:lnTo>
                  <a:pt x="5006" y="3026"/>
                </a:lnTo>
                <a:lnTo>
                  <a:pt x="5000" y="3021"/>
                </a:lnTo>
                <a:lnTo>
                  <a:pt x="4998" y="3019"/>
                </a:lnTo>
                <a:lnTo>
                  <a:pt x="4996" y="3018"/>
                </a:lnTo>
                <a:lnTo>
                  <a:pt x="4994" y="3018"/>
                </a:lnTo>
                <a:lnTo>
                  <a:pt x="4993" y="3019"/>
                </a:lnTo>
                <a:lnTo>
                  <a:pt x="4987" y="3025"/>
                </a:lnTo>
                <a:lnTo>
                  <a:pt x="4979" y="3030"/>
                </a:lnTo>
                <a:lnTo>
                  <a:pt x="4975" y="3031"/>
                </a:lnTo>
                <a:lnTo>
                  <a:pt x="4971" y="3032"/>
                </a:lnTo>
                <a:lnTo>
                  <a:pt x="4966" y="3031"/>
                </a:lnTo>
                <a:lnTo>
                  <a:pt x="4960" y="3029"/>
                </a:lnTo>
                <a:lnTo>
                  <a:pt x="4938" y="3014"/>
                </a:lnTo>
                <a:lnTo>
                  <a:pt x="4902" y="2989"/>
                </a:lnTo>
                <a:lnTo>
                  <a:pt x="4866" y="2965"/>
                </a:lnTo>
                <a:lnTo>
                  <a:pt x="4848" y="2951"/>
                </a:lnTo>
                <a:lnTo>
                  <a:pt x="4842" y="2947"/>
                </a:lnTo>
                <a:lnTo>
                  <a:pt x="4835" y="2944"/>
                </a:lnTo>
                <a:lnTo>
                  <a:pt x="4831" y="2943"/>
                </a:lnTo>
                <a:lnTo>
                  <a:pt x="4827" y="2942"/>
                </a:lnTo>
                <a:lnTo>
                  <a:pt x="4824" y="2942"/>
                </a:lnTo>
                <a:lnTo>
                  <a:pt x="4822" y="2943"/>
                </a:lnTo>
                <a:lnTo>
                  <a:pt x="4819" y="2946"/>
                </a:lnTo>
                <a:lnTo>
                  <a:pt x="4818" y="2950"/>
                </a:lnTo>
                <a:lnTo>
                  <a:pt x="4818" y="2954"/>
                </a:lnTo>
                <a:lnTo>
                  <a:pt x="4819" y="2959"/>
                </a:lnTo>
                <a:lnTo>
                  <a:pt x="4826" y="2969"/>
                </a:lnTo>
                <a:lnTo>
                  <a:pt x="4834" y="2983"/>
                </a:lnTo>
                <a:lnTo>
                  <a:pt x="4840" y="2992"/>
                </a:lnTo>
                <a:lnTo>
                  <a:pt x="4850" y="3008"/>
                </a:lnTo>
                <a:lnTo>
                  <a:pt x="4861" y="3023"/>
                </a:lnTo>
                <a:lnTo>
                  <a:pt x="4868" y="3033"/>
                </a:lnTo>
                <a:lnTo>
                  <a:pt x="4870" y="3035"/>
                </a:lnTo>
                <a:lnTo>
                  <a:pt x="4875" y="3035"/>
                </a:lnTo>
                <a:lnTo>
                  <a:pt x="4878" y="3035"/>
                </a:lnTo>
                <a:lnTo>
                  <a:pt x="4882" y="3035"/>
                </a:lnTo>
                <a:lnTo>
                  <a:pt x="4886" y="3035"/>
                </a:lnTo>
                <a:lnTo>
                  <a:pt x="4890" y="3036"/>
                </a:lnTo>
                <a:lnTo>
                  <a:pt x="4893" y="3038"/>
                </a:lnTo>
                <a:lnTo>
                  <a:pt x="4897" y="3042"/>
                </a:lnTo>
                <a:lnTo>
                  <a:pt x="4898" y="3048"/>
                </a:lnTo>
                <a:lnTo>
                  <a:pt x="4898" y="3053"/>
                </a:lnTo>
                <a:lnTo>
                  <a:pt x="4898" y="3058"/>
                </a:lnTo>
                <a:lnTo>
                  <a:pt x="4897" y="3063"/>
                </a:lnTo>
                <a:lnTo>
                  <a:pt x="4895" y="3069"/>
                </a:lnTo>
                <a:lnTo>
                  <a:pt x="4895" y="3073"/>
                </a:lnTo>
                <a:lnTo>
                  <a:pt x="4898" y="3078"/>
                </a:lnTo>
                <a:lnTo>
                  <a:pt x="4901" y="3083"/>
                </a:lnTo>
                <a:lnTo>
                  <a:pt x="4905" y="3087"/>
                </a:lnTo>
                <a:lnTo>
                  <a:pt x="4908" y="3088"/>
                </a:lnTo>
                <a:lnTo>
                  <a:pt x="4912" y="3088"/>
                </a:lnTo>
                <a:lnTo>
                  <a:pt x="4915" y="3087"/>
                </a:lnTo>
                <a:lnTo>
                  <a:pt x="4919" y="3085"/>
                </a:lnTo>
                <a:lnTo>
                  <a:pt x="4922" y="3083"/>
                </a:lnTo>
                <a:lnTo>
                  <a:pt x="4925" y="3081"/>
                </a:lnTo>
                <a:lnTo>
                  <a:pt x="4929" y="3081"/>
                </a:lnTo>
                <a:lnTo>
                  <a:pt x="4937" y="3080"/>
                </a:lnTo>
                <a:lnTo>
                  <a:pt x="4948" y="3078"/>
                </a:lnTo>
                <a:lnTo>
                  <a:pt x="4956" y="3075"/>
                </a:lnTo>
                <a:lnTo>
                  <a:pt x="4963" y="3071"/>
                </a:lnTo>
                <a:lnTo>
                  <a:pt x="4969" y="3063"/>
                </a:lnTo>
                <a:lnTo>
                  <a:pt x="4977" y="3053"/>
                </a:lnTo>
                <a:lnTo>
                  <a:pt x="4982" y="3048"/>
                </a:lnTo>
                <a:lnTo>
                  <a:pt x="4987" y="3043"/>
                </a:lnTo>
                <a:lnTo>
                  <a:pt x="4989" y="3042"/>
                </a:lnTo>
                <a:lnTo>
                  <a:pt x="4991" y="3041"/>
                </a:lnTo>
                <a:lnTo>
                  <a:pt x="4993" y="3041"/>
                </a:lnTo>
                <a:lnTo>
                  <a:pt x="4994" y="3042"/>
                </a:lnTo>
                <a:lnTo>
                  <a:pt x="4999" y="3045"/>
                </a:lnTo>
                <a:lnTo>
                  <a:pt x="5003" y="3048"/>
                </a:lnTo>
                <a:lnTo>
                  <a:pt x="5006" y="3050"/>
                </a:lnTo>
                <a:lnTo>
                  <a:pt x="5008" y="3052"/>
                </a:lnTo>
                <a:lnTo>
                  <a:pt x="5009" y="3054"/>
                </a:lnTo>
                <a:lnTo>
                  <a:pt x="5010" y="3058"/>
                </a:lnTo>
                <a:lnTo>
                  <a:pt x="5012" y="3066"/>
                </a:lnTo>
                <a:lnTo>
                  <a:pt x="5013" y="3074"/>
                </a:lnTo>
                <a:lnTo>
                  <a:pt x="5014" y="3079"/>
                </a:lnTo>
                <a:lnTo>
                  <a:pt x="5016" y="3081"/>
                </a:lnTo>
                <a:lnTo>
                  <a:pt x="5022" y="3083"/>
                </a:lnTo>
                <a:lnTo>
                  <a:pt x="5034" y="3088"/>
                </a:lnTo>
                <a:lnTo>
                  <a:pt x="5046" y="3095"/>
                </a:lnTo>
                <a:lnTo>
                  <a:pt x="5056" y="3101"/>
                </a:lnTo>
                <a:lnTo>
                  <a:pt x="5064" y="3106"/>
                </a:lnTo>
                <a:lnTo>
                  <a:pt x="5072" y="3112"/>
                </a:lnTo>
                <a:lnTo>
                  <a:pt x="5076" y="3114"/>
                </a:lnTo>
                <a:lnTo>
                  <a:pt x="5078" y="3116"/>
                </a:lnTo>
                <a:lnTo>
                  <a:pt x="5080" y="3118"/>
                </a:lnTo>
                <a:lnTo>
                  <a:pt x="5082" y="3120"/>
                </a:lnTo>
                <a:lnTo>
                  <a:pt x="5081" y="3125"/>
                </a:lnTo>
                <a:lnTo>
                  <a:pt x="5080" y="3132"/>
                </a:lnTo>
                <a:lnTo>
                  <a:pt x="5077" y="3143"/>
                </a:lnTo>
                <a:lnTo>
                  <a:pt x="5073" y="3154"/>
                </a:lnTo>
                <a:lnTo>
                  <a:pt x="5068" y="3165"/>
                </a:lnTo>
                <a:lnTo>
                  <a:pt x="5064" y="3174"/>
                </a:lnTo>
                <a:lnTo>
                  <a:pt x="5062" y="3179"/>
                </a:lnTo>
                <a:lnTo>
                  <a:pt x="5060" y="3181"/>
                </a:lnTo>
                <a:lnTo>
                  <a:pt x="5058" y="3183"/>
                </a:lnTo>
                <a:lnTo>
                  <a:pt x="5056" y="3184"/>
                </a:lnTo>
                <a:lnTo>
                  <a:pt x="5048" y="3183"/>
                </a:lnTo>
                <a:lnTo>
                  <a:pt x="5039" y="3182"/>
                </a:lnTo>
                <a:lnTo>
                  <a:pt x="5035" y="3182"/>
                </a:lnTo>
                <a:lnTo>
                  <a:pt x="5032" y="3183"/>
                </a:lnTo>
                <a:lnTo>
                  <a:pt x="5031" y="3184"/>
                </a:lnTo>
                <a:lnTo>
                  <a:pt x="5031" y="3185"/>
                </a:lnTo>
                <a:lnTo>
                  <a:pt x="5030" y="3187"/>
                </a:lnTo>
                <a:lnTo>
                  <a:pt x="5031" y="3188"/>
                </a:lnTo>
                <a:lnTo>
                  <a:pt x="5035" y="3196"/>
                </a:lnTo>
                <a:lnTo>
                  <a:pt x="5039" y="3203"/>
                </a:lnTo>
                <a:lnTo>
                  <a:pt x="5040" y="3206"/>
                </a:lnTo>
                <a:lnTo>
                  <a:pt x="5040" y="3208"/>
                </a:lnTo>
                <a:lnTo>
                  <a:pt x="5039" y="3211"/>
                </a:lnTo>
                <a:lnTo>
                  <a:pt x="5036" y="3214"/>
                </a:lnTo>
                <a:lnTo>
                  <a:pt x="5026" y="3220"/>
                </a:lnTo>
                <a:lnTo>
                  <a:pt x="5015" y="3226"/>
                </a:lnTo>
                <a:lnTo>
                  <a:pt x="5010" y="3229"/>
                </a:lnTo>
                <a:lnTo>
                  <a:pt x="5004" y="3232"/>
                </a:lnTo>
                <a:lnTo>
                  <a:pt x="4999" y="3236"/>
                </a:lnTo>
                <a:lnTo>
                  <a:pt x="4996" y="3239"/>
                </a:lnTo>
                <a:lnTo>
                  <a:pt x="4991" y="3244"/>
                </a:lnTo>
                <a:lnTo>
                  <a:pt x="4984" y="3249"/>
                </a:lnTo>
                <a:lnTo>
                  <a:pt x="4974" y="3253"/>
                </a:lnTo>
                <a:lnTo>
                  <a:pt x="4963" y="3258"/>
                </a:lnTo>
                <a:lnTo>
                  <a:pt x="4950" y="3263"/>
                </a:lnTo>
                <a:lnTo>
                  <a:pt x="4936" y="3271"/>
                </a:lnTo>
                <a:lnTo>
                  <a:pt x="4923" y="3278"/>
                </a:lnTo>
                <a:lnTo>
                  <a:pt x="4908" y="3285"/>
                </a:lnTo>
                <a:lnTo>
                  <a:pt x="4877" y="3304"/>
                </a:lnTo>
                <a:lnTo>
                  <a:pt x="4843" y="3322"/>
                </a:lnTo>
                <a:lnTo>
                  <a:pt x="4814" y="3335"/>
                </a:lnTo>
                <a:lnTo>
                  <a:pt x="4798" y="3341"/>
                </a:lnTo>
                <a:lnTo>
                  <a:pt x="4784" y="3345"/>
                </a:lnTo>
                <a:lnTo>
                  <a:pt x="4763" y="3349"/>
                </a:lnTo>
                <a:lnTo>
                  <a:pt x="4752" y="3350"/>
                </a:lnTo>
                <a:lnTo>
                  <a:pt x="4743" y="3350"/>
                </a:lnTo>
                <a:lnTo>
                  <a:pt x="4738" y="3349"/>
                </a:lnTo>
                <a:lnTo>
                  <a:pt x="4735" y="3347"/>
                </a:lnTo>
                <a:lnTo>
                  <a:pt x="4732" y="3345"/>
                </a:lnTo>
                <a:lnTo>
                  <a:pt x="4731" y="3343"/>
                </a:lnTo>
                <a:lnTo>
                  <a:pt x="4722" y="3322"/>
                </a:lnTo>
                <a:lnTo>
                  <a:pt x="4709" y="3294"/>
                </a:lnTo>
                <a:lnTo>
                  <a:pt x="4696" y="3268"/>
                </a:lnTo>
                <a:lnTo>
                  <a:pt x="4691" y="3257"/>
                </a:lnTo>
                <a:lnTo>
                  <a:pt x="4681" y="3248"/>
                </a:lnTo>
                <a:lnTo>
                  <a:pt x="4657" y="3225"/>
                </a:lnTo>
                <a:lnTo>
                  <a:pt x="4645" y="3211"/>
                </a:lnTo>
                <a:lnTo>
                  <a:pt x="4635" y="3197"/>
                </a:lnTo>
                <a:lnTo>
                  <a:pt x="4630" y="3191"/>
                </a:lnTo>
                <a:lnTo>
                  <a:pt x="4627" y="3185"/>
                </a:lnTo>
                <a:lnTo>
                  <a:pt x="4626" y="3180"/>
                </a:lnTo>
                <a:lnTo>
                  <a:pt x="4626" y="3174"/>
                </a:lnTo>
                <a:lnTo>
                  <a:pt x="4627" y="3165"/>
                </a:lnTo>
                <a:lnTo>
                  <a:pt x="4628" y="3157"/>
                </a:lnTo>
                <a:lnTo>
                  <a:pt x="4628" y="3148"/>
                </a:lnTo>
                <a:lnTo>
                  <a:pt x="4627" y="3140"/>
                </a:lnTo>
                <a:lnTo>
                  <a:pt x="4625" y="3132"/>
                </a:lnTo>
                <a:lnTo>
                  <a:pt x="4623" y="3125"/>
                </a:lnTo>
                <a:lnTo>
                  <a:pt x="4619" y="3119"/>
                </a:lnTo>
                <a:lnTo>
                  <a:pt x="4614" y="3113"/>
                </a:lnTo>
                <a:lnTo>
                  <a:pt x="4606" y="3105"/>
                </a:lnTo>
                <a:lnTo>
                  <a:pt x="4598" y="3093"/>
                </a:lnTo>
                <a:lnTo>
                  <a:pt x="4589" y="3078"/>
                </a:lnTo>
                <a:lnTo>
                  <a:pt x="4579" y="3061"/>
                </a:lnTo>
                <a:lnTo>
                  <a:pt x="4561" y="3030"/>
                </a:lnTo>
                <a:lnTo>
                  <a:pt x="4552" y="3012"/>
                </a:lnTo>
                <a:lnTo>
                  <a:pt x="4547" y="2999"/>
                </a:lnTo>
                <a:lnTo>
                  <a:pt x="4541" y="2982"/>
                </a:lnTo>
                <a:lnTo>
                  <a:pt x="4536" y="2963"/>
                </a:lnTo>
                <a:lnTo>
                  <a:pt x="4531" y="2950"/>
                </a:lnTo>
                <a:lnTo>
                  <a:pt x="4530" y="2949"/>
                </a:lnTo>
                <a:lnTo>
                  <a:pt x="4529" y="2949"/>
                </a:lnTo>
                <a:lnTo>
                  <a:pt x="4528" y="2949"/>
                </a:lnTo>
                <a:lnTo>
                  <a:pt x="4528" y="2950"/>
                </a:lnTo>
                <a:lnTo>
                  <a:pt x="4526" y="2954"/>
                </a:lnTo>
                <a:lnTo>
                  <a:pt x="4525" y="2960"/>
                </a:lnTo>
                <a:lnTo>
                  <a:pt x="4524" y="2973"/>
                </a:lnTo>
                <a:lnTo>
                  <a:pt x="4524" y="2983"/>
                </a:lnTo>
                <a:lnTo>
                  <a:pt x="4522" y="2986"/>
                </a:lnTo>
                <a:lnTo>
                  <a:pt x="4521" y="2987"/>
                </a:lnTo>
                <a:lnTo>
                  <a:pt x="4519" y="2987"/>
                </a:lnTo>
                <a:lnTo>
                  <a:pt x="4516" y="2986"/>
                </a:lnTo>
                <a:lnTo>
                  <a:pt x="4511" y="2983"/>
                </a:lnTo>
                <a:lnTo>
                  <a:pt x="4506" y="2977"/>
                </a:lnTo>
                <a:lnTo>
                  <a:pt x="4502" y="2971"/>
                </a:lnTo>
                <a:lnTo>
                  <a:pt x="4494" y="2964"/>
                </a:lnTo>
                <a:lnTo>
                  <a:pt x="4489" y="2959"/>
                </a:lnTo>
                <a:lnTo>
                  <a:pt x="4486" y="2957"/>
                </a:lnTo>
                <a:lnTo>
                  <a:pt x="4493" y="2972"/>
                </a:lnTo>
                <a:lnTo>
                  <a:pt x="4503" y="2987"/>
                </a:lnTo>
                <a:lnTo>
                  <a:pt x="4505" y="2990"/>
                </a:lnTo>
                <a:lnTo>
                  <a:pt x="4508" y="2993"/>
                </a:lnTo>
                <a:lnTo>
                  <a:pt x="4511" y="2998"/>
                </a:lnTo>
                <a:lnTo>
                  <a:pt x="4514" y="3006"/>
                </a:lnTo>
                <a:lnTo>
                  <a:pt x="4518" y="3017"/>
                </a:lnTo>
                <a:lnTo>
                  <a:pt x="4522" y="3031"/>
                </a:lnTo>
                <a:lnTo>
                  <a:pt x="4528" y="3043"/>
                </a:lnTo>
                <a:lnTo>
                  <a:pt x="4532" y="3053"/>
                </a:lnTo>
                <a:lnTo>
                  <a:pt x="4538" y="3066"/>
                </a:lnTo>
                <a:lnTo>
                  <a:pt x="4548" y="3088"/>
                </a:lnTo>
                <a:lnTo>
                  <a:pt x="4557" y="3109"/>
                </a:lnTo>
                <a:lnTo>
                  <a:pt x="4562" y="3119"/>
                </a:lnTo>
                <a:lnTo>
                  <a:pt x="4564" y="3125"/>
                </a:lnTo>
                <a:lnTo>
                  <a:pt x="4569" y="3136"/>
                </a:lnTo>
                <a:lnTo>
                  <a:pt x="4573" y="3150"/>
                </a:lnTo>
                <a:lnTo>
                  <a:pt x="4577" y="3165"/>
                </a:lnTo>
                <a:lnTo>
                  <a:pt x="4583" y="3183"/>
                </a:lnTo>
                <a:lnTo>
                  <a:pt x="4592" y="3204"/>
                </a:lnTo>
                <a:lnTo>
                  <a:pt x="4600" y="3224"/>
                </a:lnTo>
                <a:lnTo>
                  <a:pt x="4607" y="3235"/>
                </a:lnTo>
                <a:lnTo>
                  <a:pt x="4619" y="3242"/>
                </a:lnTo>
                <a:lnTo>
                  <a:pt x="4639" y="3253"/>
                </a:lnTo>
                <a:lnTo>
                  <a:pt x="4648" y="3258"/>
                </a:lnTo>
                <a:lnTo>
                  <a:pt x="4657" y="3263"/>
                </a:lnTo>
                <a:lnTo>
                  <a:pt x="4660" y="3266"/>
                </a:lnTo>
                <a:lnTo>
                  <a:pt x="4662" y="3269"/>
                </a:lnTo>
                <a:lnTo>
                  <a:pt x="4663" y="3271"/>
                </a:lnTo>
                <a:lnTo>
                  <a:pt x="4664" y="3273"/>
                </a:lnTo>
                <a:lnTo>
                  <a:pt x="4662" y="3280"/>
                </a:lnTo>
                <a:lnTo>
                  <a:pt x="4661" y="3289"/>
                </a:lnTo>
                <a:lnTo>
                  <a:pt x="4662" y="3293"/>
                </a:lnTo>
                <a:lnTo>
                  <a:pt x="4663" y="3297"/>
                </a:lnTo>
                <a:lnTo>
                  <a:pt x="4665" y="3300"/>
                </a:lnTo>
                <a:lnTo>
                  <a:pt x="4668" y="3303"/>
                </a:lnTo>
                <a:lnTo>
                  <a:pt x="4672" y="3307"/>
                </a:lnTo>
                <a:lnTo>
                  <a:pt x="4677" y="3313"/>
                </a:lnTo>
                <a:lnTo>
                  <a:pt x="4680" y="3320"/>
                </a:lnTo>
                <a:lnTo>
                  <a:pt x="4684" y="3327"/>
                </a:lnTo>
                <a:lnTo>
                  <a:pt x="4690" y="3344"/>
                </a:lnTo>
                <a:lnTo>
                  <a:pt x="4696" y="3358"/>
                </a:lnTo>
                <a:lnTo>
                  <a:pt x="4703" y="3369"/>
                </a:lnTo>
                <a:lnTo>
                  <a:pt x="4710" y="3381"/>
                </a:lnTo>
                <a:lnTo>
                  <a:pt x="4715" y="3386"/>
                </a:lnTo>
                <a:lnTo>
                  <a:pt x="4721" y="3389"/>
                </a:lnTo>
                <a:lnTo>
                  <a:pt x="4728" y="3390"/>
                </a:lnTo>
                <a:lnTo>
                  <a:pt x="4735" y="3390"/>
                </a:lnTo>
                <a:lnTo>
                  <a:pt x="4749" y="3388"/>
                </a:lnTo>
                <a:lnTo>
                  <a:pt x="4772" y="3384"/>
                </a:lnTo>
                <a:lnTo>
                  <a:pt x="4799" y="3379"/>
                </a:lnTo>
                <a:lnTo>
                  <a:pt x="4829" y="3374"/>
                </a:lnTo>
                <a:lnTo>
                  <a:pt x="4858" y="3370"/>
                </a:lnTo>
                <a:lnTo>
                  <a:pt x="4881" y="3369"/>
                </a:lnTo>
                <a:lnTo>
                  <a:pt x="4890" y="3370"/>
                </a:lnTo>
                <a:lnTo>
                  <a:pt x="4897" y="3371"/>
                </a:lnTo>
                <a:lnTo>
                  <a:pt x="4899" y="3372"/>
                </a:lnTo>
                <a:lnTo>
                  <a:pt x="4900" y="3374"/>
                </a:lnTo>
                <a:lnTo>
                  <a:pt x="4901" y="3377"/>
                </a:lnTo>
                <a:lnTo>
                  <a:pt x="4901" y="3379"/>
                </a:lnTo>
                <a:lnTo>
                  <a:pt x="4891" y="3407"/>
                </a:lnTo>
                <a:lnTo>
                  <a:pt x="4877" y="3447"/>
                </a:lnTo>
                <a:lnTo>
                  <a:pt x="4868" y="3468"/>
                </a:lnTo>
                <a:lnTo>
                  <a:pt x="4860" y="3487"/>
                </a:lnTo>
                <a:lnTo>
                  <a:pt x="4853" y="3502"/>
                </a:lnTo>
                <a:lnTo>
                  <a:pt x="4845" y="3513"/>
                </a:lnTo>
                <a:lnTo>
                  <a:pt x="4826" y="3531"/>
                </a:lnTo>
                <a:lnTo>
                  <a:pt x="4802" y="3552"/>
                </a:lnTo>
                <a:lnTo>
                  <a:pt x="4776" y="3574"/>
                </a:lnTo>
                <a:lnTo>
                  <a:pt x="4755" y="3593"/>
                </a:lnTo>
                <a:lnTo>
                  <a:pt x="4729" y="3620"/>
                </a:lnTo>
                <a:lnTo>
                  <a:pt x="4693" y="3656"/>
                </a:lnTo>
                <a:lnTo>
                  <a:pt x="4675" y="3675"/>
                </a:lnTo>
                <a:lnTo>
                  <a:pt x="4660" y="3693"/>
                </a:lnTo>
                <a:lnTo>
                  <a:pt x="4647" y="3708"/>
                </a:lnTo>
                <a:lnTo>
                  <a:pt x="4640" y="3719"/>
                </a:lnTo>
                <a:lnTo>
                  <a:pt x="4638" y="3723"/>
                </a:lnTo>
                <a:lnTo>
                  <a:pt x="4637" y="3728"/>
                </a:lnTo>
                <a:lnTo>
                  <a:pt x="4636" y="3733"/>
                </a:lnTo>
                <a:lnTo>
                  <a:pt x="4636" y="3737"/>
                </a:lnTo>
                <a:lnTo>
                  <a:pt x="4636" y="3747"/>
                </a:lnTo>
                <a:lnTo>
                  <a:pt x="4637" y="3757"/>
                </a:lnTo>
                <a:lnTo>
                  <a:pt x="4638" y="3766"/>
                </a:lnTo>
                <a:lnTo>
                  <a:pt x="4639" y="3776"/>
                </a:lnTo>
                <a:lnTo>
                  <a:pt x="4640" y="3784"/>
                </a:lnTo>
                <a:lnTo>
                  <a:pt x="4639" y="3793"/>
                </a:lnTo>
                <a:lnTo>
                  <a:pt x="4636" y="3804"/>
                </a:lnTo>
                <a:lnTo>
                  <a:pt x="4634" y="3813"/>
                </a:lnTo>
                <a:lnTo>
                  <a:pt x="4633" y="3818"/>
                </a:lnTo>
                <a:lnTo>
                  <a:pt x="4633" y="3820"/>
                </a:lnTo>
                <a:lnTo>
                  <a:pt x="4634" y="3823"/>
                </a:lnTo>
                <a:lnTo>
                  <a:pt x="4635" y="3825"/>
                </a:lnTo>
                <a:lnTo>
                  <a:pt x="4640" y="3834"/>
                </a:lnTo>
                <a:lnTo>
                  <a:pt x="4649" y="3851"/>
                </a:lnTo>
                <a:lnTo>
                  <a:pt x="4655" y="3861"/>
                </a:lnTo>
                <a:lnTo>
                  <a:pt x="4658" y="3870"/>
                </a:lnTo>
                <a:lnTo>
                  <a:pt x="4661" y="3878"/>
                </a:lnTo>
                <a:lnTo>
                  <a:pt x="4661" y="3886"/>
                </a:lnTo>
                <a:lnTo>
                  <a:pt x="4659" y="3911"/>
                </a:lnTo>
                <a:lnTo>
                  <a:pt x="4652" y="3950"/>
                </a:lnTo>
                <a:lnTo>
                  <a:pt x="4648" y="3969"/>
                </a:lnTo>
                <a:lnTo>
                  <a:pt x="4644" y="3985"/>
                </a:lnTo>
                <a:lnTo>
                  <a:pt x="4641" y="3998"/>
                </a:lnTo>
                <a:lnTo>
                  <a:pt x="4637" y="4005"/>
                </a:lnTo>
                <a:lnTo>
                  <a:pt x="4622" y="4016"/>
                </a:lnTo>
                <a:lnTo>
                  <a:pt x="4597" y="4032"/>
                </a:lnTo>
                <a:lnTo>
                  <a:pt x="4584" y="4042"/>
                </a:lnTo>
                <a:lnTo>
                  <a:pt x="4573" y="4050"/>
                </a:lnTo>
                <a:lnTo>
                  <a:pt x="4563" y="4058"/>
                </a:lnTo>
                <a:lnTo>
                  <a:pt x="4558" y="4063"/>
                </a:lnTo>
                <a:lnTo>
                  <a:pt x="4550" y="4072"/>
                </a:lnTo>
                <a:lnTo>
                  <a:pt x="4539" y="4081"/>
                </a:lnTo>
                <a:lnTo>
                  <a:pt x="4535" y="4086"/>
                </a:lnTo>
                <a:lnTo>
                  <a:pt x="4531" y="4090"/>
                </a:lnTo>
                <a:lnTo>
                  <a:pt x="4529" y="4095"/>
                </a:lnTo>
                <a:lnTo>
                  <a:pt x="4529" y="4101"/>
                </a:lnTo>
                <a:lnTo>
                  <a:pt x="4531" y="4105"/>
                </a:lnTo>
                <a:lnTo>
                  <a:pt x="4534" y="4109"/>
                </a:lnTo>
                <a:lnTo>
                  <a:pt x="4537" y="4112"/>
                </a:lnTo>
                <a:lnTo>
                  <a:pt x="4540" y="4115"/>
                </a:lnTo>
                <a:lnTo>
                  <a:pt x="4543" y="4119"/>
                </a:lnTo>
                <a:lnTo>
                  <a:pt x="4547" y="4123"/>
                </a:lnTo>
                <a:lnTo>
                  <a:pt x="4548" y="4127"/>
                </a:lnTo>
                <a:lnTo>
                  <a:pt x="4548" y="4132"/>
                </a:lnTo>
                <a:lnTo>
                  <a:pt x="4544" y="4149"/>
                </a:lnTo>
                <a:lnTo>
                  <a:pt x="4538" y="4172"/>
                </a:lnTo>
                <a:lnTo>
                  <a:pt x="4535" y="4183"/>
                </a:lnTo>
                <a:lnTo>
                  <a:pt x="4532" y="4194"/>
                </a:lnTo>
                <a:lnTo>
                  <a:pt x="4528" y="4201"/>
                </a:lnTo>
                <a:lnTo>
                  <a:pt x="4524" y="4205"/>
                </a:lnTo>
                <a:lnTo>
                  <a:pt x="4515" y="4211"/>
                </a:lnTo>
                <a:lnTo>
                  <a:pt x="4505" y="4216"/>
                </a:lnTo>
                <a:lnTo>
                  <a:pt x="4499" y="4219"/>
                </a:lnTo>
                <a:lnTo>
                  <a:pt x="4495" y="4222"/>
                </a:lnTo>
                <a:lnTo>
                  <a:pt x="4493" y="4226"/>
                </a:lnTo>
                <a:lnTo>
                  <a:pt x="4492" y="4232"/>
                </a:lnTo>
                <a:lnTo>
                  <a:pt x="4492" y="4241"/>
                </a:lnTo>
                <a:lnTo>
                  <a:pt x="4491" y="4249"/>
                </a:lnTo>
                <a:lnTo>
                  <a:pt x="4489" y="4258"/>
                </a:lnTo>
                <a:lnTo>
                  <a:pt x="4485" y="4266"/>
                </a:lnTo>
                <a:lnTo>
                  <a:pt x="4480" y="4275"/>
                </a:lnTo>
                <a:lnTo>
                  <a:pt x="4474" y="4283"/>
                </a:lnTo>
                <a:lnTo>
                  <a:pt x="4468" y="4292"/>
                </a:lnTo>
                <a:lnTo>
                  <a:pt x="4460" y="4305"/>
                </a:lnTo>
                <a:lnTo>
                  <a:pt x="4450" y="4322"/>
                </a:lnTo>
                <a:lnTo>
                  <a:pt x="4441" y="4339"/>
                </a:lnTo>
                <a:lnTo>
                  <a:pt x="4431" y="4355"/>
                </a:lnTo>
                <a:lnTo>
                  <a:pt x="4423" y="4369"/>
                </a:lnTo>
                <a:lnTo>
                  <a:pt x="4419" y="4375"/>
                </a:lnTo>
                <a:lnTo>
                  <a:pt x="4411" y="4383"/>
                </a:lnTo>
                <a:lnTo>
                  <a:pt x="4402" y="4392"/>
                </a:lnTo>
                <a:lnTo>
                  <a:pt x="4393" y="4400"/>
                </a:lnTo>
                <a:lnTo>
                  <a:pt x="4381" y="4409"/>
                </a:lnTo>
                <a:lnTo>
                  <a:pt x="4370" y="4416"/>
                </a:lnTo>
                <a:lnTo>
                  <a:pt x="4357" y="4422"/>
                </a:lnTo>
                <a:lnTo>
                  <a:pt x="4345" y="4426"/>
                </a:lnTo>
                <a:lnTo>
                  <a:pt x="4321" y="4431"/>
                </a:lnTo>
                <a:lnTo>
                  <a:pt x="4296" y="4434"/>
                </a:lnTo>
                <a:lnTo>
                  <a:pt x="4285" y="4435"/>
                </a:lnTo>
                <a:lnTo>
                  <a:pt x="4273" y="4437"/>
                </a:lnTo>
                <a:lnTo>
                  <a:pt x="4263" y="4439"/>
                </a:lnTo>
                <a:lnTo>
                  <a:pt x="4253" y="4443"/>
                </a:lnTo>
                <a:lnTo>
                  <a:pt x="4238" y="4448"/>
                </a:lnTo>
                <a:lnTo>
                  <a:pt x="4223" y="4453"/>
                </a:lnTo>
                <a:lnTo>
                  <a:pt x="4212" y="4455"/>
                </a:lnTo>
                <a:lnTo>
                  <a:pt x="4205" y="4457"/>
                </a:lnTo>
                <a:lnTo>
                  <a:pt x="4202" y="4458"/>
                </a:lnTo>
                <a:lnTo>
                  <a:pt x="4198" y="4459"/>
                </a:lnTo>
                <a:lnTo>
                  <a:pt x="4192" y="4459"/>
                </a:lnTo>
                <a:lnTo>
                  <a:pt x="4187" y="4458"/>
                </a:lnTo>
                <a:lnTo>
                  <a:pt x="4182" y="4456"/>
                </a:lnTo>
                <a:lnTo>
                  <a:pt x="4178" y="4454"/>
                </a:lnTo>
                <a:lnTo>
                  <a:pt x="4174" y="4452"/>
                </a:lnTo>
                <a:lnTo>
                  <a:pt x="4171" y="4447"/>
                </a:lnTo>
                <a:lnTo>
                  <a:pt x="4159" y="4430"/>
                </a:lnTo>
                <a:lnTo>
                  <a:pt x="4149" y="4417"/>
                </a:lnTo>
                <a:close/>
              </a:path>
            </a:pathLst>
          </a:custGeom>
          <a:gradFill flip="none" rotWithShape="1">
            <a:gsLst>
              <a:gs pos="100000">
                <a:schemeClr val="bg1">
                  <a:lumMod val="65000"/>
                </a:schemeClr>
              </a:gs>
              <a:gs pos="0">
                <a:schemeClr val="bg1">
                  <a:lumMod val="9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3175">
            <a:solidFill>
              <a:schemeClr val="bg1">
                <a:lumMod val="75000"/>
              </a:schemeClr>
            </a:solidFill>
          </a:ln>
          <a:effectLst>
            <a:outerShdw dist="25400" dir="5400000" algn="t" rotWithShape="0">
              <a:prstClr val="black">
                <a:alpha val="7000"/>
              </a:prstClr>
            </a:outerShdw>
          </a:effectLst>
          <a:scene3d>
            <a:camera prst="orthographicFront"/>
            <a:lightRig rig="threePt" dir="t"/>
          </a:scene3d>
          <a:sp3d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6" name="Group 71"/>
          <p:cNvGrpSpPr>
            <a:grpSpLocks/>
          </p:cNvGrpSpPr>
          <p:nvPr/>
        </p:nvGrpSpPr>
        <p:grpSpPr bwMode="auto">
          <a:xfrm>
            <a:off x="2872789" y="1953840"/>
            <a:ext cx="262233" cy="330669"/>
            <a:chOff x="4212399" y="2500313"/>
            <a:chExt cx="975551" cy="1435364"/>
          </a:xfrm>
        </p:grpSpPr>
        <p:grpSp>
          <p:nvGrpSpPr>
            <p:cNvPr id="7" name="Group 72"/>
            <p:cNvGrpSpPr>
              <a:grpSpLocks/>
            </p:cNvGrpSpPr>
            <p:nvPr/>
          </p:nvGrpSpPr>
          <p:grpSpPr bwMode="auto">
            <a:xfrm>
              <a:off x="4212399" y="3437110"/>
              <a:ext cx="498086" cy="498567"/>
              <a:chOff x="5627209" y="1515183"/>
              <a:chExt cx="498086" cy="498567"/>
            </a:xfrm>
          </p:grpSpPr>
          <p:sp>
            <p:nvSpPr>
              <p:cNvPr id="12" name="Oval 199"/>
              <p:cNvSpPr>
                <a:spLocks noChangeArrowheads="1"/>
              </p:cNvSpPr>
              <p:nvPr/>
            </p:nvSpPr>
            <p:spPr bwMode="auto">
              <a:xfrm>
                <a:off x="5627209" y="1515183"/>
                <a:ext cx="498086" cy="498567"/>
              </a:xfrm>
              <a:prstGeom prst="ellipse">
                <a:avLst/>
              </a:prstGeom>
              <a:gradFill rotWithShape="0">
                <a:gsLst>
                  <a:gs pos="0">
                    <a:schemeClr val="bg1"/>
                  </a:gs>
                  <a:gs pos="100000">
                    <a:srgbClr val="D9D9D9"/>
                  </a:gs>
                </a:gsLst>
                <a:lin ang="5400000"/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  <a:effectLst>
                <a:outerShdw blurRad="63500" sx="102000" sy="102000" algn="ctr" rotWithShape="0">
                  <a:srgbClr val="000000">
                    <a:alpha val="39999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nb-NO">
                  <a:solidFill>
                    <a:srgbClr val="FFFFFF"/>
                  </a:solidFill>
                  <a:latin typeface="Calibri" charset="0"/>
                </a:endParaRPr>
              </a:p>
            </p:txBody>
          </p:sp>
          <p:sp>
            <p:nvSpPr>
              <p:cNvPr id="13" name="Oval 200"/>
              <p:cNvSpPr/>
              <p:nvPr/>
            </p:nvSpPr>
            <p:spPr>
              <a:xfrm>
                <a:off x="5765213" y="1650145"/>
                <a:ext cx="228422" cy="228642"/>
              </a:xfrm>
              <a:prstGeom prst="ellipse">
                <a:avLst/>
              </a:prstGeom>
              <a:solidFill>
                <a:srgbClr val="CE202A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</p:grpSp>
        <p:sp>
          <p:nvSpPr>
            <p:cNvPr id="8" name="Freeform 57"/>
            <p:cNvSpPr>
              <a:spLocks/>
            </p:cNvSpPr>
            <p:nvPr/>
          </p:nvSpPr>
          <p:spPr bwMode="auto">
            <a:xfrm rot="15813706" flipH="1" flipV="1">
              <a:off x="4658809" y="3157252"/>
              <a:ext cx="255634" cy="802649"/>
            </a:xfrm>
            <a:custGeom>
              <a:avLst/>
              <a:gdLst/>
              <a:ahLst/>
              <a:cxnLst>
                <a:cxn ang="0">
                  <a:pos x="1431" y="75"/>
                </a:cxn>
                <a:cxn ang="0">
                  <a:pos x="1720" y="15"/>
                </a:cxn>
                <a:cxn ang="0">
                  <a:pos x="2010" y="0"/>
                </a:cxn>
                <a:cxn ang="0">
                  <a:pos x="2296" y="27"/>
                </a:cxn>
                <a:cxn ang="0">
                  <a:pos x="2573" y="93"/>
                </a:cxn>
                <a:cxn ang="0">
                  <a:pos x="2838" y="199"/>
                </a:cxn>
                <a:cxn ang="0">
                  <a:pos x="3086" y="341"/>
                </a:cxn>
                <a:cxn ang="0">
                  <a:pos x="3310" y="517"/>
                </a:cxn>
                <a:cxn ang="0">
                  <a:pos x="3509" y="727"/>
                </a:cxn>
                <a:cxn ang="0">
                  <a:pos x="3677" y="968"/>
                </a:cxn>
                <a:cxn ang="0">
                  <a:pos x="3811" y="1239"/>
                </a:cxn>
                <a:cxn ang="0">
                  <a:pos x="3856" y="1364"/>
                </a:cxn>
                <a:cxn ang="0">
                  <a:pos x="3893" y="1490"/>
                </a:cxn>
                <a:cxn ang="0">
                  <a:pos x="3920" y="1617"/>
                </a:cxn>
                <a:cxn ang="0">
                  <a:pos x="3940" y="1744"/>
                </a:cxn>
                <a:cxn ang="0">
                  <a:pos x="3950" y="1871"/>
                </a:cxn>
                <a:cxn ang="0">
                  <a:pos x="3953" y="1998"/>
                </a:cxn>
                <a:cxn ang="0">
                  <a:pos x="3947" y="2123"/>
                </a:cxn>
                <a:cxn ang="0">
                  <a:pos x="3933" y="2249"/>
                </a:cxn>
                <a:cxn ang="0">
                  <a:pos x="3912" y="2372"/>
                </a:cxn>
                <a:cxn ang="0">
                  <a:pos x="3882" y="2494"/>
                </a:cxn>
                <a:cxn ang="0">
                  <a:pos x="3809" y="2742"/>
                </a:cxn>
                <a:cxn ang="0">
                  <a:pos x="3693" y="3249"/>
                </a:cxn>
                <a:cxn ang="0">
                  <a:pos x="3626" y="3756"/>
                </a:cxn>
                <a:cxn ang="0">
                  <a:pos x="3605" y="4264"/>
                </a:cxn>
                <a:cxn ang="0">
                  <a:pos x="3623" y="4770"/>
                </a:cxn>
                <a:cxn ang="0">
                  <a:pos x="3675" y="5276"/>
                </a:cxn>
                <a:cxn ang="0">
                  <a:pos x="3758" y="5780"/>
                </a:cxn>
                <a:cxn ang="0">
                  <a:pos x="3864" y="6282"/>
                </a:cxn>
                <a:cxn ang="0">
                  <a:pos x="3991" y="6781"/>
                </a:cxn>
                <a:cxn ang="0">
                  <a:pos x="4130" y="7278"/>
                </a:cxn>
                <a:cxn ang="0">
                  <a:pos x="4279" y="7771"/>
                </a:cxn>
                <a:cxn ang="0">
                  <a:pos x="4318" y="7913"/>
                </a:cxn>
                <a:cxn ang="0">
                  <a:pos x="4192" y="7656"/>
                </a:cxn>
                <a:cxn ang="0">
                  <a:pos x="3944" y="7179"/>
                </a:cxn>
                <a:cxn ang="0">
                  <a:pos x="3689" y="6718"/>
                </a:cxn>
                <a:cxn ang="0">
                  <a:pos x="3382" y="6202"/>
                </a:cxn>
                <a:cxn ang="0">
                  <a:pos x="3034" y="5663"/>
                </a:cxn>
                <a:cxn ang="0">
                  <a:pos x="2648" y="5130"/>
                </a:cxn>
                <a:cxn ang="0">
                  <a:pos x="2235" y="4634"/>
                </a:cxn>
                <a:cxn ang="0">
                  <a:pos x="1800" y="4206"/>
                </a:cxn>
                <a:cxn ang="0">
                  <a:pos x="1352" y="3875"/>
                </a:cxn>
                <a:cxn ang="0">
                  <a:pos x="1117" y="3749"/>
                </a:cxn>
                <a:cxn ang="0">
                  <a:pos x="993" y="3677"/>
                </a:cxn>
                <a:cxn ang="0">
                  <a:pos x="873" y="3600"/>
                </a:cxn>
                <a:cxn ang="0">
                  <a:pos x="758" y="3514"/>
                </a:cxn>
                <a:cxn ang="0">
                  <a:pos x="648" y="3422"/>
                </a:cxn>
                <a:cxn ang="0">
                  <a:pos x="544" y="3323"/>
                </a:cxn>
                <a:cxn ang="0">
                  <a:pos x="447" y="3217"/>
                </a:cxn>
                <a:cxn ang="0">
                  <a:pos x="357" y="3103"/>
                </a:cxn>
                <a:cxn ang="0">
                  <a:pos x="276" y="2980"/>
                </a:cxn>
                <a:cxn ang="0">
                  <a:pos x="204" y="2851"/>
                </a:cxn>
                <a:cxn ang="0">
                  <a:pos x="142" y="2713"/>
                </a:cxn>
                <a:cxn ang="0">
                  <a:pos x="51" y="2425"/>
                </a:cxn>
                <a:cxn ang="0">
                  <a:pos x="6" y="2136"/>
                </a:cxn>
                <a:cxn ang="0">
                  <a:pos x="4" y="1846"/>
                </a:cxn>
                <a:cxn ang="0">
                  <a:pos x="45" y="1562"/>
                </a:cxn>
                <a:cxn ang="0">
                  <a:pos x="124" y="1289"/>
                </a:cxn>
                <a:cxn ang="0">
                  <a:pos x="243" y="1029"/>
                </a:cxn>
                <a:cxn ang="0">
                  <a:pos x="397" y="790"/>
                </a:cxn>
                <a:cxn ang="0">
                  <a:pos x="585" y="572"/>
                </a:cxn>
                <a:cxn ang="0">
                  <a:pos x="805" y="384"/>
                </a:cxn>
                <a:cxn ang="0">
                  <a:pos x="1056" y="227"/>
                </a:cxn>
              </a:cxnLst>
              <a:rect l="0" t="0" r="r" b="b"/>
              <a:pathLst>
                <a:path w="4330" h="7934">
                  <a:moveTo>
                    <a:pt x="1240" y="142"/>
                  </a:moveTo>
                  <a:lnTo>
                    <a:pt x="1335" y="106"/>
                  </a:lnTo>
                  <a:lnTo>
                    <a:pt x="1431" y="75"/>
                  </a:lnTo>
                  <a:lnTo>
                    <a:pt x="1526" y="51"/>
                  </a:lnTo>
                  <a:lnTo>
                    <a:pt x="1623" y="31"/>
                  </a:lnTo>
                  <a:lnTo>
                    <a:pt x="1720" y="15"/>
                  </a:lnTo>
                  <a:lnTo>
                    <a:pt x="1817" y="5"/>
                  </a:lnTo>
                  <a:lnTo>
                    <a:pt x="1914" y="0"/>
                  </a:lnTo>
                  <a:lnTo>
                    <a:pt x="2010" y="0"/>
                  </a:lnTo>
                  <a:lnTo>
                    <a:pt x="2106" y="4"/>
                  </a:lnTo>
                  <a:lnTo>
                    <a:pt x="2202" y="13"/>
                  </a:lnTo>
                  <a:lnTo>
                    <a:pt x="2296" y="27"/>
                  </a:lnTo>
                  <a:lnTo>
                    <a:pt x="2390" y="44"/>
                  </a:lnTo>
                  <a:lnTo>
                    <a:pt x="2483" y="66"/>
                  </a:lnTo>
                  <a:lnTo>
                    <a:pt x="2573" y="93"/>
                  </a:lnTo>
                  <a:lnTo>
                    <a:pt x="2663" y="124"/>
                  </a:lnTo>
                  <a:lnTo>
                    <a:pt x="2752" y="159"/>
                  </a:lnTo>
                  <a:lnTo>
                    <a:pt x="2838" y="199"/>
                  </a:lnTo>
                  <a:lnTo>
                    <a:pt x="2922" y="242"/>
                  </a:lnTo>
                  <a:lnTo>
                    <a:pt x="3005" y="290"/>
                  </a:lnTo>
                  <a:lnTo>
                    <a:pt x="3086" y="341"/>
                  </a:lnTo>
                  <a:lnTo>
                    <a:pt x="3163" y="396"/>
                  </a:lnTo>
                  <a:lnTo>
                    <a:pt x="3238" y="455"/>
                  </a:lnTo>
                  <a:lnTo>
                    <a:pt x="3310" y="517"/>
                  </a:lnTo>
                  <a:lnTo>
                    <a:pt x="3379" y="585"/>
                  </a:lnTo>
                  <a:lnTo>
                    <a:pt x="3446" y="654"/>
                  </a:lnTo>
                  <a:lnTo>
                    <a:pt x="3509" y="727"/>
                  </a:lnTo>
                  <a:lnTo>
                    <a:pt x="3569" y="805"/>
                  </a:lnTo>
                  <a:lnTo>
                    <a:pt x="3625" y="885"/>
                  </a:lnTo>
                  <a:lnTo>
                    <a:pt x="3677" y="968"/>
                  </a:lnTo>
                  <a:lnTo>
                    <a:pt x="3726" y="1056"/>
                  </a:lnTo>
                  <a:lnTo>
                    <a:pt x="3770" y="1146"/>
                  </a:lnTo>
                  <a:lnTo>
                    <a:pt x="3811" y="1239"/>
                  </a:lnTo>
                  <a:lnTo>
                    <a:pt x="3826" y="1280"/>
                  </a:lnTo>
                  <a:lnTo>
                    <a:pt x="3842" y="1322"/>
                  </a:lnTo>
                  <a:lnTo>
                    <a:pt x="3856" y="1364"/>
                  </a:lnTo>
                  <a:lnTo>
                    <a:pt x="3869" y="1406"/>
                  </a:lnTo>
                  <a:lnTo>
                    <a:pt x="3881" y="1448"/>
                  </a:lnTo>
                  <a:lnTo>
                    <a:pt x="3893" y="1490"/>
                  </a:lnTo>
                  <a:lnTo>
                    <a:pt x="3903" y="1533"/>
                  </a:lnTo>
                  <a:lnTo>
                    <a:pt x="3912" y="1574"/>
                  </a:lnTo>
                  <a:lnTo>
                    <a:pt x="3920" y="1617"/>
                  </a:lnTo>
                  <a:lnTo>
                    <a:pt x="3927" y="1659"/>
                  </a:lnTo>
                  <a:lnTo>
                    <a:pt x="3935" y="1702"/>
                  </a:lnTo>
                  <a:lnTo>
                    <a:pt x="3940" y="1744"/>
                  </a:lnTo>
                  <a:lnTo>
                    <a:pt x="3944" y="1787"/>
                  </a:lnTo>
                  <a:lnTo>
                    <a:pt x="3948" y="1828"/>
                  </a:lnTo>
                  <a:lnTo>
                    <a:pt x="3950" y="1871"/>
                  </a:lnTo>
                  <a:lnTo>
                    <a:pt x="3952" y="1913"/>
                  </a:lnTo>
                  <a:lnTo>
                    <a:pt x="3953" y="1956"/>
                  </a:lnTo>
                  <a:lnTo>
                    <a:pt x="3953" y="1998"/>
                  </a:lnTo>
                  <a:lnTo>
                    <a:pt x="3952" y="2040"/>
                  </a:lnTo>
                  <a:lnTo>
                    <a:pt x="3950" y="2081"/>
                  </a:lnTo>
                  <a:lnTo>
                    <a:pt x="3947" y="2123"/>
                  </a:lnTo>
                  <a:lnTo>
                    <a:pt x="3944" y="2165"/>
                  </a:lnTo>
                  <a:lnTo>
                    <a:pt x="3939" y="2207"/>
                  </a:lnTo>
                  <a:lnTo>
                    <a:pt x="3933" y="2249"/>
                  </a:lnTo>
                  <a:lnTo>
                    <a:pt x="3927" y="2290"/>
                  </a:lnTo>
                  <a:lnTo>
                    <a:pt x="3920" y="2331"/>
                  </a:lnTo>
                  <a:lnTo>
                    <a:pt x="3912" y="2372"/>
                  </a:lnTo>
                  <a:lnTo>
                    <a:pt x="3903" y="2413"/>
                  </a:lnTo>
                  <a:lnTo>
                    <a:pt x="3894" y="2453"/>
                  </a:lnTo>
                  <a:lnTo>
                    <a:pt x="3882" y="2494"/>
                  </a:lnTo>
                  <a:lnTo>
                    <a:pt x="3871" y="2533"/>
                  </a:lnTo>
                  <a:lnTo>
                    <a:pt x="3859" y="2573"/>
                  </a:lnTo>
                  <a:lnTo>
                    <a:pt x="3809" y="2742"/>
                  </a:lnTo>
                  <a:lnTo>
                    <a:pt x="3764" y="2911"/>
                  </a:lnTo>
                  <a:lnTo>
                    <a:pt x="3725" y="3080"/>
                  </a:lnTo>
                  <a:lnTo>
                    <a:pt x="3693" y="3249"/>
                  </a:lnTo>
                  <a:lnTo>
                    <a:pt x="3665" y="3418"/>
                  </a:lnTo>
                  <a:lnTo>
                    <a:pt x="3644" y="3587"/>
                  </a:lnTo>
                  <a:lnTo>
                    <a:pt x="3626" y="3756"/>
                  </a:lnTo>
                  <a:lnTo>
                    <a:pt x="3614" y="3925"/>
                  </a:lnTo>
                  <a:lnTo>
                    <a:pt x="3607" y="4095"/>
                  </a:lnTo>
                  <a:lnTo>
                    <a:pt x="3605" y="4264"/>
                  </a:lnTo>
                  <a:lnTo>
                    <a:pt x="3607" y="4432"/>
                  </a:lnTo>
                  <a:lnTo>
                    <a:pt x="3613" y="4602"/>
                  </a:lnTo>
                  <a:lnTo>
                    <a:pt x="3623" y="4770"/>
                  </a:lnTo>
                  <a:lnTo>
                    <a:pt x="3637" y="4939"/>
                  </a:lnTo>
                  <a:lnTo>
                    <a:pt x="3655" y="5108"/>
                  </a:lnTo>
                  <a:lnTo>
                    <a:pt x="3675" y="5276"/>
                  </a:lnTo>
                  <a:lnTo>
                    <a:pt x="3700" y="5444"/>
                  </a:lnTo>
                  <a:lnTo>
                    <a:pt x="3727" y="5613"/>
                  </a:lnTo>
                  <a:lnTo>
                    <a:pt x="3758" y="5780"/>
                  </a:lnTo>
                  <a:lnTo>
                    <a:pt x="3791" y="5947"/>
                  </a:lnTo>
                  <a:lnTo>
                    <a:pt x="3826" y="6115"/>
                  </a:lnTo>
                  <a:lnTo>
                    <a:pt x="3864" y="6282"/>
                  </a:lnTo>
                  <a:lnTo>
                    <a:pt x="3905" y="6448"/>
                  </a:lnTo>
                  <a:lnTo>
                    <a:pt x="3947" y="6616"/>
                  </a:lnTo>
                  <a:lnTo>
                    <a:pt x="3991" y="6781"/>
                  </a:lnTo>
                  <a:lnTo>
                    <a:pt x="4036" y="6947"/>
                  </a:lnTo>
                  <a:lnTo>
                    <a:pt x="4082" y="7113"/>
                  </a:lnTo>
                  <a:lnTo>
                    <a:pt x="4130" y="7278"/>
                  </a:lnTo>
                  <a:lnTo>
                    <a:pt x="4179" y="7442"/>
                  </a:lnTo>
                  <a:lnTo>
                    <a:pt x="4229" y="7606"/>
                  </a:lnTo>
                  <a:lnTo>
                    <a:pt x="4279" y="7771"/>
                  </a:lnTo>
                  <a:lnTo>
                    <a:pt x="4330" y="7934"/>
                  </a:lnTo>
                  <a:lnTo>
                    <a:pt x="4329" y="7933"/>
                  </a:lnTo>
                  <a:lnTo>
                    <a:pt x="4318" y="7913"/>
                  </a:lnTo>
                  <a:lnTo>
                    <a:pt x="4299" y="7873"/>
                  </a:lnTo>
                  <a:lnTo>
                    <a:pt x="4271" y="7817"/>
                  </a:lnTo>
                  <a:lnTo>
                    <a:pt x="4192" y="7656"/>
                  </a:lnTo>
                  <a:lnTo>
                    <a:pt x="4081" y="7441"/>
                  </a:lnTo>
                  <a:lnTo>
                    <a:pt x="4016" y="7316"/>
                  </a:lnTo>
                  <a:lnTo>
                    <a:pt x="3944" y="7179"/>
                  </a:lnTo>
                  <a:lnTo>
                    <a:pt x="3864" y="7033"/>
                  </a:lnTo>
                  <a:lnTo>
                    <a:pt x="3779" y="6879"/>
                  </a:lnTo>
                  <a:lnTo>
                    <a:pt x="3689" y="6718"/>
                  </a:lnTo>
                  <a:lnTo>
                    <a:pt x="3592" y="6550"/>
                  </a:lnTo>
                  <a:lnTo>
                    <a:pt x="3490" y="6378"/>
                  </a:lnTo>
                  <a:lnTo>
                    <a:pt x="3382" y="6202"/>
                  </a:lnTo>
                  <a:lnTo>
                    <a:pt x="3270" y="6024"/>
                  </a:lnTo>
                  <a:lnTo>
                    <a:pt x="3154" y="5843"/>
                  </a:lnTo>
                  <a:lnTo>
                    <a:pt x="3034" y="5663"/>
                  </a:lnTo>
                  <a:lnTo>
                    <a:pt x="2908" y="5483"/>
                  </a:lnTo>
                  <a:lnTo>
                    <a:pt x="2780" y="5305"/>
                  </a:lnTo>
                  <a:lnTo>
                    <a:pt x="2648" y="5130"/>
                  </a:lnTo>
                  <a:lnTo>
                    <a:pt x="2513" y="4960"/>
                  </a:lnTo>
                  <a:lnTo>
                    <a:pt x="2375" y="4793"/>
                  </a:lnTo>
                  <a:lnTo>
                    <a:pt x="2235" y="4634"/>
                  </a:lnTo>
                  <a:lnTo>
                    <a:pt x="2092" y="4482"/>
                  </a:lnTo>
                  <a:lnTo>
                    <a:pt x="1947" y="4339"/>
                  </a:lnTo>
                  <a:lnTo>
                    <a:pt x="1800" y="4206"/>
                  </a:lnTo>
                  <a:lnTo>
                    <a:pt x="1652" y="4083"/>
                  </a:lnTo>
                  <a:lnTo>
                    <a:pt x="1503" y="3973"/>
                  </a:lnTo>
                  <a:lnTo>
                    <a:pt x="1352" y="3875"/>
                  </a:lnTo>
                  <a:lnTo>
                    <a:pt x="1201" y="3792"/>
                  </a:lnTo>
                  <a:lnTo>
                    <a:pt x="1159" y="3771"/>
                  </a:lnTo>
                  <a:lnTo>
                    <a:pt x="1117" y="3749"/>
                  </a:lnTo>
                  <a:lnTo>
                    <a:pt x="1075" y="3725"/>
                  </a:lnTo>
                  <a:lnTo>
                    <a:pt x="1034" y="3702"/>
                  </a:lnTo>
                  <a:lnTo>
                    <a:pt x="993" y="3677"/>
                  </a:lnTo>
                  <a:lnTo>
                    <a:pt x="953" y="3652"/>
                  </a:lnTo>
                  <a:lnTo>
                    <a:pt x="912" y="3626"/>
                  </a:lnTo>
                  <a:lnTo>
                    <a:pt x="873" y="3600"/>
                  </a:lnTo>
                  <a:lnTo>
                    <a:pt x="834" y="3572"/>
                  </a:lnTo>
                  <a:lnTo>
                    <a:pt x="796" y="3544"/>
                  </a:lnTo>
                  <a:lnTo>
                    <a:pt x="758" y="3514"/>
                  </a:lnTo>
                  <a:lnTo>
                    <a:pt x="720" y="3484"/>
                  </a:lnTo>
                  <a:lnTo>
                    <a:pt x="684" y="3454"/>
                  </a:lnTo>
                  <a:lnTo>
                    <a:pt x="648" y="3422"/>
                  </a:lnTo>
                  <a:lnTo>
                    <a:pt x="612" y="3390"/>
                  </a:lnTo>
                  <a:lnTo>
                    <a:pt x="577" y="3357"/>
                  </a:lnTo>
                  <a:lnTo>
                    <a:pt x="544" y="3323"/>
                  </a:lnTo>
                  <a:lnTo>
                    <a:pt x="511" y="3288"/>
                  </a:lnTo>
                  <a:lnTo>
                    <a:pt x="479" y="3253"/>
                  </a:lnTo>
                  <a:lnTo>
                    <a:pt x="447" y="3217"/>
                  </a:lnTo>
                  <a:lnTo>
                    <a:pt x="416" y="3179"/>
                  </a:lnTo>
                  <a:lnTo>
                    <a:pt x="387" y="3142"/>
                  </a:lnTo>
                  <a:lnTo>
                    <a:pt x="357" y="3103"/>
                  </a:lnTo>
                  <a:lnTo>
                    <a:pt x="330" y="3063"/>
                  </a:lnTo>
                  <a:lnTo>
                    <a:pt x="302" y="3022"/>
                  </a:lnTo>
                  <a:lnTo>
                    <a:pt x="276" y="2980"/>
                  </a:lnTo>
                  <a:lnTo>
                    <a:pt x="251" y="2938"/>
                  </a:lnTo>
                  <a:lnTo>
                    <a:pt x="227" y="2895"/>
                  </a:lnTo>
                  <a:lnTo>
                    <a:pt x="204" y="2851"/>
                  </a:lnTo>
                  <a:lnTo>
                    <a:pt x="183" y="2806"/>
                  </a:lnTo>
                  <a:lnTo>
                    <a:pt x="162" y="2760"/>
                  </a:lnTo>
                  <a:lnTo>
                    <a:pt x="142" y="2713"/>
                  </a:lnTo>
                  <a:lnTo>
                    <a:pt x="107" y="2618"/>
                  </a:lnTo>
                  <a:lnTo>
                    <a:pt x="76" y="2522"/>
                  </a:lnTo>
                  <a:lnTo>
                    <a:pt x="51" y="2425"/>
                  </a:lnTo>
                  <a:lnTo>
                    <a:pt x="32" y="2329"/>
                  </a:lnTo>
                  <a:lnTo>
                    <a:pt x="16" y="2232"/>
                  </a:lnTo>
                  <a:lnTo>
                    <a:pt x="6" y="2136"/>
                  </a:lnTo>
                  <a:lnTo>
                    <a:pt x="1" y="2039"/>
                  </a:lnTo>
                  <a:lnTo>
                    <a:pt x="0" y="1942"/>
                  </a:lnTo>
                  <a:lnTo>
                    <a:pt x="4" y="1846"/>
                  </a:lnTo>
                  <a:lnTo>
                    <a:pt x="13" y="1751"/>
                  </a:lnTo>
                  <a:lnTo>
                    <a:pt x="26" y="1656"/>
                  </a:lnTo>
                  <a:lnTo>
                    <a:pt x="45" y="1562"/>
                  </a:lnTo>
                  <a:lnTo>
                    <a:pt x="67" y="1470"/>
                  </a:lnTo>
                  <a:lnTo>
                    <a:pt x="94" y="1378"/>
                  </a:lnTo>
                  <a:lnTo>
                    <a:pt x="124" y="1289"/>
                  </a:lnTo>
                  <a:lnTo>
                    <a:pt x="160" y="1201"/>
                  </a:lnTo>
                  <a:lnTo>
                    <a:pt x="199" y="1114"/>
                  </a:lnTo>
                  <a:lnTo>
                    <a:pt x="243" y="1029"/>
                  </a:lnTo>
                  <a:lnTo>
                    <a:pt x="290" y="947"/>
                  </a:lnTo>
                  <a:lnTo>
                    <a:pt x="341" y="867"/>
                  </a:lnTo>
                  <a:lnTo>
                    <a:pt x="397" y="790"/>
                  </a:lnTo>
                  <a:lnTo>
                    <a:pt x="455" y="714"/>
                  </a:lnTo>
                  <a:lnTo>
                    <a:pt x="518" y="642"/>
                  </a:lnTo>
                  <a:lnTo>
                    <a:pt x="585" y="572"/>
                  </a:lnTo>
                  <a:lnTo>
                    <a:pt x="655" y="506"/>
                  </a:lnTo>
                  <a:lnTo>
                    <a:pt x="728" y="443"/>
                  </a:lnTo>
                  <a:lnTo>
                    <a:pt x="805" y="384"/>
                  </a:lnTo>
                  <a:lnTo>
                    <a:pt x="886" y="328"/>
                  </a:lnTo>
                  <a:lnTo>
                    <a:pt x="969" y="274"/>
                  </a:lnTo>
                  <a:lnTo>
                    <a:pt x="1056" y="227"/>
                  </a:lnTo>
                  <a:lnTo>
                    <a:pt x="1146" y="182"/>
                  </a:lnTo>
                  <a:lnTo>
                    <a:pt x="1240" y="142"/>
                  </a:lnTo>
                  <a:close/>
                </a:path>
              </a:pathLst>
            </a:custGeom>
            <a:solidFill>
              <a:schemeClr val="bg1">
                <a:lumMod val="50000"/>
                <a:alpha val="2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nb-NO">
                <a:latin typeface="Calibri" charset="0"/>
              </a:endParaRPr>
            </a:p>
          </p:txBody>
        </p:sp>
        <p:grpSp>
          <p:nvGrpSpPr>
            <p:cNvPr id="9" name="Group 133"/>
            <p:cNvGrpSpPr>
              <a:grpSpLocks/>
            </p:cNvGrpSpPr>
            <p:nvPr/>
          </p:nvGrpSpPr>
          <p:grpSpPr bwMode="auto">
            <a:xfrm flipH="1">
              <a:off x="4436064" y="2500313"/>
              <a:ext cx="650367" cy="1241653"/>
              <a:chOff x="7000949" y="2143116"/>
              <a:chExt cx="999336" cy="1834351"/>
            </a:xfrm>
          </p:grpSpPr>
          <p:sp>
            <p:nvSpPr>
              <p:cNvPr id="10" name="Freeform 57"/>
              <p:cNvSpPr>
                <a:spLocks/>
              </p:cNvSpPr>
              <p:nvPr/>
            </p:nvSpPr>
            <p:spPr bwMode="auto">
              <a:xfrm>
                <a:off x="7000949" y="2143116"/>
                <a:ext cx="999336" cy="1834351"/>
              </a:xfrm>
              <a:custGeom>
                <a:avLst/>
                <a:gdLst/>
                <a:ahLst/>
                <a:cxnLst>
                  <a:cxn ang="0">
                    <a:pos x="1431" y="75"/>
                  </a:cxn>
                  <a:cxn ang="0">
                    <a:pos x="1720" y="15"/>
                  </a:cxn>
                  <a:cxn ang="0">
                    <a:pos x="2010" y="0"/>
                  </a:cxn>
                  <a:cxn ang="0">
                    <a:pos x="2296" y="27"/>
                  </a:cxn>
                  <a:cxn ang="0">
                    <a:pos x="2573" y="93"/>
                  </a:cxn>
                  <a:cxn ang="0">
                    <a:pos x="2838" y="199"/>
                  </a:cxn>
                  <a:cxn ang="0">
                    <a:pos x="3086" y="341"/>
                  </a:cxn>
                  <a:cxn ang="0">
                    <a:pos x="3310" y="517"/>
                  </a:cxn>
                  <a:cxn ang="0">
                    <a:pos x="3509" y="727"/>
                  </a:cxn>
                  <a:cxn ang="0">
                    <a:pos x="3677" y="968"/>
                  </a:cxn>
                  <a:cxn ang="0">
                    <a:pos x="3811" y="1239"/>
                  </a:cxn>
                  <a:cxn ang="0">
                    <a:pos x="3856" y="1364"/>
                  </a:cxn>
                  <a:cxn ang="0">
                    <a:pos x="3893" y="1490"/>
                  </a:cxn>
                  <a:cxn ang="0">
                    <a:pos x="3920" y="1617"/>
                  </a:cxn>
                  <a:cxn ang="0">
                    <a:pos x="3940" y="1744"/>
                  </a:cxn>
                  <a:cxn ang="0">
                    <a:pos x="3950" y="1871"/>
                  </a:cxn>
                  <a:cxn ang="0">
                    <a:pos x="3953" y="1998"/>
                  </a:cxn>
                  <a:cxn ang="0">
                    <a:pos x="3947" y="2123"/>
                  </a:cxn>
                  <a:cxn ang="0">
                    <a:pos x="3933" y="2249"/>
                  </a:cxn>
                  <a:cxn ang="0">
                    <a:pos x="3912" y="2372"/>
                  </a:cxn>
                  <a:cxn ang="0">
                    <a:pos x="3882" y="2494"/>
                  </a:cxn>
                  <a:cxn ang="0">
                    <a:pos x="3809" y="2742"/>
                  </a:cxn>
                  <a:cxn ang="0">
                    <a:pos x="3693" y="3249"/>
                  </a:cxn>
                  <a:cxn ang="0">
                    <a:pos x="3626" y="3756"/>
                  </a:cxn>
                  <a:cxn ang="0">
                    <a:pos x="3605" y="4264"/>
                  </a:cxn>
                  <a:cxn ang="0">
                    <a:pos x="3623" y="4770"/>
                  </a:cxn>
                  <a:cxn ang="0">
                    <a:pos x="3675" y="5276"/>
                  </a:cxn>
                  <a:cxn ang="0">
                    <a:pos x="3758" y="5780"/>
                  </a:cxn>
                  <a:cxn ang="0">
                    <a:pos x="3864" y="6282"/>
                  </a:cxn>
                  <a:cxn ang="0">
                    <a:pos x="3991" y="6781"/>
                  </a:cxn>
                  <a:cxn ang="0">
                    <a:pos x="4130" y="7278"/>
                  </a:cxn>
                  <a:cxn ang="0">
                    <a:pos x="4279" y="7771"/>
                  </a:cxn>
                  <a:cxn ang="0">
                    <a:pos x="4318" y="7913"/>
                  </a:cxn>
                  <a:cxn ang="0">
                    <a:pos x="4192" y="7656"/>
                  </a:cxn>
                  <a:cxn ang="0">
                    <a:pos x="3944" y="7179"/>
                  </a:cxn>
                  <a:cxn ang="0">
                    <a:pos x="3689" y="6718"/>
                  </a:cxn>
                  <a:cxn ang="0">
                    <a:pos x="3382" y="6202"/>
                  </a:cxn>
                  <a:cxn ang="0">
                    <a:pos x="3034" y="5663"/>
                  </a:cxn>
                  <a:cxn ang="0">
                    <a:pos x="2648" y="5130"/>
                  </a:cxn>
                  <a:cxn ang="0">
                    <a:pos x="2235" y="4634"/>
                  </a:cxn>
                  <a:cxn ang="0">
                    <a:pos x="1800" y="4206"/>
                  </a:cxn>
                  <a:cxn ang="0">
                    <a:pos x="1352" y="3875"/>
                  </a:cxn>
                  <a:cxn ang="0">
                    <a:pos x="1117" y="3749"/>
                  </a:cxn>
                  <a:cxn ang="0">
                    <a:pos x="993" y="3677"/>
                  </a:cxn>
                  <a:cxn ang="0">
                    <a:pos x="873" y="3600"/>
                  </a:cxn>
                  <a:cxn ang="0">
                    <a:pos x="758" y="3514"/>
                  </a:cxn>
                  <a:cxn ang="0">
                    <a:pos x="648" y="3422"/>
                  </a:cxn>
                  <a:cxn ang="0">
                    <a:pos x="544" y="3323"/>
                  </a:cxn>
                  <a:cxn ang="0">
                    <a:pos x="447" y="3217"/>
                  </a:cxn>
                  <a:cxn ang="0">
                    <a:pos x="357" y="3103"/>
                  </a:cxn>
                  <a:cxn ang="0">
                    <a:pos x="276" y="2980"/>
                  </a:cxn>
                  <a:cxn ang="0">
                    <a:pos x="204" y="2851"/>
                  </a:cxn>
                  <a:cxn ang="0">
                    <a:pos x="142" y="2713"/>
                  </a:cxn>
                  <a:cxn ang="0">
                    <a:pos x="51" y="2425"/>
                  </a:cxn>
                  <a:cxn ang="0">
                    <a:pos x="6" y="2136"/>
                  </a:cxn>
                  <a:cxn ang="0">
                    <a:pos x="4" y="1846"/>
                  </a:cxn>
                  <a:cxn ang="0">
                    <a:pos x="45" y="1562"/>
                  </a:cxn>
                  <a:cxn ang="0">
                    <a:pos x="124" y="1289"/>
                  </a:cxn>
                  <a:cxn ang="0">
                    <a:pos x="243" y="1029"/>
                  </a:cxn>
                  <a:cxn ang="0">
                    <a:pos x="397" y="790"/>
                  </a:cxn>
                  <a:cxn ang="0">
                    <a:pos x="585" y="572"/>
                  </a:cxn>
                  <a:cxn ang="0">
                    <a:pos x="805" y="384"/>
                  </a:cxn>
                  <a:cxn ang="0">
                    <a:pos x="1056" y="227"/>
                  </a:cxn>
                </a:cxnLst>
                <a:rect l="0" t="0" r="r" b="b"/>
                <a:pathLst>
                  <a:path w="4330" h="7934">
                    <a:moveTo>
                      <a:pt x="1240" y="142"/>
                    </a:moveTo>
                    <a:lnTo>
                      <a:pt x="1335" y="106"/>
                    </a:lnTo>
                    <a:lnTo>
                      <a:pt x="1431" y="75"/>
                    </a:lnTo>
                    <a:lnTo>
                      <a:pt x="1526" y="51"/>
                    </a:lnTo>
                    <a:lnTo>
                      <a:pt x="1623" y="31"/>
                    </a:lnTo>
                    <a:lnTo>
                      <a:pt x="1720" y="15"/>
                    </a:lnTo>
                    <a:lnTo>
                      <a:pt x="1817" y="5"/>
                    </a:lnTo>
                    <a:lnTo>
                      <a:pt x="1914" y="0"/>
                    </a:lnTo>
                    <a:lnTo>
                      <a:pt x="2010" y="0"/>
                    </a:lnTo>
                    <a:lnTo>
                      <a:pt x="2106" y="4"/>
                    </a:lnTo>
                    <a:lnTo>
                      <a:pt x="2202" y="13"/>
                    </a:lnTo>
                    <a:lnTo>
                      <a:pt x="2296" y="27"/>
                    </a:lnTo>
                    <a:lnTo>
                      <a:pt x="2390" y="44"/>
                    </a:lnTo>
                    <a:lnTo>
                      <a:pt x="2483" y="66"/>
                    </a:lnTo>
                    <a:lnTo>
                      <a:pt x="2573" y="93"/>
                    </a:lnTo>
                    <a:lnTo>
                      <a:pt x="2663" y="124"/>
                    </a:lnTo>
                    <a:lnTo>
                      <a:pt x="2752" y="159"/>
                    </a:lnTo>
                    <a:lnTo>
                      <a:pt x="2838" y="199"/>
                    </a:lnTo>
                    <a:lnTo>
                      <a:pt x="2922" y="242"/>
                    </a:lnTo>
                    <a:lnTo>
                      <a:pt x="3005" y="290"/>
                    </a:lnTo>
                    <a:lnTo>
                      <a:pt x="3086" y="341"/>
                    </a:lnTo>
                    <a:lnTo>
                      <a:pt x="3163" y="396"/>
                    </a:lnTo>
                    <a:lnTo>
                      <a:pt x="3238" y="455"/>
                    </a:lnTo>
                    <a:lnTo>
                      <a:pt x="3310" y="517"/>
                    </a:lnTo>
                    <a:lnTo>
                      <a:pt x="3379" y="585"/>
                    </a:lnTo>
                    <a:lnTo>
                      <a:pt x="3446" y="654"/>
                    </a:lnTo>
                    <a:lnTo>
                      <a:pt x="3509" y="727"/>
                    </a:lnTo>
                    <a:lnTo>
                      <a:pt x="3569" y="805"/>
                    </a:lnTo>
                    <a:lnTo>
                      <a:pt x="3625" y="885"/>
                    </a:lnTo>
                    <a:lnTo>
                      <a:pt x="3677" y="968"/>
                    </a:lnTo>
                    <a:lnTo>
                      <a:pt x="3726" y="1056"/>
                    </a:lnTo>
                    <a:lnTo>
                      <a:pt x="3770" y="1146"/>
                    </a:lnTo>
                    <a:lnTo>
                      <a:pt x="3811" y="1239"/>
                    </a:lnTo>
                    <a:lnTo>
                      <a:pt x="3826" y="1280"/>
                    </a:lnTo>
                    <a:lnTo>
                      <a:pt x="3842" y="1322"/>
                    </a:lnTo>
                    <a:lnTo>
                      <a:pt x="3856" y="1364"/>
                    </a:lnTo>
                    <a:lnTo>
                      <a:pt x="3869" y="1406"/>
                    </a:lnTo>
                    <a:lnTo>
                      <a:pt x="3881" y="1448"/>
                    </a:lnTo>
                    <a:lnTo>
                      <a:pt x="3893" y="1490"/>
                    </a:lnTo>
                    <a:lnTo>
                      <a:pt x="3903" y="1533"/>
                    </a:lnTo>
                    <a:lnTo>
                      <a:pt x="3912" y="1574"/>
                    </a:lnTo>
                    <a:lnTo>
                      <a:pt x="3920" y="1617"/>
                    </a:lnTo>
                    <a:lnTo>
                      <a:pt x="3927" y="1659"/>
                    </a:lnTo>
                    <a:lnTo>
                      <a:pt x="3935" y="1702"/>
                    </a:lnTo>
                    <a:lnTo>
                      <a:pt x="3940" y="1744"/>
                    </a:lnTo>
                    <a:lnTo>
                      <a:pt x="3944" y="1787"/>
                    </a:lnTo>
                    <a:lnTo>
                      <a:pt x="3948" y="1828"/>
                    </a:lnTo>
                    <a:lnTo>
                      <a:pt x="3950" y="1871"/>
                    </a:lnTo>
                    <a:lnTo>
                      <a:pt x="3952" y="1913"/>
                    </a:lnTo>
                    <a:lnTo>
                      <a:pt x="3953" y="1956"/>
                    </a:lnTo>
                    <a:lnTo>
                      <a:pt x="3953" y="1998"/>
                    </a:lnTo>
                    <a:lnTo>
                      <a:pt x="3952" y="2040"/>
                    </a:lnTo>
                    <a:lnTo>
                      <a:pt x="3950" y="2081"/>
                    </a:lnTo>
                    <a:lnTo>
                      <a:pt x="3947" y="2123"/>
                    </a:lnTo>
                    <a:lnTo>
                      <a:pt x="3944" y="2165"/>
                    </a:lnTo>
                    <a:lnTo>
                      <a:pt x="3939" y="2207"/>
                    </a:lnTo>
                    <a:lnTo>
                      <a:pt x="3933" y="2249"/>
                    </a:lnTo>
                    <a:lnTo>
                      <a:pt x="3927" y="2290"/>
                    </a:lnTo>
                    <a:lnTo>
                      <a:pt x="3920" y="2331"/>
                    </a:lnTo>
                    <a:lnTo>
                      <a:pt x="3912" y="2372"/>
                    </a:lnTo>
                    <a:lnTo>
                      <a:pt x="3903" y="2413"/>
                    </a:lnTo>
                    <a:lnTo>
                      <a:pt x="3894" y="2453"/>
                    </a:lnTo>
                    <a:lnTo>
                      <a:pt x="3882" y="2494"/>
                    </a:lnTo>
                    <a:lnTo>
                      <a:pt x="3871" y="2533"/>
                    </a:lnTo>
                    <a:lnTo>
                      <a:pt x="3859" y="2573"/>
                    </a:lnTo>
                    <a:lnTo>
                      <a:pt x="3809" y="2742"/>
                    </a:lnTo>
                    <a:lnTo>
                      <a:pt x="3764" y="2911"/>
                    </a:lnTo>
                    <a:lnTo>
                      <a:pt x="3725" y="3080"/>
                    </a:lnTo>
                    <a:lnTo>
                      <a:pt x="3693" y="3249"/>
                    </a:lnTo>
                    <a:lnTo>
                      <a:pt x="3665" y="3418"/>
                    </a:lnTo>
                    <a:lnTo>
                      <a:pt x="3644" y="3587"/>
                    </a:lnTo>
                    <a:lnTo>
                      <a:pt x="3626" y="3756"/>
                    </a:lnTo>
                    <a:lnTo>
                      <a:pt x="3614" y="3925"/>
                    </a:lnTo>
                    <a:lnTo>
                      <a:pt x="3607" y="4095"/>
                    </a:lnTo>
                    <a:lnTo>
                      <a:pt x="3605" y="4264"/>
                    </a:lnTo>
                    <a:lnTo>
                      <a:pt x="3607" y="4432"/>
                    </a:lnTo>
                    <a:lnTo>
                      <a:pt x="3613" y="4602"/>
                    </a:lnTo>
                    <a:lnTo>
                      <a:pt x="3623" y="4770"/>
                    </a:lnTo>
                    <a:lnTo>
                      <a:pt x="3637" y="4939"/>
                    </a:lnTo>
                    <a:lnTo>
                      <a:pt x="3655" y="5108"/>
                    </a:lnTo>
                    <a:lnTo>
                      <a:pt x="3675" y="5276"/>
                    </a:lnTo>
                    <a:lnTo>
                      <a:pt x="3700" y="5444"/>
                    </a:lnTo>
                    <a:lnTo>
                      <a:pt x="3727" y="5613"/>
                    </a:lnTo>
                    <a:lnTo>
                      <a:pt x="3758" y="5780"/>
                    </a:lnTo>
                    <a:lnTo>
                      <a:pt x="3791" y="5947"/>
                    </a:lnTo>
                    <a:lnTo>
                      <a:pt x="3826" y="6115"/>
                    </a:lnTo>
                    <a:lnTo>
                      <a:pt x="3864" y="6282"/>
                    </a:lnTo>
                    <a:lnTo>
                      <a:pt x="3905" y="6448"/>
                    </a:lnTo>
                    <a:lnTo>
                      <a:pt x="3947" y="6616"/>
                    </a:lnTo>
                    <a:lnTo>
                      <a:pt x="3991" y="6781"/>
                    </a:lnTo>
                    <a:lnTo>
                      <a:pt x="4036" y="6947"/>
                    </a:lnTo>
                    <a:lnTo>
                      <a:pt x="4082" y="7113"/>
                    </a:lnTo>
                    <a:lnTo>
                      <a:pt x="4130" y="7278"/>
                    </a:lnTo>
                    <a:lnTo>
                      <a:pt x="4179" y="7442"/>
                    </a:lnTo>
                    <a:lnTo>
                      <a:pt x="4229" y="7606"/>
                    </a:lnTo>
                    <a:lnTo>
                      <a:pt x="4279" y="7771"/>
                    </a:lnTo>
                    <a:lnTo>
                      <a:pt x="4330" y="7934"/>
                    </a:lnTo>
                    <a:lnTo>
                      <a:pt x="4329" y="7933"/>
                    </a:lnTo>
                    <a:lnTo>
                      <a:pt x="4318" y="7913"/>
                    </a:lnTo>
                    <a:lnTo>
                      <a:pt x="4299" y="7873"/>
                    </a:lnTo>
                    <a:lnTo>
                      <a:pt x="4271" y="7817"/>
                    </a:lnTo>
                    <a:lnTo>
                      <a:pt x="4192" y="7656"/>
                    </a:lnTo>
                    <a:lnTo>
                      <a:pt x="4081" y="7441"/>
                    </a:lnTo>
                    <a:lnTo>
                      <a:pt x="4016" y="7316"/>
                    </a:lnTo>
                    <a:lnTo>
                      <a:pt x="3944" y="7179"/>
                    </a:lnTo>
                    <a:lnTo>
                      <a:pt x="3864" y="7033"/>
                    </a:lnTo>
                    <a:lnTo>
                      <a:pt x="3779" y="6879"/>
                    </a:lnTo>
                    <a:lnTo>
                      <a:pt x="3689" y="6718"/>
                    </a:lnTo>
                    <a:lnTo>
                      <a:pt x="3592" y="6550"/>
                    </a:lnTo>
                    <a:lnTo>
                      <a:pt x="3490" y="6378"/>
                    </a:lnTo>
                    <a:lnTo>
                      <a:pt x="3382" y="6202"/>
                    </a:lnTo>
                    <a:lnTo>
                      <a:pt x="3270" y="6024"/>
                    </a:lnTo>
                    <a:lnTo>
                      <a:pt x="3154" y="5843"/>
                    </a:lnTo>
                    <a:lnTo>
                      <a:pt x="3034" y="5663"/>
                    </a:lnTo>
                    <a:lnTo>
                      <a:pt x="2908" y="5483"/>
                    </a:lnTo>
                    <a:lnTo>
                      <a:pt x="2780" y="5305"/>
                    </a:lnTo>
                    <a:lnTo>
                      <a:pt x="2648" y="5130"/>
                    </a:lnTo>
                    <a:lnTo>
                      <a:pt x="2513" y="4960"/>
                    </a:lnTo>
                    <a:lnTo>
                      <a:pt x="2375" y="4793"/>
                    </a:lnTo>
                    <a:lnTo>
                      <a:pt x="2235" y="4634"/>
                    </a:lnTo>
                    <a:lnTo>
                      <a:pt x="2092" y="4482"/>
                    </a:lnTo>
                    <a:lnTo>
                      <a:pt x="1947" y="4339"/>
                    </a:lnTo>
                    <a:lnTo>
                      <a:pt x="1800" y="4206"/>
                    </a:lnTo>
                    <a:lnTo>
                      <a:pt x="1652" y="4083"/>
                    </a:lnTo>
                    <a:lnTo>
                      <a:pt x="1503" y="3973"/>
                    </a:lnTo>
                    <a:lnTo>
                      <a:pt x="1352" y="3875"/>
                    </a:lnTo>
                    <a:lnTo>
                      <a:pt x="1201" y="3792"/>
                    </a:lnTo>
                    <a:lnTo>
                      <a:pt x="1159" y="3771"/>
                    </a:lnTo>
                    <a:lnTo>
                      <a:pt x="1117" y="3749"/>
                    </a:lnTo>
                    <a:lnTo>
                      <a:pt x="1075" y="3725"/>
                    </a:lnTo>
                    <a:lnTo>
                      <a:pt x="1034" y="3702"/>
                    </a:lnTo>
                    <a:lnTo>
                      <a:pt x="993" y="3677"/>
                    </a:lnTo>
                    <a:lnTo>
                      <a:pt x="953" y="3652"/>
                    </a:lnTo>
                    <a:lnTo>
                      <a:pt x="912" y="3626"/>
                    </a:lnTo>
                    <a:lnTo>
                      <a:pt x="873" y="3600"/>
                    </a:lnTo>
                    <a:lnTo>
                      <a:pt x="834" y="3572"/>
                    </a:lnTo>
                    <a:lnTo>
                      <a:pt x="796" y="3544"/>
                    </a:lnTo>
                    <a:lnTo>
                      <a:pt x="758" y="3514"/>
                    </a:lnTo>
                    <a:lnTo>
                      <a:pt x="720" y="3484"/>
                    </a:lnTo>
                    <a:lnTo>
                      <a:pt x="684" y="3454"/>
                    </a:lnTo>
                    <a:lnTo>
                      <a:pt x="648" y="3422"/>
                    </a:lnTo>
                    <a:lnTo>
                      <a:pt x="612" y="3390"/>
                    </a:lnTo>
                    <a:lnTo>
                      <a:pt x="577" y="3357"/>
                    </a:lnTo>
                    <a:lnTo>
                      <a:pt x="544" y="3323"/>
                    </a:lnTo>
                    <a:lnTo>
                      <a:pt x="511" y="3288"/>
                    </a:lnTo>
                    <a:lnTo>
                      <a:pt x="479" y="3253"/>
                    </a:lnTo>
                    <a:lnTo>
                      <a:pt x="447" y="3217"/>
                    </a:lnTo>
                    <a:lnTo>
                      <a:pt x="416" y="3179"/>
                    </a:lnTo>
                    <a:lnTo>
                      <a:pt x="387" y="3142"/>
                    </a:lnTo>
                    <a:lnTo>
                      <a:pt x="357" y="3103"/>
                    </a:lnTo>
                    <a:lnTo>
                      <a:pt x="330" y="3063"/>
                    </a:lnTo>
                    <a:lnTo>
                      <a:pt x="302" y="3022"/>
                    </a:lnTo>
                    <a:lnTo>
                      <a:pt x="276" y="2980"/>
                    </a:lnTo>
                    <a:lnTo>
                      <a:pt x="251" y="2938"/>
                    </a:lnTo>
                    <a:lnTo>
                      <a:pt x="227" y="2895"/>
                    </a:lnTo>
                    <a:lnTo>
                      <a:pt x="204" y="2851"/>
                    </a:lnTo>
                    <a:lnTo>
                      <a:pt x="183" y="2806"/>
                    </a:lnTo>
                    <a:lnTo>
                      <a:pt x="162" y="2760"/>
                    </a:lnTo>
                    <a:lnTo>
                      <a:pt x="142" y="2713"/>
                    </a:lnTo>
                    <a:lnTo>
                      <a:pt x="107" y="2618"/>
                    </a:lnTo>
                    <a:lnTo>
                      <a:pt x="76" y="2522"/>
                    </a:lnTo>
                    <a:lnTo>
                      <a:pt x="51" y="2425"/>
                    </a:lnTo>
                    <a:lnTo>
                      <a:pt x="32" y="2329"/>
                    </a:lnTo>
                    <a:lnTo>
                      <a:pt x="16" y="2232"/>
                    </a:lnTo>
                    <a:lnTo>
                      <a:pt x="6" y="2136"/>
                    </a:lnTo>
                    <a:lnTo>
                      <a:pt x="1" y="2039"/>
                    </a:lnTo>
                    <a:lnTo>
                      <a:pt x="0" y="1942"/>
                    </a:lnTo>
                    <a:lnTo>
                      <a:pt x="4" y="1846"/>
                    </a:lnTo>
                    <a:lnTo>
                      <a:pt x="13" y="1751"/>
                    </a:lnTo>
                    <a:lnTo>
                      <a:pt x="26" y="1656"/>
                    </a:lnTo>
                    <a:lnTo>
                      <a:pt x="45" y="1562"/>
                    </a:lnTo>
                    <a:lnTo>
                      <a:pt x="67" y="1470"/>
                    </a:lnTo>
                    <a:lnTo>
                      <a:pt x="94" y="1378"/>
                    </a:lnTo>
                    <a:lnTo>
                      <a:pt x="124" y="1289"/>
                    </a:lnTo>
                    <a:lnTo>
                      <a:pt x="160" y="1201"/>
                    </a:lnTo>
                    <a:lnTo>
                      <a:pt x="199" y="1114"/>
                    </a:lnTo>
                    <a:lnTo>
                      <a:pt x="243" y="1029"/>
                    </a:lnTo>
                    <a:lnTo>
                      <a:pt x="290" y="947"/>
                    </a:lnTo>
                    <a:lnTo>
                      <a:pt x="341" y="867"/>
                    </a:lnTo>
                    <a:lnTo>
                      <a:pt x="397" y="790"/>
                    </a:lnTo>
                    <a:lnTo>
                      <a:pt x="455" y="714"/>
                    </a:lnTo>
                    <a:lnTo>
                      <a:pt x="518" y="642"/>
                    </a:lnTo>
                    <a:lnTo>
                      <a:pt x="585" y="572"/>
                    </a:lnTo>
                    <a:lnTo>
                      <a:pt x="655" y="506"/>
                    </a:lnTo>
                    <a:lnTo>
                      <a:pt x="728" y="443"/>
                    </a:lnTo>
                    <a:lnTo>
                      <a:pt x="805" y="384"/>
                    </a:lnTo>
                    <a:lnTo>
                      <a:pt x="886" y="328"/>
                    </a:lnTo>
                    <a:lnTo>
                      <a:pt x="969" y="274"/>
                    </a:lnTo>
                    <a:lnTo>
                      <a:pt x="1056" y="227"/>
                    </a:lnTo>
                    <a:lnTo>
                      <a:pt x="1146" y="182"/>
                    </a:lnTo>
                    <a:lnTo>
                      <a:pt x="1240" y="142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CE202A">
                      <a:shade val="30000"/>
                      <a:satMod val="115000"/>
                    </a:srgbClr>
                  </a:gs>
                  <a:gs pos="83000">
                    <a:srgbClr val="CE202A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" name="Oval 198"/>
              <p:cNvSpPr/>
              <p:nvPr/>
            </p:nvSpPr>
            <p:spPr>
              <a:xfrm flipV="1">
                <a:off x="7128300" y="2206820"/>
                <a:ext cx="687491" cy="623788"/>
              </a:xfrm>
              <a:prstGeom prst="ellipse">
                <a:avLst/>
              </a:prstGeom>
              <a:gradFill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>
                      <a:alpha val="30000"/>
                    </a:schemeClr>
                  </a:gs>
                  <a:gs pos="100000">
                    <a:schemeClr val="accent1">
                      <a:tint val="23500"/>
                      <a:satMod val="160000"/>
                      <a:alpha val="41000"/>
                    </a:schemeClr>
                  </a:gs>
                  <a:gs pos="100000">
                    <a:schemeClr val="accent1">
                      <a:tint val="23500"/>
                      <a:satMod val="160000"/>
                      <a:alpha val="0"/>
                    </a:schemeClr>
                  </a:gs>
                </a:gsLst>
                <a:lin ang="5400000" scaled="1"/>
              </a:gradFill>
              <a:ln>
                <a:noFill/>
              </a:ln>
              <a:effectLst>
                <a:outerShdw blurRad="114300" sx="104000" sy="104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nb-NO">
                  <a:solidFill>
                    <a:srgbClr val="FFFFFF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14" name="Group 71"/>
          <p:cNvGrpSpPr>
            <a:grpSpLocks/>
          </p:cNvGrpSpPr>
          <p:nvPr/>
        </p:nvGrpSpPr>
        <p:grpSpPr bwMode="auto">
          <a:xfrm>
            <a:off x="2417996" y="2047894"/>
            <a:ext cx="289435" cy="332901"/>
            <a:chOff x="4212399" y="2500313"/>
            <a:chExt cx="975551" cy="1435364"/>
          </a:xfrm>
        </p:grpSpPr>
        <p:grpSp>
          <p:nvGrpSpPr>
            <p:cNvPr id="15" name="Group 72"/>
            <p:cNvGrpSpPr>
              <a:grpSpLocks/>
            </p:cNvGrpSpPr>
            <p:nvPr/>
          </p:nvGrpSpPr>
          <p:grpSpPr bwMode="auto">
            <a:xfrm>
              <a:off x="4212399" y="3437110"/>
              <a:ext cx="498086" cy="498567"/>
              <a:chOff x="5627209" y="1515183"/>
              <a:chExt cx="498086" cy="498567"/>
            </a:xfrm>
          </p:grpSpPr>
          <p:sp>
            <p:nvSpPr>
              <p:cNvPr id="20" name="Oval 219"/>
              <p:cNvSpPr>
                <a:spLocks noChangeArrowheads="1"/>
              </p:cNvSpPr>
              <p:nvPr/>
            </p:nvSpPr>
            <p:spPr bwMode="auto">
              <a:xfrm>
                <a:off x="5627209" y="1515183"/>
                <a:ext cx="498086" cy="498567"/>
              </a:xfrm>
              <a:prstGeom prst="ellipse">
                <a:avLst/>
              </a:prstGeom>
              <a:gradFill rotWithShape="0">
                <a:gsLst>
                  <a:gs pos="0">
                    <a:schemeClr val="bg1"/>
                  </a:gs>
                  <a:gs pos="100000">
                    <a:srgbClr val="D9D9D9"/>
                  </a:gs>
                </a:gsLst>
                <a:lin ang="5400000"/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  <a:effectLst>
                <a:outerShdw blurRad="63500" sx="102000" sy="102000" algn="ctr" rotWithShape="0">
                  <a:srgbClr val="000000">
                    <a:alpha val="39999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nb-NO">
                  <a:solidFill>
                    <a:srgbClr val="FFFFFF"/>
                  </a:solidFill>
                  <a:latin typeface="Calibri" charset="0"/>
                </a:endParaRPr>
              </a:p>
            </p:txBody>
          </p:sp>
          <p:sp>
            <p:nvSpPr>
              <p:cNvPr id="21" name="Oval 220"/>
              <p:cNvSpPr/>
              <p:nvPr/>
            </p:nvSpPr>
            <p:spPr>
              <a:xfrm>
                <a:off x="5765213" y="1650145"/>
                <a:ext cx="228422" cy="228642"/>
              </a:xfrm>
              <a:prstGeom prst="ellipse">
                <a:avLst/>
              </a:prstGeom>
              <a:solidFill>
                <a:srgbClr val="2A9B18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</p:grpSp>
        <p:sp>
          <p:nvSpPr>
            <p:cNvPr id="16" name="Freeform 57"/>
            <p:cNvSpPr>
              <a:spLocks/>
            </p:cNvSpPr>
            <p:nvPr/>
          </p:nvSpPr>
          <p:spPr bwMode="auto">
            <a:xfrm rot="15813706" flipH="1" flipV="1">
              <a:off x="4658809" y="3157252"/>
              <a:ext cx="255634" cy="802649"/>
            </a:xfrm>
            <a:custGeom>
              <a:avLst/>
              <a:gdLst/>
              <a:ahLst/>
              <a:cxnLst>
                <a:cxn ang="0">
                  <a:pos x="1431" y="75"/>
                </a:cxn>
                <a:cxn ang="0">
                  <a:pos x="1720" y="15"/>
                </a:cxn>
                <a:cxn ang="0">
                  <a:pos x="2010" y="0"/>
                </a:cxn>
                <a:cxn ang="0">
                  <a:pos x="2296" y="27"/>
                </a:cxn>
                <a:cxn ang="0">
                  <a:pos x="2573" y="93"/>
                </a:cxn>
                <a:cxn ang="0">
                  <a:pos x="2838" y="199"/>
                </a:cxn>
                <a:cxn ang="0">
                  <a:pos x="3086" y="341"/>
                </a:cxn>
                <a:cxn ang="0">
                  <a:pos x="3310" y="517"/>
                </a:cxn>
                <a:cxn ang="0">
                  <a:pos x="3509" y="727"/>
                </a:cxn>
                <a:cxn ang="0">
                  <a:pos x="3677" y="968"/>
                </a:cxn>
                <a:cxn ang="0">
                  <a:pos x="3811" y="1239"/>
                </a:cxn>
                <a:cxn ang="0">
                  <a:pos x="3856" y="1364"/>
                </a:cxn>
                <a:cxn ang="0">
                  <a:pos x="3893" y="1490"/>
                </a:cxn>
                <a:cxn ang="0">
                  <a:pos x="3920" y="1617"/>
                </a:cxn>
                <a:cxn ang="0">
                  <a:pos x="3940" y="1744"/>
                </a:cxn>
                <a:cxn ang="0">
                  <a:pos x="3950" y="1871"/>
                </a:cxn>
                <a:cxn ang="0">
                  <a:pos x="3953" y="1998"/>
                </a:cxn>
                <a:cxn ang="0">
                  <a:pos x="3947" y="2123"/>
                </a:cxn>
                <a:cxn ang="0">
                  <a:pos x="3933" y="2249"/>
                </a:cxn>
                <a:cxn ang="0">
                  <a:pos x="3912" y="2372"/>
                </a:cxn>
                <a:cxn ang="0">
                  <a:pos x="3882" y="2494"/>
                </a:cxn>
                <a:cxn ang="0">
                  <a:pos x="3809" y="2742"/>
                </a:cxn>
                <a:cxn ang="0">
                  <a:pos x="3693" y="3249"/>
                </a:cxn>
                <a:cxn ang="0">
                  <a:pos x="3626" y="3756"/>
                </a:cxn>
                <a:cxn ang="0">
                  <a:pos x="3605" y="4264"/>
                </a:cxn>
                <a:cxn ang="0">
                  <a:pos x="3623" y="4770"/>
                </a:cxn>
                <a:cxn ang="0">
                  <a:pos x="3675" y="5276"/>
                </a:cxn>
                <a:cxn ang="0">
                  <a:pos x="3758" y="5780"/>
                </a:cxn>
                <a:cxn ang="0">
                  <a:pos x="3864" y="6282"/>
                </a:cxn>
                <a:cxn ang="0">
                  <a:pos x="3991" y="6781"/>
                </a:cxn>
                <a:cxn ang="0">
                  <a:pos x="4130" y="7278"/>
                </a:cxn>
                <a:cxn ang="0">
                  <a:pos x="4279" y="7771"/>
                </a:cxn>
                <a:cxn ang="0">
                  <a:pos x="4318" y="7913"/>
                </a:cxn>
                <a:cxn ang="0">
                  <a:pos x="4192" y="7656"/>
                </a:cxn>
                <a:cxn ang="0">
                  <a:pos x="3944" y="7179"/>
                </a:cxn>
                <a:cxn ang="0">
                  <a:pos x="3689" y="6718"/>
                </a:cxn>
                <a:cxn ang="0">
                  <a:pos x="3382" y="6202"/>
                </a:cxn>
                <a:cxn ang="0">
                  <a:pos x="3034" y="5663"/>
                </a:cxn>
                <a:cxn ang="0">
                  <a:pos x="2648" y="5130"/>
                </a:cxn>
                <a:cxn ang="0">
                  <a:pos x="2235" y="4634"/>
                </a:cxn>
                <a:cxn ang="0">
                  <a:pos x="1800" y="4206"/>
                </a:cxn>
                <a:cxn ang="0">
                  <a:pos x="1352" y="3875"/>
                </a:cxn>
                <a:cxn ang="0">
                  <a:pos x="1117" y="3749"/>
                </a:cxn>
                <a:cxn ang="0">
                  <a:pos x="993" y="3677"/>
                </a:cxn>
                <a:cxn ang="0">
                  <a:pos x="873" y="3600"/>
                </a:cxn>
                <a:cxn ang="0">
                  <a:pos x="758" y="3514"/>
                </a:cxn>
                <a:cxn ang="0">
                  <a:pos x="648" y="3422"/>
                </a:cxn>
                <a:cxn ang="0">
                  <a:pos x="544" y="3323"/>
                </a:cxn>
                <a:cxn ang="0">
                  <a:pos x="447" y="3217"/>
                </a:cxn>
                <a:cxn ang="0">
                  <a:pos x="357" y="3103"/>
                </a:cxn>
                <a:cxn ang="0">
                  <a:pos x="276" y="2980"/>
                </a:cxn>
                <a:cxn ang="0">
                  <a:pos x="204" y="2851"/>
                </a:cxn>
                <a:cxn ang="0">
                  <a:pos x="142" y="2713"/>
                </a:cxn>
                <a:cxn ang="0">
                  <a:pos x="51" y="2425"/>
                </a:cxn>
                <a:cxn ang="0">
                  <a:pos x="6" y="2136"/>
                </a:cxn>
                <a:cxn ang="0">
                  <a:pos x="4" y="1846"/>
                </a:cxn>
                <a:cxn ang="0">
                  <a:pos x="45" y="1562"/>
                </a:cxn>
                <a:cxn ang="0">
                  <a:pos x="124" y="1289"/>
                </a:cxn>
                <a:cxn ang="0">
                  <a:pos x="243" y="1029"/>
                </a:cxn>
                <a:cxn ang="0">
                  <a:pos x="397" y="790"/>
                </a:cxn>
                <a:cxn ang="0">
                  <a:pos x="585" y="572"/>
                </a:cxn>
                <a:cxn ang="0">
                  <a:pos x="805" y="384"/>
                </a:cxn>
                <a:cxn ang="0">
                  <a:pos x="1056" y="227"/>
                </a:cxn>
              </a:cxnLst>
              <a:rect l="0" t="0" r="r" b="b"/>
              <a:pathLst>
                <a:path w="4330" h="7934">
                  <a:moveTo>
                    <a:pt x="1240" y="142"/>
                  </a:moveTo>
                  <a:lnTo>
                    <a:pt x="1335" y="106"/>
                  </a:lnTo>
                  <a:lnTo>
                    <a:pt x="1431" y="75"/>
                  </a:lnTo>
                  <a:lnTo>
                    <a:pt x="1526" y="51"/>
                  </a:lnTo>
                  <a:lnTo>
                    <a:pt x="1623" y="31"/>
                  </a:lnTo>
                  <a:lnTo>
                    <a:pt x="1720" y="15"/>
                  </a:lnTo>
                  <a:lnTo>
                    <a:pt x="1817" y="5"/>
                  </a:lnTo>
                  <a:lnTo>
                    <a:pt x="1914" y="0"/>
                  </a:lnTo>
                  <a:lnTo>
                    <a:pt x="2010" y="0"/>
                  </a:lnTo>
                  <a:lnTo>
                    <a:pt x="2106" y="4"/>
                  </a:lnTo>
                  <a:lnTo>
                    <a:pt x="2202" y="13"/>
                  </a:lnTo>
                  <a:lnTo>
                    <a:pt x="2296" y="27"/>
                  </a:lnTo>
                  <a:lnTo>
                    <a:pt x="2390" y="44"/>
                  </a:lnTo>
                  <a:lnTo>
                    <a:pt x="2483" y="66"/>
                  </a:lnTo>
                  <a:lnTo>
                    <a:pt x="2573" y="93"/>
                  </a:lnTo>
                  <a:lnTo>
                    <a:pt x="2663" y="124"/>
                  </a:lnTo>
                  <a:lnTo>
                    <a:pt x="2752" y="159"/>
                  </a:lnTo>
                  <a:lnTo>
                    <a:pt x="2838" y="199"/>
                  </a:lnTo>
                  <a:lnTo>
                    <a:pt x="2922" y="242"/>
                  </a:lnTo>
                  <a:lnTo>
                    <a:pt x="3005" y="290"/>
                  </a:lnTo>
                  <a:lnTo>
                    <a:pt x="3086" y="341"/>
                  </a:lnTo>
                  <a:lnTo>
                    <a:pt x="3163" y="396"/>
                  </a:lnTo>
                  <a:lnTo>
                    <a:pt x="3238" y="455"/>
                  </a:lnTo>
                  <a:lnTo>
                    <a:pt x="3310" y="517"/>
                  </a:lnTo>
                  <a:lnTo>
                    <a:pt x="3379" y="585"/>
                  </a:lnTo>
                  <a:lnTo>
                    <a:pt x="3446" y="654"/>
                  </a:lnTo>
                  <a:lnTo>
                    <a:pt x="3509" y="727"/>
                  </a:lnTo>
                  <a:lnTo>
                    <a:pt x="3569" y="805"/>
                  </a:lnTo>
                  <a:lnTo>
                    <a:pt x="3625" y="885"/>
                  </a:lnTo>
                  <a:lnTo>
                    <a:pt x="3677" y="968"/>
                  </a:lnTo>
                  <a:lnTo>
                    <a:pt x="3726" y="1056"/>
                  </a:lnTo>
                  <a:lnTo>
                    <a:pt x="3770" y="1146"/>
                  </a:lnTo>
                  <a:lnTo>
                    <a:pt x="3811" y="1239"/>
                  </a:lnTo>
                  <a:lnTo>
                    <a:pt x="3826" y="1280"/>
                  </a:lnTo>
                  <a:lnTo>
                    <a:pt x="3842" y="1322"/>
                  </a:lnTo>
                  <a:lnTo>
                    <a:pt x="3856" y="1364"/>
                  </a:lnTo>
                  <a:lnTo>
                    <a:pt x="3869" y="1406"/>
                  </a:lnTo>
                  <a:lnTo>
                    <a:pt x="3881" y="1448"/>
                  </a:lnTo>
                  <a:lnTo>
                    <a:pt x="3893" y="1490"/>
                  </a:lnTo>
                  <a:lnTo>
                    <a:pt x="3903" y="1533"/>
                  </a:lnTo>
                  <a:lnTo>
                    <a:pt x="3912" y="1574"/>
                  </a:lnTo>
                  <a:lnTo>
                    <a:pt x="3920" y="1617"/>
                  </a:lnTo>
                  <a:lnTo>
                    <a:pt x="3927" y="1659"/>
                  </a:lnTo>
                  <a:lnTo>
                    <a:pt x="3935" y="1702"/>
                  </a:lnTo>
                  <a:lnTo>
                    <a:pt x="3940" y="1744"/>
                  </a:lnTo>
                  <a:lnTo>
                    <a:pt x="3944" y="1787"/>
                  </a:lnTo>
                  <a:lnTo>
                    <a:pt x="3948" y="1828"/>
                  </a:lnTo>
                  <a:lnTo>
                    <a:pt x="3950" y="1871"/>
                  </a:lnTo>
                  <a:lnTo>
                    <a:pt x="3952" y="1913"/>
                  </a:lnTo>
                  <a:lnTo>
                    <a:pt x="3953" y="1956"/>
                  </a:lnTo>
                  <a:lnTo>
                    <a:pt x="3953" y="1998"/>
                  </a:lnTo>
                  <a:lnTo>
                    <a:pt x="3952" y="2040"/>
                  </a:lnTo>
                  <a:lnTo>
                    <a:pt x="3950" y="2081"/>
                  </a:lnTo>
                  <a:lnTo>
                    <a:pt x="3947" y="2123"/>
                  </a:lnTo>
                  <a:lnTo>
                    <a:pt x="3944" y="2165"/>
                  </a:lnTo>
                  <a:lnTo>
                    <a:pt x="3939" y="2207"/>
                  </a:lnTo>
                  <a:lnTo>
                    <a:pt x="3933" y="2249"/>
                  </a:lnTo>
                  <a:lnTo>
                    <a:pt x="3927" y="2290"/>
                  </a:lnTo>
                  <a:lnTo>
                    <a:pt x="3920" y="2331"/>
                  </a:lnTo>
                  <a:lnTo>
                    <a:pt x="3912" y="2372"/>
                  </a:lnTo>
                  <a:lnTo>
                    <a:pt x="3903" y="2413"/>
                  </a:lnTo>
                  <a:lnTo>
                    <a:pt x="3894" y="2453"/>
                  </a:lnTo>
                  <a:lnTo>
                    <a:pt x="3882" y="2494"/>
                  </a:lnTo>
                  <a:lnTo>
                    <a:pt x="3871" y="2533"/>
                  </a:lnTo>
                  <a:lnTo>
                    <a:pt x="3859" y="2573"/>
                  </a:lnTo>
                  <a:lnTo>
                    <a:pt x="3809" y="2742"/>
                  </a:lnTo>
                  <a:lnTo>
                    <a:pt x="3764" y="2911"/>
                  </a:lnTo>
                  <a:lnTo>
                    <a:pt x="3725" y="3080"/>
                  </a:lnTo>
                  <a:lnTo>
                    <a:pt x="3693" y="3249"/>
                  </a:lnTo>
                  <a:lnTo>
                    <a:pt x="3665" y="3418"/>
                  </a:lnTo>
                  <a:lnTo>
                    <a:pt x="3644" y="3587"/>
                  </a:lnTo>
                  <a:lnTo>
                    <a:pt x="3626" y="3756"/>
                  </a:lnTo>
                  <a:lnTo>
                    <a:pt x="3614" y="3925"/>
                  </a:lnTo>
                  <a:lnTo>
                    <a:pt x="3607" y="4095"/>
                  </a:lnTo>
                  <a:lnTo>
                    <a:pt x="3605" y="4264"/>
                  </a:lnTo>
                  <a:lnTo>
                    <a:pt x="3607" y="4432"/>
                  </a:lnTo>
                  <a:lnTo>
                    <a:pt x="3613" y="4602"/>
                  </a:lnTo>
                  <a:lnTo>
                    <a:pt x="3623" y="4770"/>
                  </a:lnTo>
                  <a:lnTo>
                    <a:pt x="3637" y="4939"/>
                  </a:lnTo>
                  <a:lnTo>
                    <a:pt x="3655" y="5108"/>
                  </a:lnTo>
                  <a:lnTo>
                    <a:pt x="3675" y="5276"/>
                  </a:lnTo>
                  <a:lnTo>
                    <a:pt x="3700" y="5444"/>
                  </a:lnTo>
                  <a:lnTo>
                    <a:pt x="3727" y="5613"/>
                  </a:lnTo>
                  <a:lnTo>
                    <a:pt x="3758" y="5780"/>
                  </a:lnTo>
                  <a:lnTo>
                    <a:pt x="3791" y="5947"/>
                  </a:lnTo>
                  <a:lnTo>
                    <a:pt x="3826" y="6115"/>
                  </a:lnTo>
                  <a:lnTo>
                    <a:pt x="3864" y="6282"/>
                  </a:lnTo>
                  <a:lnTo>
                    <a:pt x="3905" y="6448"/>
                  </a:lnTo>
                  <a:lnTo>
                    <a:pt x="3947" y="6616"/>
                  </a:lnTo>
                  <a:lnTo>
                    <a:pt x="3991" y="6781"/>
                  </a:lnTo>
                  <a:lnTo>
                    <a:pt x="4036" y="6947"/>
                  </a:lnTo>
                  <a:lnTo>
                    <a:pt x="4082" y="7113"/>
                  </a:lnTo>
                  <a:lnTo>
                    <a:pt x="4130" y="7278"/>
                  </a:lnTo>
                  <a:lnTo>
                    <a:pt x="4179" y="7442"/>
                  </a:lnTo>
                  <a:lnTo>
                    <a:pt x="4229" y="7606"/>
                  </a:lnTo>
                  <a:lnTo>
                    <a:pt x="4279" y="7771"/>
                  </a:lnTo>
                  <a:lnTo>
                    <a:pt x="4330" y="7934"/>
                  </a:lnTo>
                  <a:lnTo>
                    <a:pt x="4329" y="7933"/>
                  </a:lnTo>
                  <a:lnTo>
                    <a:pt x="4318" y="7913"/>
                  </a:lnTo>
                  <a:lnTo>
                    <a:pt x="4299" y="7873"/>
                  </a:lnTo>
                  <a:lnTo>
                    <a:pt x="4271" y="7817"/>
                  </a:lnTo>
                  <a:lnTo>
                    <a:pt x="4192" y="7656"/>
                  </a:lnTo>
                  <a:lnTo>
                    <a:pt x="4081" y="7441"/>
                  </a:lnTo>
                  <a:lnTo>
                    <a:pt x="4016" y="7316"/>
                  </a:lnTo>
                  <a:lnTo>
                    <a:pt x="3944" y="7179"/>
                  </a:lnTo>
                  <a:lnTo>
                    <a:pt x="3864" y="7033"/>
                  </a:lnTo>
                  <a:lnTo>
                    <a:pt x="3779" y="6879"/>
                  </a:lnTo>
                  <a:lnTo>
                    <a:pt x="3689" y="6718"/>
                  </a:lnTo>
                  <a:lnTo>
                    <a:pt x="3592" y="6550"/>
                  </a:lnTo>
                  <a:lnTo>
                    <a:pt x="3490" y="6378"/>
                  </a:lnTo>
                  <a:lnTo>
                    <a:pt x="3382" y="6202"/>
                  </a:lnTo>
                  <a:lnTo>
                    <a:pt x="3270" y="6024"/>
                  </a:lnTo>
                  <a:lnTo>
                    <a:pt x="3154" y="5843"/>
                  </a:lnTo>
                  <a:lnTo>
                    <a:pt x="3034" y="5663"/>
                  </a:lnTo>
                  <a:lnTo>
                    <a:pt x="2908" y="5483"/>
                  </a:lnTo>
                  <a:lnTo>
                    <a:pt x="2780" y="5305"/>
                  </a:lnTo>
                  <a:lnTo>
                    <a:pt x="2648" y="5130"/>
                  </a:lnTo>
                  <a:lnTo>
                    <a:pt x="2513" y="4960"/>
                  </a:lnTo>
                  <a:lnTo>
                    <a:pt x="2375" y="4793"/>
                  </a:lnTo>
                  <a:lnTo>
                    <a:pt x="2235" y="4634"/>
                  </a:lnTo>
                  <a:lnTo>
                    <a:pt x="2092" y="4482"/>
                  </a:lnTo>
                  <a:lnTo>
                    <a:pt x="1947" y="4339"/>
                  </a:lnTo>
                  <a:lnTo>
                    <a:pt x="1800" y="4206"/>
                  </a:lnTo>
                  <a:lnTo>
                    <a:pt x="1652" y="4083"/>
                  </a:lnTo>
                  <a:lnTo>
                    <a:pt x="1503" y="3973"/>
                  </a:lnTo>
                  <a:lnTo>
                    <a:pt x="1352" y="3875"/>
                  </a:lnTo>
                  <a:lnTo>
                    <a:pt x="1201" y="3792"/>
                  </a:lnTo>
                  <a:lnTo>
                    <a:pt x="1159" y="3771"/>
                  </a:lnTo>
                  <a:lnTo>
                    <a:pt x="1117" y="3749"/>
                  </a:lnTo>
                  <a:lnTo>
                    <a:pt x="1075" y="3725"/>
                  </a:lnTo>
                  <a:lnTo>
                    <a:pt x="1034" y="3702"/>
                  </a:lnTo>
                  <a:lnTo>
                    <a:pt x="993" y="3677"/>
                  </a:lnTo>
                  <a:lnTo>
                    <a:pt x="953" y="3652"/>
                  </a:lnTo>
                  <a:lnTo>
                    <a:pt x="912" y="3626"/>
                  </a:lnTo>
                  <a:lnTo>
                    <a:pt x="873" y="3600"/>
                  </a:lnTo>
                  <a:lnTo>
                    <a:pt x="834" y="3572"/>
                  </a:lnTo>
                  <a:lnTo>
                    <a:pt x="796" y="3544"/>
                  </a:lnTo>
                  <a:lnTo>
                    <a:pt x="758" y="3514"/>
                  </a:lnTo>
                  <a:lnTo>
                    <a:pt x="720" y="3484"/>
                  </a:lnTo>
                  <a:lnTo>
                    <a:pt x="684" y="3454"/>
                  </a:lnTo>
                  <a:lnTo>
                    <a:pt x="648" y="3422"/>
                  </a:lnTo>
                  <a:lnTo>
                    <a:pt x="612" y="3390"/>
                  </a:lnTo>
                  <a:lnTo>
                    <a:pt x="577" y="3357"/>
                  </a:lnTo>
                  <a:lnTo>
                    <a:pt x="544" y="3323"/>
                  </a:lnTo>
                  <a:lnTo>
                    <a:pt x="511" y="3288"/>
                  </a:lnTo>
                  <a:lnTo>
                    <a:pt x="479" y="3253"/>
                  </a:lnTo>
                  <a:lnTo>
                    <a:pt x="447" y="3217"/>
                  </a:lnTo>
                  <a:lnTo>
                    <a:pt x="416" y="3179"/>
                  </a:lnTo>
                  <a:lnTo>
                    <a:pt x="387" y="3142"/>
                  </a:lnTo>
                  <a:lnTo>
                    <a:pt x="357" y="3103"/>
                  </a:lnTo>
                  <a:lnTo>
                    <a:pt x="330" y="3063"/>
                  </a:lnTo>
                  <a:lnTo>
                    <a:pt x="302" y="3022"/>
                  </a:lnTo>
                  <a:lnTo>
                    <a:pt x="276" y="2980"/>
                  </a:lnTo>
                  <a:lnTo>
                    <a:pt x="251" y="2938"/>
                  </a:lnTo>
                  <a:lnTo>
                    <a:pt x="227" y="2895"/>
                  </a:lnTo>
                  <a:lnTo>
                    <a:pt x="204" y="2851"/>
                  </a:lnTo>
                  <a:lnTo>
                    <a:pt x="183" y="2806"/>
                  </a:lnTo>
                  <a:lnTo>
                    <a:pt x="162" y="2760"/>
                  </a:lnTo>
                  <a:lnTo>
                    <a:pt x="142" y="2713"/>
                  </a:lnTo>
                  <a:lnTo>
                    <a:pt x="107" y="2618"/>
                  </a:lnTo>
                  <a:lnTo>
                    <a:pt x="76" y="2522"/>
                  </a:lnTo>
                  <a:lnTo>
                    <a:pt x="51" y="2425"/>
                  </a:lnTo>
                  <a:lnTo>
                    <a:pt x="32" y="2329"/>
                  </a:lnTo>
                  <a:lnTo>
                    <a:pt x="16" y="2232"/>
                  </a:lnTo>
                  <a:lnTo>
                    <a:pt x="6" y="2136"/>
                  </a:lnTo>
                  <a:lnTo>
                    <a:pt x="1" y="2039"/>
                  </a:lnTo>
                  <a:lnTo>
                    <a:pt x="0" y="1942"/>
                  </a:lnTo>
                  <a:lnTo>
                    <a:pt x="4" y="1846"/>
                  </a:lnTo>
                  <a:lnTo>
                    <a:pt x="13" y="1751"/>
                  </a:lnTo>
                  <a:lnTo>
                    <a:pt x="26" y="1656"/>
                  </a:lnTo>
                  <a:lnTo>
                    <a:pt x="45" y="1562"/>
                  </a:lnTo>
                  <a:lnTo>
                    <a:pt x="67" y="1470"/>
                  </a:lnTo>
                  <a:lnTo>
                    <a:pt x="94" y="1378"/>
                  </a:lnTo>
                  <a:lnTo>
                    <a:pt x="124" y="1289"/>
                  </a:lnTo>
                  <a:lnTo>
                    <a:pt x="160" y="1201"/>
                  </a:lnTo>
                  <a:lnTo>
                    <a:pt x="199" y="1114"/>
                  </a:lnTo>
                  <a:lnTo>
                    <a:pt x="243" y="1029"/>
                  </a:lnTo>
                  <a:lnTo>
                    <a:pt x="290" y="947"/>
                  </a:lnTo>
                  <a:lnTo>
                    <a:pt x="341" y="867"/>
                  </a:lnTo>
                  <a:lnTo>
                    <a:pt x="397" y="790"/>
                  </a:lnTo>
                  <a:lnTo>
                    <a:pt x="455" y="714"/>
                  </a:lnTo>
                  <a:lnTo>
                    <a:pt x="518" y="642"/>
                  </a:lnTo>
                  <a:lnTo>
                    <a:pt x="585" y="572"/>
                  </a:lnTo>
                  <a:lnTo>
                    <a:pt x="655" y="506"/>
                  </a:lnTo>
                  <a:lnTo>
                    <a:pt x="728" y="443"/>
                  </a:lnTo>
                  <a:lnTo>
                    <a:pt x="805" y="384"/>
                  </a:lnTo>
                  <a:lnTo>
                    <a:pt x="886" y="328"/>
                  </a:lnTo>
                  <a:lnTo>
                    <a:pt x="969" y="274"/>
                  </a:lnTo>
                  <a:lnTo>
                    <a:pt x="1056" y="227"/>
                  </a:lnTo>
                  <a:lnTo>
                    <a:pt x="1146" y="182"/>
                  </a:lnTo>
                  <a:lnTo>
                    <a:pt x="1240" y="142"/>
                  </a:lnTo>
                  <a:close/>
                </a:path>
              </a:pathLst>
            </a:custGeom>
            <a:solidFill>
              <a:schemeClr val="bg1">
                <a:lumMod val="50000"/>
                <a:alpha val="2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nb-NO">
                <a:latin typeface="Calibri" charset="0"/>
              </a:endParaRPr>
            </a:p>
          </p:txBody>
        </p:sp>
        <p:grpSp>
          <p:nvGrpSpPr>
            <p:cNvPr id="17" name="Group 133"/>
            <p:cNvGrpSpPr>
              <a:grpSpLocks/>
            </p:cNvGrpSpPr>
            <p:nvPr/>
          </p:nvGrpSpPr>
          <p:grpSpPr bwMode="auto">
            <a:xfrm flipH="1">
              <a:off x="4436064" y="2500313"/>
              <a:ext cx="650367" cy="1241653"/>
              <a:chOff x="7000949" y="2143116"/>
              <a:chExt cx="999336" cy="1834351"/>
            </a:xfrm>
          </p:grpSpPr>
          <p:sp>
            <p:nvSpPr>
              <p:cNvPr id="18" name="Freeform 57"/>
              <p:cNvSpPr>
                <a:spLocks/>
              </p:cNvSpPr>
              <p:nvPr/>
            </p:nvSpPr>
            <p:spPr bwMode="auto">
              <a:xfrm>
                <a:off x="7000949" y="2143116"/>
                <a:ext cx="999336" cy="1834351"/>
              </a:xfrm>
              <a:custGeom>
                <a:avLst/>
                <a:gdLst/>
                <a:ahLst/>
                <a:cxnLst>
                  <a:cxn ang="0">
                    <a:pos x="1431" y="75"/>
                  </a:cxn>
                  <a:cxn ang="0">
                    <a:pos x="1720" y="15"/>
                  </a:cxn>
                  <a:cxn ang="0">
                    <a:pos x="2010" y="0"/>
                  </a:cxn>
                  <a:cxn ang="0">
                    <a:pos x="2296" y="27"/>
                  </a:cxn>
                  <a:cxn ang="0">
                    <a:pos x="2573" y="93"/>
                  </a:cxn>
                  <a:cxn ang="0">
                    <a:pos x="2838" y="199"/>
                  </a:cxn>
                  <a:cxn ang="0">
                    <a:pos x="3086" y="341"/>
                  </a:cxn>
                  <a:cxn ang="0">
                    <a:pos x="3310" y="517"/>
                  </a:cxn>
                  <a:cxn ang="0">
                    <a:pos x="3509" y="727"/>
                  </a:cxn>
                  <a:cxn ang="0">
                    <a:pos x="3677" y="968"/>
                  </a:cxn>
                  <a:cxn ang="0">
                    <a:pos x="3811" y="1239"/>
                  </a:cxn>
                  <a:cxn ang="0">
                    <a:pos x="3856" y="1364"/>
                  </a:cxn>
                  <a:cxn ang="0">
                    <a:pos x="3893" y="1490"/>
                  </a:cxn>
                  <a:cxn ang="0">
                    <a:pos x="3920" y="1617"/>
                  </a:cxn>
                  <a:cxn ang="0">
                    <a:pos x="3940" y="1744"/>
                  </a:cxn>
                  <a:cxn ang="0">
                    <a:pos x="3950" y="1871"/>
                  </a:cxn>
                  <a:cxn ang="0">
                    <a:pos x="3953" y="1998"/>
                  </a:cxn>
                  <a:cxn ang="0">
                    <a:pos x="3947" y="2123"/>
                  </a:cxn>
                  <a:cxn ang="0">
                    <a:pos x="3933" y="2249"/>
                  </a:cxn>
                  <a:cxn ang="0">
                    <a:pos x="3912" y="2372"/>
                  </a:cxn>
                  <a:cxn ang="0">
                    <a:pos x="3882" y="2494"/>
                  </a:cxn>
                  <a:cxn ang="0">
                    <a:pos x="3809" y="2742"/>
                  </a:cxn>
                  <a:cxn ang="0">
                    <a:pos x="3693" y="3249"/>
                  </a:cxn>
                  <a:cxn ang="0">
                    <a:pos x="3626" y="3756"/>
                  </a:cxn>
                  <a:cxn ang="0">
                    <a:pos x="3605" y="4264"/>
                  </a:cxn>
                  <a:cxn ang="0">
                    <a:pos x="3623" y="4770"/>
                  </a:cxn>
                  <a:cxn ang="0">
                    <a:pos x="3675" y="5276"/>
                  </a:cxn>
                  <a:cxn ang="0">
                    <a:pos x="3758" y="5780"/>
                  </a:cxn>
                  <a:cxn ang="0">
                    <a:pos x="3864" y="6282"/>
                  </a:cxn>
                  <a:cxn ang="0">
                    <a:pos x="3991" y="6781"/>
                  </a:cxn>
                  <a:cxn ang="0">
                    <a:pos x="4130" y="7278"/>
                  </a:cxn>
                  <a:cxn ang="0">
                    <a:pos x="4279" y="7771"/>
                  </a:cxn>
                  <a:cxn ang="0">
                    <a:pos x="4318" y="7913"/>
                  </a:cxn>
                  <a:cxn ang="0">
                    <a:pos x="4192" y="7656"/>
                  </a:cxn>
                  <a:cxn ang="0">
                    <a:pos x="3944" y="7179"/>
                  </a:cxn>
                  <a:cxn ang="0">
                    <a:pos x="3689" y="6718"/>
                  </a:cxn>
                  <a:cxn ang="0">
                    <a:pos x="3382" y="6202"/>
                  </a:cxn>
                  <a:cxn ang="0">
                    <a:pos x="3034" y="5663"/>
                  </a:cxn>
                  <a:cxn ang="0">
                    <a:pos x="2648" y="5130"/>
                  </a:cxn>
                  <a:cxn ang="0">
                    <a:pos x="2235" y="4634"/>
                  </a:cxn>
                  <a:cxn ang="0">
                    <a:pos x="1800" y="4206"/>
                  </a:cxn>
                  <a:cxn ang="0">
                    <a:pos x="1352" y="3875"/>
                  </a:cxn>
                  <a:cxn ang="0">
                    <a:pos x="1117" y="3749"/>
                  </a:cxn>
                  <a:cxn ang="0">
                    <a:pos x="993" y="3677"/>
                  </a:cxn>
                  <a:cxn ang="0">
                    <a:pos x="873" y="3600"/>
                  </a:cxn>
                  <a:cxn ang="0">
                    <a:pos x="758" y="3514"/>
                  </a:cxn>
                  <a:cxn ang="0">
                    <a:pos x="648" y="3422"/>
                  </a:cxn>
                  <a:cxn ang="0">
                    <a:pos x="544" y="3323"/>
                  </a:cxn>
                  <a:cxn ang="0">
                    <a:pos x="447" y="3217"/>
                  </a:cxn>
                  <a:cxn ang="0">
                    <a:pos x="357" y="3103"/>
                  </a:cxn>
                  <a:cxn ang="0">
                    <a:pos x="276" y="2980"/>
                  </a:cxn>
                  <a:cxn ang="0">
                    <a:pos x="204" y="2851"/>
                  </a:cxn>
                  <a:cxn ang="0">
                    <a:pos x="142" y="2713"/>
                  </a:cxn>
                  <a:cxn ang="0">
                    <a:pos x="51" y="2425"/>
                  </a:cxn>
                  <a:cxn ang="0">
                    <a:pos x="6" y="2136"/>
                  </a:cxn>
                  <a:cxn ang="0">
                    <a:pos x="4" y="1846"/>
                  </a:cxn>
                  <a:cxn ang="0">
                    <a:pos x="45" y="1562"/>
                  </a:cxn>
                  <a:cxn ang="0">
                    <a:pos x="124" y="1289"/>
                  </a:cxn>
                  <a:cxn ang="0">
                    <a:pos x="243" y="1029"/>
                  </a:cxn>
                  <a:cxn ang="0">
                    <a:pos x="397" y="790"/>
                  </a:cxn>
                  <a:cxn ang="0">
                    <a:pos x="585" y="572"/>
                  </a:cxn>
                  <a:cxn ang="0">
                    <a:pos x="805" y="384"/>
                  </a:cxn>
                  <a:cxn ang="0">
                    <a:pos x="1056" y="227"/>
                  </a:cxn>
                </a:cxnLst>
                <a:rect l="0" t="0" r="r" b="b"/>
                <a:pathLst>
                  <a:path w="4330" h="7934">
                    <a:moveTo>
                      <a:pt x="1240" y="142"/>
                    </a:moveTo>
                    <a:lnTo>
                      <a:pt x="1335" y="106"/>
                    </a:lnTo>
                    <a:lnTo>
                      <a:pt x="1431" y="75"/>
                    </a:lnTo>
                    <a:lnTo>
                      <a:pt x="1526" y="51"/>
                    </a:lnTo>
                    <a:lnTo>
                      <a:pt x="1623" y="31"/>
                    </a:lnTo>
                    <a:lnTo>
                      <a:pt x="1720" y="15"/>
                    </a:lnTo>
                    <a:lnTo>
                      <a:pt x="1817" y="5"/>
                    </a:lnTo>
                    <a:lnTo>
                      <a:pt x="1914" y="0"/>
                    </a:lnTo>
                    <a:lnTo>
                      <a:pt x="2010" y="0"/>
                    </a:lnTo>
                    <a:lnTo>
                      <a:pt x="2106" y="4"/>
                    </a:lnTo>
                    <a:lnTo>
                      <a:pt x="2202" y="13"/>
                    </a:lnTo>
                    <a:lnTo>
                      <a:pt x="2296" y="27"/>
                    </a:lnTo>
                    <a:lnTo>
                      <a:pt x="2390" y="44"/>
                    </a:lnTo>
                    <a:lnTo>
                      <a:pt x="2483" y="66"/>
                    </a:lnTo>
                    <a:lnTo>
                      <a:pt x="2573" y="93"/>
                    </a:lnTo>
                    <a:lnTo>
                      <a:pt x="2663" y="124"/>
                    </a:lnTo>
                    <a:lnTo>
                      <a:pt x="2752" y="159"/>
                    </a:lnTo>
                    <a:lnTo>
                      <a:pt x="2838" y="199"/>
                    </a:lnTo>
                    <a:lnTo>
                      <a:pt x="2922" y="242"/>
                    </a:lnTo>
                    <a:lnTo>
                      <a:pt x="3005" y="290"/>
                    </a:lnTo>
                    <a:lnTo>
                      <a:pt x="3086" y="341"/>
                    </a:lnTo>
                    <a:lnTo>
                      <a:pt x="3163" y="396"/>
                    </a:lnTo>
                    <a:lnTo>
                      <a:pt x="3238" y="455"/>
                    </a:lnTo>
                    <a:lnTo>
                      <a:pt x="3310" y="517"/>
                    </a:lnTo>
                    <a:lnTo>
                      <a:pt x="3379" y="585"/>
                    </a:lnTo>
                    <a:lnTo>
                      <a:pt x="3446" y="654"/>
                    </a:lnTo>
                    <a:lnTo>
                      <a:pt x="3509" y="727"/>
                    </a:lnTo>
                    <a:lnTo>
                      <a:pt x="3569" y="805"/>
                    </a:lnTo>
                    <a:lnTo>
                      <a:pt x="3625" y="885"/>
                    </a:lnTo>
                    <a:lnTo>
                      <a:pt x="3677" y="968"/>
                    </a:lnTo>
                    <a:lnTo>
                      <a:pt x="3726" y="1056"/>
                    </a:lnTo>
                    <a:lnTo>
                      <a:pt x="3770" y="1146"/>
                    </a:lnTo>
                    <a:lnTo>
                      <a:pt x="3811" y="1239"/>
                    </a:lnTo>
                    <a:lnTo>
                      <a:pt x="3826" y="1280"/>
                    </a:lnTo>
                    <a:lnTo>
                      <a:pt x="3842" y="1322"/>
                    </a:lnTo>
                    <a:lnTo>
                      <a:pt x="3856" y="1364"/>
                    </a:lnTo>
                    <a:lnTo>
                      <a:pt x="3869" y="1406"/>
                    </a:lnTo>
                    <a:lnTo>
                      <a:pt x="3881" y="1448"/>
                    </a:lnTo>
                    <a:lnTo>
                      <a:pt x="3893" y="1490"/>
                    </a:lnTo>
                    <a:lnTo>
                      <a:pt x="3903" y="1533"/>
                    </a:lnTo>
                    <a:lnTo>
                      <a:pt x="3912" y="1574"/>
                    </a:lnTo>
                    <a:lnTo>
                      <a:pt x="3920" y="1617"/>
                    </a:lnTo>
                    <a:lnTo>
                      <a:pt x="3927" y="1659"/>
                    </a:lnTo>
                    <a:lnTo>
                      <a:pt x="3935" y="1702"/>
                    </a:lnTo>
                    <a:lnTo>
                      <a:pt x="3940" y="1744"/>
                    </a:lnTo>
                    <a:lnTo>
                      <a:pt x="3944" y="1787"/>
                    </a:lnTo>
                    <a:lnTo>
                      <a:pt x="3948" y="1828"/>
                    </a:lnTo>
                    <a:lnTo>
                      <a:pt x="3950" y="1871"/>
                    </a:lnTo>
                    <a:lnTo>
                      <a:pt x="3952" y="1913"/>
                    </a:lnTo>
                    <a:lnTo>
                      <a:pt x="3953" y="1956"/>
                    </a:lnTo>
                    <a:lnTo>
                      <a:pt x="3953" y="1998"/>
                    </a:lnTo>
                    <a:lnTo>
                      <a:pt x="3952" y="2040"/>
                    </a:lnTo>
                    <a:lnTo>
                      <a:pt x="3950" y="2081"/>
                    </a:lnTo>
                    <a:lnTo>
                      <a:pt x="3947" y="2123"/>
                    </a:lnTo>
                    <a:lnTo>
                      <a:pt x="3944" y="2165"/>
                    </a:lnTo>
                    <a:lnTo>
                      <a:pt x="3939" y="2207"/>
                    </a:lnTo>
                    <a:lnTo>
                      <a:pt x="3933" y="2249"/>
                    </a:lnTo>
                    <a:lnTo>
                      <a:pt x="3927" y="2290"/>
                    </a:lnTo>
                    <a:lnTo>
                      <a:pt x="3920" y="2331"/>
                    </a:lnTo>
                    <a:lnTo>
                      <a:pt x="3912" y="2372"/>
                    </a:lnTo>
                    <a:lnTo>
                      <a:pt x="3903" y="2413"/>
                    </a:lnTo>
                    <a:lnTo>
                      <a:pt x="3894" y="2453"/>
                    </a:lnTo>
                    <a:lnTo>
                      <a:pt x="3882" y="2494"/>
                    </a:lnTo>
                    <a:lnTo>
                      <a:pt x="3871" y="2533"/>
                    </a:lnTo>
                    <a:lnTo>
                      <a:pt x="3859" y="2573"/>
                    </a:lnTo>
                    <a:lnTo>
                      <a:pt x="3809" y="2742"/>
                    </a:lnTo>
                    <a:lnTo>
                      <a:pt x="3764" y="2911"/>
                    </a:lnTo>
                    <a:lnTo>
                      <a:pt x="3725" y="3080"/>
                    </a:lnTo>
                    <a:lnTo>
                      <a:pt x="3693" y="3249"/>
                    </a:lnTo>
                    <a:lnTo>
                      <a:pt x="3665" y="3418"/>
                    </a:lnTo>
                    <a:lnTo>
                      <a:pt x="3644" y="3587"/>
                    </a:lnTo>
                    <a:lnTo>
                      <a:pt x="3626" y="3756"/>
                    </a:lnTo>
                    <a:lnTo>
                      <a:pt x="3614" y="3925"/>
                    </a:lnTo>
                    <a:lnTo>
                      <a:pt x="3607" y="4095"/>
                    </a:lnTo>
                    <a:lnTo>
                      <a:pt x="3605" y="4264"/>
                    </a:lnTo>
                    <a:lnTo>
                      <a:pt x="3607" y="4432"/>
                    </a:lnTo>
                    <a:lnTo>
                      <a:pt x="3613" y="4602"/>
                    </a:lnTo>
                    <a:lnTo>
                      <a:pt x="3623" y="4770"/>
                    </a:lnTo>
                    <a:lnTo>
                      <a:pt x="3637" y="4939"/>
                    </a:lnTo>
                    <a:lnTo>
                      <a:pt x="3655" y="5108"/>
                    </a:lnTo>
                    <a:lnTo>
                      <a:pt x="3675" y="5276"/>
                    </a:lnTo>
                    <a:lnTo>
                      <a:pt x="3700" y="5444"/>
                    </a:lnTo>
                    <a:lnTo>
                      <a:pt x="3727" y="5613"/>
                    </a:lnTo>
                    <a:lnTo>
                      <a:pt x="3758" y="5780"/>
                    </a:lnTo>
                    <a:lnTo>
                      <a:pt x="3791" y="5947"/>
                    </a:lnTo>
                    <a:lnTo>
                      <a:pt x="3826" y="6115"/>
                    </a:lnTo>
                    <a:lnTo>
                      <a:pt x="3864" y="6282"/>
                    </a:lnTo>
                    <a:lnTo>
                      <a:pt x="3905" y="6448"/>
                    </a:lnTo>
                    <a:lnTo>
                      <a:pt x="3947" y="6616"/>
                    </a:lnTo>
                    <a:lnTo>
                      <a:pt x="3991" y="6781"/>
                    </a:lnTo>
                    <a:lnTo>
                      <a:pt x="4036" y="6947"/>
                    </a:lnTo>
                    <a:lnTo>
                      <a:pt x="4082" y="7113"/>
                    </a:lnTo>
                    <a:lnTo>
                      <a:pt x="4130" y="7278"/>
                    </a:lnTo>
                    <a:lnTo>
                      <a:pt x="4179" y="7442"/>
                    </a:lnTo>
                    <a:lnTo>
                      <a:pt x="4229" y="7606"/>
                    </a:lnTo>
                    <a:lnTo>
                      <a:pt x="4279" y="7771"/>
                    </a:lnTo>
                    <a:lnTo>
                      <a:pt x="4330" y="7934"/>
                    </a:lnTo>
                    <a:lnTo>
                      <a:pt x="4329" y="7933"/>
                    </a:lnTo>
                    <a:lnTo>
                      <a:pt x="4318" y="7913"/>
                    </a:lnTo>
                    <a:lnTo>
                      <a:pt x="4299" y="7873"/>
                    </a:lnTo>
                    <a:lnTo>
                      <a:pt x="4271" y="7817"/>
                    </a:lnTo>
                    <a:lnTo>
                      <a:pt x="4192" y="7656"/>
                    </a:lnTo>
                    <a:lnTo>
                      <a:pt x="4081" y="7441"/>
                    </a:lnTo>
                    <a:lnTo>
                      <a:pt x="4016" y="7316"/>
                    </a:lnTo>
                    <a:lnTo>
                      <a:pt x="3944" y="7179"/>
                    </a:lnTo>
                    <a:lnTo>
                      <a:pt x="3864" y="7033"/>
                    </a:lnTo>
                    <a:lnTo>
                      <a:pt x="3779" y="6879"/>
                    </a:lnTo>
                    <a:lnTo>
                      <a:pt x="3689" y="6718"/>
                    </a:lnTo>
                    <a:lnTo>
                      <a:pt x="3592" y="6550"/>
                    </a:lnTo>
                    <a:lnTo>
                      <a:pt x="3490" y="6378"/>
                    </a:lnTo>
                    <a:lnTo>
                      <a:pt x="3382" y="6202"/>
                    </a:lnTo>
                    <a:lnTo>
                      <a:pt x="3270" y="6024"/>
                    </a:lnTo>
                    <a:lnTo>
                      <a:pt x="3154" y="5843"/>
                    </a:lnTo>
                    <a:lnTo>
                      <a:pt x="3034" y="5663"/>
                    </a:lnTo>
                    <a:lnTo>
                      <a:pt x="2908" y="5483"/>
                    </a:lnTo>
                    <a:lnTo>
                      <a:pt x="2780" y="5305"/>
                    </a:lnTo>
                    <a:lnTo>
                      <a:pt x="2648" y="5130"/>
                    </a:lnTo>
                    <a:lnTo>
                      <a:pt x="2513" y="4960"/>
                    </a:lnTo>
                    <a:lnTo>
                      <a:pt x="2375" y="4793"/>
                    </a:lnTo>
                    <a:lnTo>
                      <a:pt x="2235" y="4634"/>
                    </a:lnTo>
                    <a:lnTo>
                      <a:pt x="2092" y="4482"/>
                    </a:lnTo>
                    <a:lnTo>
                      <a:pt x="1947" y="4339"/>
                    </a:lnTo>
                    <a:lnTo>
                      <a:pt x="1800" y="4206"/>
                    </a:lnTo>
                    <a:lnTo>
                      <a:pt x="1652" y="4083"/>
                    </a:lnTo>
                    <a:lnTo>
                      <a:pt x="1503" y="3973"/>
                    </a:lnTo>
                    <a:lnTo>
                      <a:pt x="1352" y="3875"/>
                    </a:lnTo>
                    <a:lnTo>
                      <a:pt x="1201" y="3792"/>
                    </a:lnTo>
                    <a:lnTo>
                      <a:pt x="1159" y="3771"/>
                    </a:lnTo>
                    <a:lnTo>
                      <a:pt x="1117" y="3749"/>
                    </a:lnTo>
                    <a:lnTo>
                      <a:pt x="1075" y="3725"/>
                    </a:lnTo>
                    <a:lnTo>
                      <a:pt x="1034" y="3702"/>
                    </a:lnTo>
                    <a:lnTo>
                      <a:pt x="993" y="3677"/>
                    </a:lnTo>
                    <a:lnTo>
                      <a:pt x="953" y="3652"/>
                    </a:lnTo>
                    <a:lnTo>
                      <a:pt x="912" y="3626"/>
                    </a:lnTo>
                    <a:lnTo>
                      <a:pt x="873" y="3600"/>
                    </a:lnTo>
                    <a:lnTo>
                      <a:pt x="834" y="3572"/>
                    </a:lnTo>
                    <a:lnTo>
                      <a:pt x="796" y="3544"/>
                    </a:lnTo>
                    <a:lnTo>
                      <a:pt x="758" y="3514"/>
                    </a:lnTo>
                    <a:lnTo>
                      <a:pt x="720" y="3484"/>
                    </a:lnTo>
                    <a:lnTo>
                      <a:pt x="684" y="3454"/>
                    </a:lnTo>
                    <a:lnTo>
                      <a:pt x="648" y="3422"/>
                    </a:lnTo>
                    <a:lnTo>
                      <a:pt x="612" y="3390"/>
                    </a:lnTo>
                    <a:lnTo>
                      <a:pt x="577" y="3357"/>
                    </a:lnTo>
                    <a:lnTo>
                      <a:pt x="544" y="3323"/>
                    </a:lnTo>
                    <a:lnTo>
                      <a:pt x="511" y="3288"/>
                    </a:lnTo>
                    <a:lnTo>
                      <a:pt x="479" y="3253"/>
                    </a:lnTo>
                    <a:lnTo>
                      <a:pt x="447" y="3217"/>
                    </a:lnTo>
                    <a:lnTo>
                      <a:pt x="416" y="3179"/>
                    </a:lnTo>
                    <a:lnTo>
                      <a:pt x="387" y="3142"/>
                    </a:lnTo>
                    <a:lnTo>
                      <a:pt x="357" y="3103"/>
                    </a:lnTo>
                    <a:lnTo>
                      <a:pt x="330" y="3063"/>
                    </a:lnTo>
                    <a:lnTo>
                      <a:pt x="302" y="3022"/>
                    </a:lnTo>
                    <a:lnTo>
                      <a:pt x="276" y="2980"/>
                    </a:lnTo>
                    <a:lnTo>
                      <a:pt x="251" y="2938"/>
                    </a:lnTo>
                    <a:lnTo>
                      <a:pt x="227" y="2895"/>
                    </a:lnTo>
                    <a:lnTo>
                      <a:pt x="204" y="2851"/>
                    </a:lnTo>
                    <a:lnTo>
                      <a:pt x="183" y="2806"/>
                    </a:lnTo>
                    <a:lnTo>
                      <a:pt x="162" y="2760"/>
                    </a:lnTo>
                    <a:lnTo>
                      <a:pt x="142" y="2713"/>
                    </a:lnTo>
                    <a:lnTo>
                      <a:pt x="107" y="2618"/>
                    </a:lnTo>
                    <a:lnTo>
                      <a:pt x="76" y="2522"/>
                    </a:lnTo>
                    <a:lnTo>
                      <a:pt x="51" y="2425"/>
                    </a:lnTo>
                    <a:lnTo>
                      <a:pt x="32" y="2329"/>
                    </a:lnTo>
                    <a:lnTo>
                      <a:pt x="16" y="2232"/>
                    </a:lnTo>
                    <a:lnTo>
                      <a:pt x="6" y="2136"/>
                    </a:lnTo>
                    <a:lnTo>
                      <a:pt x="1" y="2039"/>
                    </a:lnTo>
                    <a:lnTo>
                      <a:pt x="0" y="1942"/>
                    </a:lnTo>
                    <a:lnTo>
                      <a:pt x="4" y="1846"/>
                    </a:lnTo>
                    <a:lnTo>
                      <a:pt x="13" y="1751"/>
                    </a:lnTo>
                    <a:lnTo>
                      <a:pt x="26" y="1656"/>
                    </a:lnTo>
                    <a:lnTo>
                      <a:pt x="45" y="1562"/>
                    </a:lnTo>
                    <a:lnTo>
                      <a:pt x="67" y="1470"/>
                    </a:lnTo>
                    <a:lnTo>
                      <a:pt x="94" y="1378"/>
                    </a:lnTo>
                    <a:lnTo>
                      <a:pt x="124" y="1289"/>
                    </a:lnTo>
                    <a:lnTo>
                      <a:pt x="160" y="1201"/>
                    </a:lnTo>
                    <a:lnTo>
                      <a:pt x="199" y="1114"/>
                    </a:lnTo>
                    <a:lnTo>
                      <a:pt x="243" y="1029"/>
                    </a:lnTo>
                    <a:lnTo>
                      <a:pt x="290" y="947"/>
                    </a:lnTo>
                    <a:lnTo>
                      <a:pt x="341" y="867"/>
                    </a:lnTo>
                    <a:lnTo>
                      <a:pt x="397" y="790"/>
                    </a:lnTo>
                    <a:lnTo>
                      <a:pt x="455" y="714"/>
                    </a:lnTo>
                    <a:lnTo>
                      <a:pt x="518" y="642"/>
                    </a:lnTo>
                    <a:lnTo>
                      <a:pt x="585" y="572"/>
                    </a:lnTo>
                    <a:lnTo>
                      <a:pt x="655" y="506"/>
                    </a:lnTo>
                    <a:lnTo>
                      <a:pt x="728" y="443"/>
                    </a:lnTo>
                    <a:lnTo>
                      <a:pt x="805" y="384"/>
                    </a:lnTo>
                    <a:lnTo>
                      <a:pt x="886" y="328"/>
                    </a:lnTo>
                    <a:lnTo>
                      <a:pt x="969" y="274"/>
                    </a:lnTo>
                    <a:lnTo>
                      <a:pt x="1056" y="227"/>
                    </a:lnTo>
                    <a:lnTo>
                      <a:pt x="1146" y="182"/>
                    </a:lnTo>
                    <a:lnTo>
                      <a:pt x="1240" y="142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2A9B18">
                      <a:shade val="30000"/>
                      <a:satMod val="115000"/>
                    </a:srgbClr>
                  </a:gs>
                  <a:gs pos="100000">
                    <a:srgbClr val="2A9B18">
                      <a:shade val="100000"/>
                      <a:satMod val="115000"/>
                    </a:srgbClr>
                  </a:gs>
                </a:gsLst>
                <a:lin ang="13500000" scaled="1"/>
                <a:tileRect/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" name="Oval 218"/>
              <p:cNvSpPr/>
              <p:nvPr/>
            </p:nvSpPr>
            <p:spPr>
              <a:xfrm flipV="1">
                <a:off x="7128300" y="2206820"/>
                <a:ext cx="687491" cy="623788"/>
              </a:xfrm>
              <a:prstGeom prst="ellipse">
                <a:avLst/>
              </a:prstGeom>
              <a:gradFill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>
                      <a:alpha val="30000"/>
                    </a:schemeClr>
                  </a:gs>
                  <a:gs pos="100000">
                    <a:schemeClr val="accent1">
                      <a:tint val="23500"/>
                      <a:satMod val="160000"/>
                      <a:alpha val="41000"/>
                    </a:schemeClr>
                  </a:gs>
                  <a:gs pos="100000">
                    <a:schemeClr val="accent1">
                      <a:tint val="23500"/>
                      <a:satMod val="160000"/>
                      <a:alpha val="0"/>
                    </a:schemeClr>
                  </a:gs>
                </a:gsLst>
                <a:lin ang="5400000" scaled="1"/>
              </a:gradFill>
              <a:ln>
                <a:noFill/>
              </a:ln>
              <a:effectLst>
                <a:outerShdw blurRad="114300" sx="104000" sy="104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nb-NO">
                  <a:solidFill>
                    <a:srgbClr val="FFFFFF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22" name="Group 71"/>
          <p:cNvGrpSpPr>
            <a:grpSpLocks/>
          </p:cNvGrpSpPr>
          <p:nvPr/>
        </p:nvGrpSpPr>
        <p:grpSpPr bwMode="auto">
          <a:xfrm>
            <a:off x="2128071" y="2237408"/>
            <a:ext cx="257313" cy="348498"/>
            <a:chOff x="4212399" y="2500313"/>
            <a:chExt cx="975551" cy="1435364"/>
          </a:xfrm>
        </p:grpSpPr>
        <p:grpSp>
          <p:nvGrpSpPr>
            <p:cNvPr id="23" name="Group 72"/>
            <p:cNvGrpSpPr>
              <a:grpSpLocks/>
            </p:cNvGrpSpPr>
            <p:nvPr/>
          </p:nvGrpSpPr>
          <p:grpSpPr bwMode="auto">
            <a:xfrm>
              <a:off x="4212399" y="3437110"/>
              <a:ext cx="498086" cy="498567"/>
              <a:chOff x="5627209" y="1515183"/>
              <a:chExt cx="498086" cy="498567"/>
            </a:xfrm>
          </p:grpSpPr>
          <p:sp>
            <p:nvSpPr>
              <p:cNvPr id="28" name="Oval 227"/>
              <p:cNvSpPr>
                <a:spLocks noChangeArrowheads="1"/>
              </p:cNvSpPr>
              <p:nvPr/>
            </p:nvSpPr>
            <p:spPr bwMode="auto">
              <a:xfrm>
                <a:off x="5627209" y="1515183"/>
                <a:ext cx="498086" cy="498567"/>
              </a:xfrm>
              <a:prstGeom prst="ellipse">
                <a:avLst/>
              </a:prstGeom>
              <a:gradFill rotWithShape="0">
                <a:gsLst>
                  <a:gs pos="0">
                    <a:schemeClr val="bg1"/>
                  </a:gs>
                  <a:gs pos="100000">
                    <a:srgbClr val="D9D9D9"/>
                  </a:gs>
                </a:gsLst>
                <a:lin ang="5400000"/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  <a:effectLst>
                <a:outerShdw blurRad="63500" sx="102000" sy="102000" algn="ctr" rotWithShape="0">
                  <a:srgbClr val="000000">
                    <a:alpha val="39999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nb-NO">
                  <a:solidFill>
                    <a:srgbClr val="FFFFFF"/>
                  </a:solidFill>
                  <a:latin typeface="Calibri" charset="0"/>
                </a:endParaRPr>
              </a:p>
            </p:txBody>
          </p:sp>
          <p:sp>
            <p:nvSpPr>
              <p:cNvPr id="29" name="Oval 228"/>
              <p:cNvSpPr/>
              <p:nvPr/>
            </p:nvSpPr>
            <p:spPr>
              <a:xfrm>
                <a:off x="5765213" y="1650145"/>
                <a:ext cx="228422" cy="228642"/>
              </a:xfrm>
              <a:prstGeom prst="ellipse">
                <a:avLst/>
              </a:prstGeom>
              <a:solidFill>
                <a:srgbClr val="F0B71F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</p:grpSp>
        <p:sp>
          <p:nvSpPr>
            <p:cNvPr id="24" name="Freeform 57"/>
            <p:cNvSpPr>
              <a:spLocks/>
            </p:cNvSpPr>
            <p:nvPr/>
          </p:nvSpPr>
          <p:spPr bwMode="auto">
            <a:xfrm rot="15813706" flipH="1" flipV="1">
              <a:off x="4658809" y="3157252"/>
              <a:ext cx="255634" cy="802649"/>
            </a:xfrm>
            <a:custGeom>
              <a:avLst/>
              <a:gdLst/>
              <a:ahLst/>
              <a:cxnLst>
                <a:cxn ang="0">
                  <a:pos x="1431" y="75"/>
                </a:cxn>
                <a:cxn ang="0">
                  <a:pos x="1720" y="15"/>
                </a:cxn>
                <a:cxn ang="0">
                  <a:pos x="2010" y="0"/>
                </a:cxn>
                <a:cxn ang="0">
                  <a:pos x="2296" y="27"/>
                </a:cxn>
                <a:cxn ang="0">
                  <a:pos x="2573" y="93"/>
                </a:cxn>
                <a:cxn ang="0">
                  <a:pos x="2838" y="199"/>
                </a:cxn>
                <a:cxn ang="0">
                  <a:pos x="3086" y="341"/>
                </a:cxn>
                <a:cxn ang="0">
                  <a:pos x="3310" y="517"/>
                </a:cxn>
                <a:cxn ang="0">
                  <a:pos x="3509" y="727"/>
                </a:cxn>
                <a:cxn ang="0">
                  <a:pos x="3677" y="968"/>
                </a:cxn>
                <a:cxn ang="0">
                  <a:pos x="3811" y="1239"/>
                </a:cxn>
                <a:cxn ang="0">
                  <a:pos x="3856" y="1364"/>
                </a:cxn>
                <a:cxn ang="0">
                  <a:pos x="3893" y="1490"/>
                </a:cxn>
                <a:cxn ang="0">
                  <a:pos x="3920" y="1617"/>
                </a:cxn>
                <a:cxn ang="0">
                  <a:pos x="3940" y="1744"/>
                </a:cxn>
                <a:cxn ang="0">
                  <a:pos x="3950" y="1871"/>
                </a:cxn>
                <a:cxn ang="0">
                  <a:pos x="3953" y="1998"/>
                </a:cxn>
                <a:cxn ang="0">
                  <a:pos x="3947" y="2123"/>
                </a:cxn>
                <a:cxn ang="0">
                  <a:pos x="3933" y="2249"/>
                </a:cxn>
                <a:cxn ang="0">
                  <a:pos x="3912" y="2372"/>
                </a:cxn>
                <a:cxn ang="0">
                  <a:pos x="3882" y="2494"/>
                </a:cxn>
                <a:cxn ang="0">
                  <a:pos x="3809" y="2742"/>
                </a:cxn>
                <a:cxn ang="0">
                  <a:pos x="3693" y="3249"/>
                </a:cxn>
                <a:cxn ang="0">
                  <a:pos x="3626" y="3756"/>
                </a:cxn>
                <a:cxn ang="0">
                  <a:pos x="3605" y="4264"/>
                </a:cxn>
                <a:cxn ang="0">
                  <a:pos x="3623" y="4770"/>
                </a:cxn>
                <a:cxn ang="0">
                  <a:pos x="3675" y="5276"/>
                </a:cxn>
                <a:cxn ang="0">
                  <a:pos x="3758" y="5780"/>
                </a:cxn>
                <a:cxn ang="0">
                  <a:pos x="3864" y="6282"/>
                </a:cxn>
                <a:cxn ang="0">
                  <a:pos x="3991" y="6781"/>
                </a:cxn>
                <a:cxn ang="0">
                  <a:pos x="4130" y="7278"/>
                </a:cxn>
                <a:cxn ang="0">
                  <a:pos x="4279" y="7771"/>
                </a:cxn>
                <a:cxn ang="0">
                  <a:pos x="4318" y="7913"/>
                </a:cxn>
                <a:cxn ang="0">
                  <a:pos x="4192" y="7656"/>
                </a:cxn>
                <a:cxn ang="0">
                  <a:pos x="3944" y="7179"/>
                </a:cxn>
                <a:cxn ang="0">
                  <a:pos x="3689" y="6718"/>
                </a:cxn>
                <a:cxn ang="0">
                  <a:pos x="3382" y="6202"/>
                </a:cxn>
                <a:cxn ang="0">
                  <a:pos x="3034" y="5663"/>
                </a:cxn>
                <a:cxn ang="0">
                  <a:pos x="2648" y="5130"/>
                </a:cxn>
                <a:cxn ang="0">
                  <a:pos x="2235" y="4634"/>
                </a:cxn>
                <a:cxn ang="0">
                  <a:pos x="1800" y="4206"/>
                </a:cxn>
                <a:cxn ang="0">
                  <a:pos x="1352" y="3875"/>
                </a:cxn>
                <a:cxn ang="0">
                  <a:pos x="1117" y="3749"/>
                </a:cxn>
                <a:cxn ang="0">
                  <a:pos x="993" y="3677"/>
                </a:cxn>
                <a:cxn ang="0">
                  <a:pos x="873" y="3600"/>
                </a:cxn>
                <a:cxn ang="0">
                  <a:pos x="758" y="3514"/>
                </a:cxn>
                <a:cxn ang="0">
                  <a:pos x="648" y="3422"/>
                </a:cxn>
                <a:cxn ang="0">
                  <a:pos x="544" y="3323"/>
                </a:cxn>
                <a:cxn ang="0">
                  <a:pos x="447" y="3217"/>
                </a:cxn>
                <a:cxn ang="0">
                  <a:pos x="357" y="3103"/>
                </a:cxn>
                <a:cxn ang="0">
                  <a:pos x="276" y="2980"/>
                </a:cxn>
                <a:cxn ang="0">
                  <a:pos x="204" y="2851"/>
                </a:cxn>
                <a:cxn ang="0">
                  <a:pos x="142" y="2713"/>
                </a:cxn>
                <a:cxn ang="0">
                  <a:pos x="51" y="2425"/>
                </a:cxn>
                <a:cxn ang="0">
                  <a:pos x="6" y="2136"/>
                </a:cxn>
                <a:cxn ang="0">
                  <a:pos x="4" y="1846"/>
                </a:cxn>
                <a:cxn ang="0">
                  <a:pos x="45" y="1562"/>
                </a:cxn>
                <a:cxn ang="0">
                  <a:pos x="124" y="1289"/>
                </a:cxn>
                <a:cxn ang="0">
                  <a:pos x="243" y="1029"/>
                </a:cxn>
                <a:cxn ang="0">
                  <a:pos x="397" y="790"/>
                </a:cxn>
                <a:cxn ang="0">
                  <a:pos x="585" y="572"/>
                </a:cxn>
                <a:cxn ang="0">
                  <a:pos x="805" y="384"/>
                </a:cxn>
                <a:cxn ang="0">
                  <a:pos x="1056" y="227"/>
                </a:cxn>
              </a:cxnLst>
              <a:rect l="0" t="0" r="r" b="b"/>
              <a:pathLst>
                <a:path w="4330" h="7934">
                  <a:moveTo>
                    <a:pt x="1240" y="142"/>
                  </a:moveTo>
                  <a:lnTo>
                    <a:pt x="1335" y="106"/>
                  </a:lnTo>
                  <a:lnTo>
                    <a:pt x="1431" y="75"/>
                  </a:lnTo>
                  <a:lnTo>
                    <a:pt x="1526" y="51"/>
                  </a:lnTo>
                  <a:lnTo>
                    <a:pt x="1623" y="31"/>
                  </a:lnTo>
                  <a:lnTo>
                    <a:pt x="1720" y="15"/>
                  </a:lnTo>
                  <a:lnTo>
                    <a:pt x="1817" y="5"/>
                  </a:lnTo>
                  <a:lnTo>
                    <a:pt x="1914" y="0"/>
                  </a:lnTo>
                  <a:lnTo>
                    <a:pt x="2010" y="0"/>
                  </a:lnTo>
                  <a:lnTo>
                    <a:pt x="2106" y="4"/>
                  </a:lnTo>
                  <a:lnTo>
                    <a:pt x="2202" y="13"/>
                  </a:lnTo>
                  <a:lnTo>
                    <a:pt x="2296" y="27"/>
                  </a:lnTo>
                  <a:lnTo>
                    <a:pt x="2390" y="44"/>
                  </a:lnTo>
                  <a:lnTo>
                    <a:pt x="2483" y="66"/>
                  </a:lnTo>
                  <a:lnTo>
                    <a:pt x="2573" y="93"/>
                  </a:lnTo>
                  <a:lnTo>
                    <a:pt x="2663" y="124"/>
                  </a:lnTo>
                  <a:lnTo>
                    <a:pt x="2752" y="159"/>
                  </a:lnTo>
                  <a:lnTo>
                    <a:pt x="2838" y="199"/>
                  </a:lnTo>
                  <a:lnTo>
                    <a:pt x="2922" y="242"/>
                  </a:lnTo>
                  <a:lnTo>
                    <a:pt x="3005" y="290"/>
                  </a:lnTo>
                  <a:lnTo>
                    <a:pt x="3086" y="341"/>
                  </a:lnTo>
                  <a:lnTo>
                    <a:pt x="3163" y="396"/>
                  </a:lnTo>
                  <a:lnTo>
                    <a:pt x="3238" y="455"/>
                  </a:lnTo>
                  <a:lnTo>
                    <a:pt x="3310" y="517"/>
                  </a:lnTo>
                  <a:lnTo>
                    <a:pt x="3379" y="585"/>
                  </a:lnTo>
                  <a:lnTo>
                    <a:pt x="3446" y="654"/>
                  </a:lnTo>
                  <a:lnTo>
                    <a:pt x="3509" y="727"/>
                  </a:lnTo>
                  <a:lnTo>
                    <a:pt x="3569" y="805"/>
                  </a:lnTo>
                  <a:lnTo>
                    <a:pt x="3625" y="885"/>
                  </a:lnTo>
                  <a:lnTo>
                    <a:pt x="3677" y="968"/>
                  </a:lnTo>
                  <a:lnTo>
                    <a:pt x="3726" y="1056"/>
                  </a:lnTo>
                  <a:lnTo>
                    <a:pt x="3770" y="1146"/>
                  </a:lnTo>
                  <a:lnTo>
                    <a:pt x="3811" y="1239"/>
                  </a:lnTo>
                  <a:lnTo>
                    <a:pt x="3826" y="1280"/>
                  </a:lnTo>
                  <a:lnTo>
                    <a:pt x="3842" y="1322"/>
                  </a:lnTo>
                  <a:lnTo>
                    <a:pt x="3856" y="1364"/>
                  </a:lnTo>
                  <a:lnTo>
                    <a:pt x="3869" y="1406"/>
                  </a:lnTo>
                  <a:lnTo>
                    <a:pt x="3881" y="1448"/>
                  </a:lnTo>
                  <a:lnTo>
                    <a:pt x="3893" y="1490"/>
                  </a:lnTo>
                  <a:lnTo>
                    <a:pt x="3903" y="1533"/>
                  </a:lnTo>
                  <a:lnTo>
                    <a:pt x="3912" y="1574"/>
                  </a:lnTo>
                  <a:lnTo>
                    <a:pt x="3920" y="1617"/>
                  </a:lnTo>
                  <a:lnTo>
                    <a:pt x="3927" y="1659"/>
                  </a:lnTo>
                  <a:lnTo>
                    <a:pt x="3935" y="1702"/>
                  </a:lnTo>
                  <a:lnTo>
                    <a:pt x="3940" y="1744"/>
                  </a:lnTo>
                  <a:lnTo>
                    <a:pt x="3944" y="1787"/>
                  </a:lnTo>
                  <a:lnTo>
                    <a:pt x="3948" y="1828"/>
                  </a:lnTo>
                  <a:lnTo>
                    <a:pt x="3950" y="1871"/>
                  </a:lnTo>
                  <a:lnTo>
                    <a:pt x="3952" y="1913"/>
                  </a:lnTo>
                  <a:lnTo>
                    <a:pt x="3953" y="1956"/>
                  </a:lnTo>
                  <a:lnTo>
                    <a:pt x="3953" y="1998"/>
                  </a:lnTo>
                  <a:lnTo>
                    <a:pt x="3952" y="2040"/>
                  </a:lnTo>
                  <a:lnTo>
                    <a:pt x="3950" y="2081"/>
                  </a:lnTo>
                  <a:lnTo>
                    <a:pt x="3947" y="2123"/>
                  </a:lnTo>
                  <a:lnTo>
                    <a:pt x="3944" y="2165"/>
                  </a:lnTo>
                  <a:lnTo>
                    <a:pt x="3939" y="2207"/>
                  </a:lnTo>
                  <a:lnTo>
                    <a:pt x="3933" y="2249"/>
                  </a:lnTo>
                  <a:lnTo>
                    <a:pt x="3927" y="2290"/>
                  </a:lnTo>
                  <a:lnTo>
                    <a:pt x="3920" y="2331"/>
                  </a:lnTo>
                  <a:lnTo>
                    <a:pt x="3912" y="2372"/>
                  </a:lnTo>
                  <a:lnTo>
                    <a:pt x="3903" y="2413"/>
                  </a:lnTo>
                  <a:lnTo>
                    <a:pt x="3894" y="2453"/>
                  </a:lnTo>
                  <a:lnTo>
                    <a:pt x="3882" y="2494"/>
                  </a:lnTo>
                  <a:lnTo>
                    <a:pt x="3871" y="2533"/>
                  </a:lnTo>
                  <a:lnTo>
                    <a:pt x="3859" y="2573"/>
                  </a:lnTo>
                  <a:lnTo>
                    <a:pt x="3809" y="2742"/>
                  </a:lnTo>
                  <a:lnTo>
                    <a:pt x="3764" y="2911"/>
                  </a:lnTo>
                  <a:lnTo>
                    <a:pt x="3725" y="3080"/>
                  </a:lnTo>
                  <a:lnTo>
                    <a:pt x="3693" y="3249"/>
                  </a:lnTo>
                  <a:lnTo>
                    <a:pt x="3665" y="3418"/>
                  </a:lnTo>
                  <a:lnTo>
                    <a:pt x="3644" y="3587"/>
                  </a:lnTo>
                  <a:lnTo>
                    <a:pt x="3626" y="3756"/>
                  </a:lnTo>
                  <a:lnTo>
                    <a:pt x="3614" y="3925"/>
                  </a:lnTo>
                  <a:lnTo>
                    <a:pt x="3607" y="4095"/>
                  </a:lnTo>
                  <a:lnTo>
                    <a:pt x="3605" y="4264"/>
                  </a:lnTo>
                  <a:lnTo>
                    <a:pt x="3607" y="4432"/>
                  </a:lnTo>
                  <a:lnTo>
                    <a:pt x="3613" y="4602"/>
                  </a:lnTo>
                  <a:lnTo>
                    <a:pt x="3623" y="4770"/>
                  </a:lnTo>
                  <a:lnTo>
                    <a:pt x="3637" y="4939"/>
                  </a:lnTo>
                  <a:lnTo>
                    <a:pt x="3655" y="5108"/>
                  </a:lnTo>
                  <a:lnTo>
                    <a:pt x="3675" y="5276"/>
                  </a:lnTo>
                  <a:lnTo>
                    <a:pt x="3700" y="5444"/>
                  </a:lnTo>
                  <a:lnTo>
                    <a:pt x="3727" y="5613"/>
                  </a:lnTo>
                  <a:lnTo>
                    <a:pt x="3758" y="5780"/>
                  </a:lnTo>
                  <a:lnTo>
                    <a:pt x="3791" y="5947"/>
                  </a:lnTo>
                  <a:lnTo>
                    <a:pt x="3826" y="6115"/>
                  </a:lnTo>
                  <a:lnTo>
                    <a:pt x="3864" y="6282"/>
                  </a:lnTo>
                  <a:lnTo>
                    <a:pt x="3905" y="6448"/>
                  </a:lnTo>
                  <a:lnTo>
                    <a:pt x="3947" y="6616"/>
                  </a:lnTo>
                  <a:lnTo>
                    <a:pt x="3991" y="6781"/>
                  </a:lnTo>
                  <a:lnTo>
                    <a:pt x="4036" y="6947"/>
                  </a:lnTo>
                  <a:lnTo>
                    <a:pt x="4082" y="7113"/>
                  </a:lnTo>
                  <a:lnTo>
                    <a:pt x="4130" y="7278"/>
                  </a:lnTo>
                  <a:lnTo>
                    <a:pt x="4179" y="7442"/>
                  </a:lnTo>
                  <a:lnTo>
                    <a:pt x="4229" y="7606"/>
                  </a:lnTo>
                  <a:lnTo>
                    <a:pt x="4279" y="7771"/>
                  </a:lnTo>
                  <a:lnTo>
                    <a:pt x="4330" y="7934"/>
                  </a:lnTo>
                  <a:lnTo>
                    <a:pt x="4329" y="7933"/>
                  </a:lnTo>
                  <a:lnTo>
                    <a:pt x="4318" y="7913"/>
                  </a:lnTo>
                  <a:lnTo>
                    <a:pt x="4299" y="7873"/>
                  </a:lnTo>
                  <a:lnTo>
                    <a:pt x="4271" y="7817"/>
                  </a:lnTo>
                  <a:lnTo>
                    <a:pt x="4192" y="7656"/>
                  </a:lnTo>
                  <a:lnTo>
                    <a:pt x="4081" y="7441"/>
                  </a:lnTo>
                  <a:lnTo>
                    <a:pt x="4016" y="7316"/>
                  </a:lnTo>
                  <a:lnTo>
                    <a:pt x="3944" y="7179"/>
                  </a:lnTo>
                  <a:lnTo>
                    <a:pt x="3864" y="7033"/>
                  </a:lnTo>
                  <a:lnTo>
                    <a:pt x="3779" y="6879"/>
                  </a:lnTo>
                  <a:lnTo>
                    <a:pt x="3689" y="6718"/>
                  </a:lnTo>
                  <a:lnTo>
                    <a:pt x="3592" y="6550"/>
                  </a:lnTo>
                  <a:lnTo>
                    <a:pt x="3490" y="6378"/>
                  </a:lnTo>
                  <a:lnTo>
                    <a:pt x="3382" y="6202"/>
                  </a:lnTo>
                  <a:lnTo>
                    <a:pt x="3270" y="6024"/>
                  </a:lnTo>
                  <a:lnTo>
                    <a:pt x="3154" y="5843"/>
                  </a:lnTo>
                  <a:lnTo>
                    <a:pt x="3034" y="5663"/>
                  </a:lnTo>
                  <a:lnTo>
                    <a:pt x="2908" y="5483"/>
                  </a:lnTo>
                  <a:lnTo>
                    <a:pt x="2780" y="5305"/>
                  </a:lnTo>
                  <a:lnTo>
                    <a:pt x="2648" y="5130"/>
                  </a:lnTo>
                  <a:lnTo>
                    <a:pt x="2513" y="4960"/>
                  </a:lnTo>
                  <a:lnTo>
                    <a:pt x="2375" y="4793"/>
                  </a:lnTo>
                  <a:lnTo>
                    <a:pt x="2235" y="4634"/>
                  </a:lnTo>
                  <a:lnTo>
                    <a:pt x="2092" y="4482"/>
                  </a:lnTo>
                  <a:lnTo>
                    <a:pt x="1947" y="4339"/>
                  </a:lnTo>
                  <a:lnTo>
                    <a:pt x="1800" y="4206"/>
                  </a:lnTo>
                  <a:lnTo>
                    <a:pt x="1652" y="4083"/>
                  </a:lnTo>
                  <a:lnTo>
                    <a:pt x="1503" y="3973"/>
                  </a:lnTo>
                  <a:lnTo>
                    <a:pt x="1352" y="3875"/>
                  </a:lnTo>
                  <a:lnTo>
                    <a:pt x="1201" y="3792"/>
                  </a:lnTo>
                  <a:lnTo>
                    <a:pt x="1159" y="3771"/>
                  </a:lnTo>
                  <a:lnTo>
                    <a:pt x="1117" y="3749"/>
                  </a:lnTo>
                  <a:lnTo>
                    <a:pt x="1075" y="3725"/>
                  </a:lnTo>
                  <a:lnTo>
                    <a:pt x="1034" y="3702"/>
                  </a:lnTo>
                  <a:lnTo>
                    <a:pt x="993" y="3677"/>
                  </a:lnTo>
                  <a:lnTo>
                    <a:pt x="953" y="3652"/>
                  </a:lnTo>
                  <a:lnTo>
                    <a:pt x="912" y="3626"/>
                  </a:lnTo>
                  <a:lnTo>
                    <a:pt x="873" y="3600"/>
                  </a:lnTo>
                  <a:lnTo>
                    <a:pt x="834" y="3572"/>
                  </a:lnTo>
                  <a:lnTo>
                    <a:pt x="796" y="3544"/>
                  </a:lnTo>
                  <a:lnTo>
                    <a:pt x="758" y="3514"/>
                  </a:lnTo>
                  <a:lnTo>
                    <a:pt x="720" y="3484"/>
                  </a:lnTo>
                  <a:lnTo>
                    <a:pt x="684" y="3454"/>
                  </a:lnTo>
                  <a:lnTo>
                    <a:pt x="648" y="3422"/>
                  </a:lnTo>
                  <a:lnTo>
                    <a:pt x="612" y="3390"/>
                  </a:lnTo>
                  <a:lnTo>
                    <a:pt x="577" y="3357"/>
                  </a:lnTo>
                  <a:lnTo>
                    <a:pt x="544" y="3323"/>
                  </a:lnTo>
                  <a:lnTo>
                    <a:pt x="511" y="3288"/>
                  </a:lnTo>
                  <a:lnTo>
                    <a:pt x="479" y="3253"/>
                  </a:lnTo>
                  <a:lnTo>
                    <a:pt x="447" y="3217"/>
                  </a:lnTo>
                  <a:lnTo>
                    <a:pt x="416" y="3179"/>
                  </a:lnTo>
                  <a:lnTo>
                    <a:pt x="387" y="3142"/>
                  </a:lnTo>
                  <a:lnTo>
                    <a:pt x="357" y="3103"/>
                  </a:lnTo>
                  <a:lnTo>
                    <a:pt x="330" y="3063"/>
                  </a:lnTo>
                  <a:lnTo>
                    <a:pt x="302" y="3022"/>
                  </a:lnTo>
                  <a:lnTo>
                    <a:pt x="276" y="2980"/>
                  </a:lnTo>
                  <a:lnTo>
                    <a:pt x="251" y="2938"/>
                  </a:lnTo>
                  <a:lnTo>
                    <a:pt x="227" y="2895"/>
                  </a:lnTo>
                  <a:lnTo>
                    <a:pt x="204" y="2851"/>
                  </a:lnTo>
                  <a:lnTo>
                    <a:pt x="183" y="2806"/>
                  </a:lnTo>
                  <a:lnTo>
                    <a:pt x="162" y="2760"/>
                  </a:lnTo>
                  <a:lnTo>
                    <a:pt x="142" y="2713"/>
                  </a:lnTo>
                  <a:lnTo>
                    <a:pt x="107" y="2618"/>
                  </a:lnTo>
                  <a:lnTo>
                    <a:pt x="76" y="2522"/>
                  </a:lnTo>
                  <a:lnTo>
                    <a:pt x="51" y="2425"/>
                  </a:lnTo>
                  <a:lnTo>
                    <a:pt x="32" y="2329"/>
                  </a:lnTo>
                  <a:lnTo>
                    <a:pt x="16" y="2232"/>
                  </a:lnTo>
                  <a:lnTo>
                    <a:pt x="6" y="2136"/>
                  </a:lnTo>
                  <a:lnTo>
                    <a:pt x="1" y="2039"/>
                  </a:lnTo>
                  <a:lnTo>
                    <a:pt x="0" y="1942"/>
                  </a:lnTo>
                  <a:lnTo>
                    <a:pt x="4" y="1846"/>
                  </a:lnTo>
                  <a:lnTo>
                    <a:pt x="13" y="1751"/>
                  </a:lnTo>
                  <a:lnTo>
                    <a:pt x="26" y="1656"/>
                  </a:lnTo>
                  <a:lnTo>
                    <a:pt x="45" y="1562"/>
                  </a:lnTo>
                  <a:lnTo>
                    <a:pt x="67" y="1470"/>
                  </a:lnTo>
                  <a:lnTo>
                    <a:pt x="94" y="1378"/>
                  </a:lnTo>
                  <a:lnTo>
                    <a:pt x="124" y="1289"/>
                  </a:lnTo>
                  <a:lnTo>
                    <a:pt x="160" y="1201"/>
                  </a:lnTo>
                  <a:lnTo>
                    <a:pt x="199" y="1114"/>
                  </a:lnTo>
                  <a:lnTo>
                    <a:pt x="243" y="1029"/>
                  </a:lnTo>
                  <a:lnTo>
                    <a:pt x="290" y="947"/>
                  </a:lnTo>
                  <a:lnTo>
                    <a:pt x="341" y="867"/>
                  </a:lnTo>
                  <a:lnTo>
                    <a:pt x="397" y="790"/>
                  </a:lnTo>
                  <a:lnTo>
                    <a:pt x="455" y="714"/>
                  </a:lnTo>
                  <a:lnTo>
                    <a:pt x="518" y="642"/>
                  </a:lnTo>
                  <a:lnTo>
                    <a:pt x="585" y="572"/>
                  </a:lnTo>
                  <a:lnTo>
                    <a:pt x="655" y="506"/>
                  </a:lnTo>
                  <a:lnTo>
                    <a:pt x="728" y="443"/>
                  </a:lnTo>
                  <a:lnTo>
                    <a:pt x="805" y="384"/>
                  </a:lnTo>
                  <a:lnTo>
                    <a:pt x="886" y="328"/>
                  </a:lnTo>
                  <a:lnTo>
                    <a:pt x="969" y="274"/>
                  </a:lnTo>
                  <a:lnTo>
                    <a:pt x="1056" y="227"/>
                  </a:lnTo>
                  <a:lnTo>
                    <a:pt x="1146" y="182"/>
                  </a:lnTo>
                  <a:lnTo>
                    <a:pt x="1240" y="142"/>
                  </a:lnTo>
                  <a:close/>
                </a:path>
              </a:pathLst>
            </a:custGeom>
            <a:solidFill>
              <a:schemeClr val="bg1">
                <a:lumMod val="50000"/>
                <a:alpha val="2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nb-NO">
                <a:latin typeface="Calibri" charset="0"/>
              </a:endParaRPr>
            </a:p>
          </p:txBody>
        </p:sp>
        <p:grpSp>
          <p:nvGrpSpPr>
            <p:cNvPr id="25" name="Group 133"/>
            <p:cNvGrpSpPr>
              <a:grpSpLocks/>
            </p:cNvGrpSpPr>
            <p:nvPr/>
          </p:nvGrpSpPr>
          <p:grpSpPr bwMode="auto">
            <a:xfrm flipH="1">
              <a:off x="4436064" y="2500313"/>
              <a:ext cx="650367" cy="1241653"/>
              <a:chOff x="7000949" y="2143116"/>
              <a:chExt cx="999336" cy="1834351"/>
            </a:xfrm>
          </p:grpSpPr>
          <p:sp>
            <p:nvSpPr>
              <p:cNvPr id="26" name="Freeform 57"/>
              <p:cNvSpPr>
                <a:spLocks/>
              </p:cNvSpPr>
              <p:nvPr/>
            </p:nvSpPr>
            <p:spPr bwMode="auto">
              <a:xfrm>
                <a:off x="7000949" y="2143116"/>
                <a:ext cx="999336" cy="1834351"/>
              </a:xfrm>
              <a:custGeom>
                <a:avLst/>
                <a:gdLst/>
                <a:ahLst/>
                <a:cxnLst>
                  <a:cxn ang="0">
                    <a:pos x="1431" y="75"/>
                  </a:cxn>
                  <a:cxn ang="0">
                    <a:pos x="1720" y="15"/>
                  </a:cxn>
                  <a:cxn ang="0">
                    <a:pos x="2010" y="0"/>
                  </a:cxn>
                  <a:cxn ang="0">
                    <a:pos x="2296" y="27"/>
                  </a:cxn>
                  <a:cxn ang="0">
                    <a:pos x="2573" y="93"/>
                  </a:cxn>
                  <a:cxn ang="0">
                    <a:pos x="2838" y="199"/>
                  </a:cxn>
                  <a:cxn ang="0">
                    <a:pos x="3086" y="341"/>
                  </a:cxn>
                  <a:cxn ang="0">
                    <a:pos x="3310" y="517"/>
                  </a:cxn>
                  <a:cxn ang="0">
                    <a:pos x="3509" y="727"/>
                  </a:cxn>
                  <a:cxn ang="0">
                    <a:pos x="3677" y="968"/>
                  </a:cxn>
                  <a:cxn ang="0">
                    <a:pos x="3811" y="1239"/>
                  </a:cxn>
                  <a:cxn ang="0">
                    <a:pos x="3856" y="1364"/>
                  </a:cxn>
                  <a:cxn ang="0">
                    <a:pos x="3893" y="1490"/>
                  </a:cxn>
                  <a:cxn ang="0">
                    <a:pos x="3920" y="1617"/>
                  </a:cxn>
                  <a:cxn ang="0">
                    <a:pos x="3940" y="1744"/>
                  </a:cxn>
                  <a:cxn ang="0">
                    <a:pos x="3950" y="1871"/>
                  </a:cxn>
                  <a:cxn ang="0">
                    <a:pos x="3953" y="1998"/>
                  </a:cxn>
                  <a:cxn ang="0">
                    <a:pos x="3947" y="2123"/>
                  </a:cxn>
                  <a:cxn ang="0">
                    <a:pos x="3933" y="2249"/>
                  </a:cxn>
                  <a:cxn ang="0">
                    <a:pos x="3912" y="2372"/>
                  </a:cxn>
                  <a:cxn ang="0">
                    <a:pos x="3882" y="2494"/>
                  </a:cxn>
                  <a:cxn ang="0">
                    <a:pos x="3809" y="2742"/>
                  </a:cxn>
                  <a:cxn ang="0">
                    <a:pos x="3693" y="3249"/>
                  </a:cxn>
                  <a:cxn ang="0">
                    <a:pos x="3626" y="3756"/>
                  </a:cxn>
                  <a:cxn ang="0">
                    <a:pos x="3605" y="4264"/>
                  </a:cxn>
                  <a:cxn ang="0">
                    <a:pos x="3623" y="4770"/>
                  </a:cxn>
                  <a:cxn ang="0">
                    <a:pos x="3675" y="5276"/>
                  </a:cxn>
                  <a:cxn ang="0">
                    <a:pos x="3758" y="5780"/>
                  </a:cxn>
                  <a:cxn ang="0">
                    <a:pos x="3864" y="6282"/>
                  </a:cxn>
                  <a:cxn ang="0">
                    <a:pos x="3991" y="6781"/>
                  </a:cxn>
                  <a:cxn ang="0">
                    <a:pos x="4130" y="7278"/>
                  </a:cxn>
                  <a:cxn ang="0">
                    <a:pos x="4279" y="7771"/>
                  </a:cxn>
                  <a:cxn ang="0">
                    <a:pos x="4318" y="7913"/>
                  </a:cxn>
                  <a:cxn ang="0">
                    <a:pos x="4192" y="7656"/>
                  </a:cxn>
                  <a:cxn ang="0">
                    <a:pos x="3944" y="7179"/>
                  </a:cxn>
                  <a:cxn ang="0">
                    <a:pos x="3689" y="6718"/>
                  </a:cxn>
                  <a:cxn ang="0">
                    <a:pos x="3382" y="6202"/>
                  </a:cxn>
                  <a:cxn ang="0">
                    <a:pos x="3034" y="5663"/>
                  </a:cxn>
                  <a:cxn ang="0">
                    <a:pos x="2648" y="5130"/>
                  </a:cxn>
                  <a:cxn ang="0">
                    <a:pos x="2235" y="4634"/>
                  </a:cxn>
                  <a:cxn ang="0">
                    <a:pos x="1800" y="4206"/>
                  </a:cxn>
                  <a:cxn ang="0">
                    <a:pos x="1352" y="3875"/>
                  </a:cxn>
                  <a:cxn ang="0">
                    <a:pos x="1117" y="3749"/>
                  </a:cxn>
                  <a:cxn ang="0">
                    <a:pos x="993" y="3677"/>
                  </a:cxn>
                  <a:cxn ang="0">
                    <a:pos x="873" y="3600"/>
                  </a:cxn>
                  <a:cxn ang="0">
                    <a:pos x="758" y="3514"/>
                  </a:cxn>
                  <a:cxn ang="0">
                    <a:pos x="648" y="3422"/>
                  </a:cxn>
                  <a:cxn ang="0">
                    <a:pos x="544" y="3323"/>
                  </a:cxn>
                  <a:cxn ang="0">
                    <a:pos x="447" y="3217"/>
                  </a:cxn>
                  <a:cxn ang="0">
                    <a:pos x="357" y="3103"/>
                  </a:cxn>
                  <a:cxn ang="0">
                    <a:pos x="276" y="2980"/>
                  </a:cxn>
                  <a:cxn ang="0">
                    <a:pos x="204" y="2851"/>
                  </a:cxn>
                  <a:cxn ang="0">
                    <a:pos x="142" y="2713"/>
                  </a:cxn>
                  <a:cxn ang="0">
                    <a:pos x="51" y="2425"/>
                  </a:cxn>
                  <a:cxn ang="0">
                    <a:pos x="6" y="2136"/>
                  </a:cxn>
                  <a:cxn ang="0">
                    <a:pos x="4" y="1846"/>
                  </a:cxn>
                  <a:cxn ang="0">
                    <a:pos x="45" y="1562"/>
                  </a:cxn>
                  <a:cxn ang="0">
                    <a:pos x="124" y="1289"/>
                  </a:cxn>
                  <a:cxn ang="0">
                    <a:pos x="243" y="1029"/>
                  </a:cxn>
                  <a:cxn ang="0">
                    <a:pos x="397" y="790"/>
                  </a:cxn>
                  <a:cxn ang="0">
                    <a:pos x="585" y="572"/>
                  </a:cxn>
                  <a:cxn ang="0">
                    <a:pos x="805" y="384"/>
                  </a:cxn>
                  <a:cxn ang="0">
                    <a:pos x="1056" y="227"/>
                  </a:cxn>
                </a:cxnLst>
                <a:rect l="0" t="0" r="r" b="b"/>
                <a:pathLst>
                  <a:path w="4330" h="7934">
                    <a:moveTo>
                      <a:pt x="1240" y="142"/>
                    </a:moveTo>
                    <a:lnTo>
                      <a:pt x="1335" y="106"/>
                    </a:lnTo>
                    <a:lnTo>
                      <a:pt x="1431" y="75"/>
                    </a:lnTo>
                    <a:lnTo>
                      <a:pt x="1526" y="51"/>
                    </a:lnTo>
                    <a:lnTo>
                      <a:pt x="1623" y="31"/>
                    </a:lnTo>
                    <a:lnTo>
                      <a:pt x="1720" y="15"/>
                    </a:lnTo>
                    <a:lnTo>
                      <a:pt x="1817" y="5"/>
                    </a:lnTo>
                    <a:lnTo>
                      <a:pt x="1914" y="0"/>
                    </a:lnTo>
                    <a:lnTo>
                      <a:pt x="2010" y="0"/>
                    </a:lnTo>
                    <a:lnTo>
                      <a:pt x="2106" y="4"/>
                    </a:lnTo>
                    <a:lnTo>
                      <a:pt x="2202" y="13"/>
                    </a:lnTo>
                    <a:lnTo>
                      <a:pt x="2296" y="27"/>
                    </a:lnTo>
                    <a:lnTo>
                      <a:pt x="2390" y="44"/>
                    </a:lnTo>
                    <a:lnTo>
                      <a:pt x="2483" y="66"/>
                    </a:lnTo>
                    <a:lnTo>
                      <a:pt x="2573" y="93"/>
                    </a:lnTo>
                    <a:lnTo>
                      <a:pt x="2663" y="124"/>
                    </a:lnTo>
                    <a:lnTo>
                      <a:pt x="2752" y="159"/>
                    </a:lnTo>
                    <a:lnTo>
                      <a:pt x="2838" y="199"/>
                    </a:lnTo>
                    <a:lnTo>
                      <a:pt x="2922" y="242"/>
                    </a:lnTo>
                    <a:lnTo>
                      <a:pt x="3005" y="290"/>
                    </a:lnTo>
                    <a:lnTo>
                      <a:pt x="3086" y="341"/>
                    </a:lnTo>
                    <a:lnTo>
                      <a:pt x="3163" y="396"/>
                    </a:lnTo>
                    <a:lnTo>
                      <a:pt x="3238" y="455"/>
                    </a:lnTo>
                    <a:lnTo>
                      <a:pt x="3310" y="517"/>
                    </a:lnTo>
                    <a:lnTo>
                      <a:pt x="3379" y="585"/>
                    </a:lnTo>
                    <a:lnTo>
                      <a:pt x="3446" y="654"/>
                    </a:lnTo>
                    <a:lnTo>
                      <a:pt x="3509" y="727"/>
                    </a:lnTo>
                    <a:lnTo>
                      <a:pt x="3569" y="805"/>
                    </a:lnTo>
                    <a:lnTo>
                      <a:pt x="3625" y="885"/>
                    </a:lnTo>
                    <a:lnTo>
                      <a:pt x="3677" y="968"/>
                    </a:lnTo>
                    <a:lnTo>
                      <a:pt x="3726" y="1056"/>
                    </a:lnTo>
                    <a:lnTo>
                      <a:pt x="3770" y="1146"/>
                    </a:lnTo>
                    <a:lnTo>
                      <a:pt x="3811" y="1239"/>
                    </a:lnTo>
                    <a:lnTo>
                      <a:pt x="3826" y="1280"/>
                    </a:lnTo>
                    <a:lnTo>
                      <a:pt x="3842" y="1322"/>
                    </a:lnTo>
                    <a:lnTo>
                      <a:pt x="3856" y="1364"/>
                    </a:lnTo>
                    <a:lnTo>
                      <a:pt x="3869" y="1406"/>
                    </a:lnTo>
                    <a:lnTo>
                      <a:pt x="3881" y="1448"/>
                    </a:lnTo>
                    <a:lnTo>
                      <a:pt x="3893" y="1490"/>
                    </a:lnTo>
                    <a:lnTo>
                      <a:pt x="3903" y="1533"/>
                    </a:lnTo>
                    <a:lnTo>
                      <a:pt x="3912" y="1574"/>
                    </a:lnTo>
                    <a:lnTo>
                      <a:pt x="3920" y="1617"/>
                    </a:lnTo>
                    <a:lnTo>
                      <a:pt x="3927" y="1659"/>
                    </a:lnTo>
                    <a:lnTo>
                      <a:pt x="3935" y="1702"/>
                    </a:lnTo>
                    <a:lnTo>
                      <a:pt x="3940" y="1744"/>
                    </a:lnTo>
                    <a:lnTo>
                      <a:pt x="3944" y="1787"/>
                    </a:lnTo>
                    <a:lnTo>
                      <a:pt x="3948" y="1828"/>
                    </a:lnTo>
                    <a:lnTo>
                      <a:pt x="3950" y="1871"/>
                    </a:lnTo>
                    <a:lnTo>
                      <a:pt x="3952" y="1913"/>
                    </a:lnTo>
                    <a:lnTo>
                      <a:pt x="3953" y="1956"/>
                    </a:lnTo>
                    <a:lnTo>
                      <a:pt x="3953" y="1998"/>
                    </a:lnTo>
                    <a:lnTo>
                      <a:pt x="3952" y="2040"/>
                    </a:lnTo>
                    <a:lnTo>
                      <a:pt x="3950" y="2081"/>
                    </a:lnTo>
                    <a:lnTo>
                      <a:pt x="3947" y="2123"/>
                    </a:lnTo>
                    <a:lnTo>
                      <a:pt x="3944" y="2165"/>
                    </a:lnTo>
                    <a:lnTo>
                      <a:pt x="3939" y="2207"/>
                    </a:lnTo>
                    <a:lnTo>
                      <a:pt x="3933" y="2249"/>
                    </a:lnTo>
                    <a:lnTo>
                      <a:pt x="3927" y="2290"/>
                    </a:lnTo>
                    <a:lnTo>
                      <a:pt x="3920" y="2331"/>
                    </a:lnTo>
                    <a:lnTo>
                      <a:pt x="3912" y="2372"/>
                    </a:lnTo>
                    <a:lnTo>
                      <a:pt x="3903" y="2413"/>
                    </a:lnTo>
                    <a:lnTo>
                      <a:pt x="3894" y="2453"/>
                    </a:lnTo>
                    <a:lnTo>
                      <a:pt x="3882" y="2494"/>
                    </a:lnTo>
                    <a:lnTo>
                      <a:pt x="3871" y="2533"/>
                    </a:lnTo>
                    <a:lnTo>
                      <a:pt x="3859" y="2573"/>
                    </a:lnTo>
                    <a:lnTo>
                      <a:pt x="3809" y="2742"/>
                    </a:lnTo>
                    <a:lnTo>
                      <a:pt x="3764" y="2911"/>
                    </a:lnTo>
                    <a:lnTo>
                      <a:pt x="3725" y="3080"/>
                    </a:lnTo>
                    <a:lnTo>
                      <a:pt x="3693" y="3249"/>
                    </a:lnTo>
                    <a:lnTo>
                      <a:pt x="3665" y="3418"/>
                    </a:lnTo>
                    <a:lnTo>
                      <a:pt x="3644" y="3587"/>
                    </a:lnTo>
                    <a:lnTo>
                      <a:pt x="3626" y="3756"/>
                    </a:lnTo>
                    <a:lnTo>
                      <a:pt x="3614" y="3925"/>
                    </a:lnTo>
                    <a:lnTo>
                      <a:pt x="3607" y="4095"/>
                    </a:lnTo>
                    <a:lnTo>
                      <a:pt x="3605" y="4264"/>
                    </a:lnTo>
                    <a:lnTo>
                      <a:pt x="3607" y="4432"/>
                    </a:lnTo>
                    <a:lnTo>
                      <a:pt x="3613" y="4602"/>
                    </a:lnTo>
                    <a:lnTo>
                      <a:pt x="3623" y="4770"/>
                    </a:lnTo>
                    <a:lnTo>
                      <a:pt x="3637" y="4939"/>
                    </a:lnTo>
                    <a:lnTo>
                      <a:pt x="3655" y="5108"/>
                    </a:lnTo>
                    <a:lnTo>
                      <a:pt x="3675" y="5276"/>
                    </a:lnTo>
                    <a:lnTo>
                      <a:pt x="3700" y="5444"/>
                    </a:lnTo>
                    <a:lnTo>
                      <a:pt x="3727" y="5613"/>
                    </a:lnTo>
                    <a:lnTo>
                      <a:pt x="3758" y="5780"/>
                    </a:lnTo>
                    <a:lnTo>
                      <a:pt x="3791" y="5947"/>
                    </a:lnTo>
                    <a:lnTo>
                      <a:pt x="3826" y="6115"/>
                    </a:lnTo>
                    <a:lnTo>
                      <a:pt x="3864" y="6282"/>
                    </a:lnTo>
                    <a:lnTo>
                      <a:pt x="3905" y="6448"/>
                    </a:lnTo>
                    <a:lnTo>
                      <a:pt x="3947" y="6616"/>
                    </a:lnTo>
                    <a:lnTo>
                      <a:pt x="3991" y="6781"/>
                    </a:lnTo>
                    <a:lnTo>
                      <a:pt x="4036" y="6947"/>
                    </a:lnTo>
                    <a:lnTo>
                      <a:pt x="4082" y="7113"/>
                    </a:lnTo>
                    <a:lnTo>
                      <a:pt x="4130" y="7278"/>
                    </a:lnTo>
                    <a:lnTo>
                      <a:pt x="4179" y="7442"/>
                    </a:lnTo>
                    <a:lnTo>
                      <a:pt x="4229" y="7606"/>
                    </a:lnTo>
                    <a:lnTo>
                      <a:pt x="4279" y="7771"/>
                    </a:lnTo>
                    <a:lnTo>
                      <a:pt x="4330" y="7934"/>
                    </a:lnTo>
                    <a:lnTo>
                      <a:pt x="4329" y="7933"/>
                    </a:lnTo>
                    <a:lnTo>
                      <a:pt x="4318" y="7913"/>
                    </a:lnTo>
                    <a:lnTo>
                      <a:pt x="4299" y="7873"/>
                    </a:lnTo>
                    <a:lnTo>
                      <a:pt x="4271" y="7817"/>
                    </a:lnTo>
                    <a:lnTo>
                      <a:pt x="4192" y="7656"/>
                    </a:lnTo>
                    <a:lnTo>
                      <a:pt x="4081" y="7441"/>
                    </a:lnTo>
                    <a:lnTo>
                      <a:pt x="4016" y="7316"/>
                    </a:lnTo>
                    <a:lnTo>
                      <a:pt x="3944" y="7179"/>
                    </a:lnTo>
                    <a:lnTo>
                      <a:pt x="3864" y="7033"/>
                    </a:lnTo>
                    <a:lnTo>
                      <a:pt x="3779" y="6879"/>
                    </a:lnTo>
                    <a:lnTo>
                      <a:pt x="3689" y="6718"/>
                    </a:lnTo>
                    <a:lnTo>
                      <a:pt x="3592" y="6550"/>
                    </a:lnTo>
                    <a:lnTo>
                      <a:pt x="3490" y="6378"/>
                    </a:lnTo>
                    <a:lnTo>
                      <a:pt x="3382" y="6202"/>
                    </a:lnTo>
                    <a:lnTo>
                      <a:pt x="3270" y="6024"/>
                    </a:lnTo>
                    <a:lnTo>
                      <a:pt x="3154" y="5843"/>
                    </a:lnTo>
                    <a:lnTo>
                      <a:pt x="3034" y="5663"/>
                    </a:lnTo>
                    <a:lnTo>
                      <a:pt x="2908" y="5483"/>
                    </a:lnTo>
                    <a:lnTo>
                      <a:pt x="2780" y="5305"/>
                    </a:lnTo>
                    <a:lnTo>
                      <a:pt x="2648" y="5130"/>
                    </a:lnTo>
                    <a:lnTo>
                      <a:pt x="2513" y="4960"/>
                    </a:lnTo>
                    <a:lnTo>
                      <a:pt x="2375" y="4793"/>
                    </a:lnTo>
                    <a:lnTo>
                      <a:pt x="2235" y="4634"/>
                    </a:lnTo>
                    <a:lnTo>
                      <a:pt x="2092" y="4482"/>
                    </a:lnTo>
                    <a:lnTo>
                      <a:pt x="1947" y="4339"/>
                    </a:lnTo>
                    <a:lnTo>
                      <a:pt x="1800" y="4206"/>
                    </a:lnTo>
                    <a:lnTo>
                      <a:pt x="1652" y="4083"/>
                    </a:lnTo>
                    <a:lnTo>
                      <a:pt x="1503" y="3973"/>
                    </a:lnTo>
                    <a:lnTo>
                      <a:pt x="1352" y="3875"/>
                    </a:lnTo>
                    <a:lnTo>
                      <a:pt x="1201" y="3792"/>
                    </a:lnTo>
                    <a:lnTo>
                      <a:pt x="1159" y="3771"/>
                    </a:lnTo>
                    <a:lnTo>
                      <a:pt x="1117" y="3749"/>
                    </a:lnTo>
                    <a:lnTo>
                      <a:pt x="1075" y="3725"/>
                    </a:lnTo>
                    <a:lnTo>
                      <a:pt x="1034" y="3702"/>
                    </a:lnTo>
                    <a:lnTo>
                      <a:pt x="993" y="3677"/>
                    </a:lnTo>
                    <a:lnTo>
                      <a:pt x="953" y="3652"/>
                    </a:lnTo>
                    <a:lnTo>
                      <a:pt x="912" y="3626"/>
                    </a:lnTo>
                    <a:lnTo>
                      <a:pt x="873" y="3600"/>
                    </a:lnTo>
                    <a:lnTo>
                      <a:pt x="834" y="3572"/>
                    </a:lnTo>
                    <a:lnTo>
                      <a:pt x="796" y="3544"/>
                    </a:lnTo>
                    <a:lnTo>
                      <a:pt x="758" y="3514"/>
                    </a:lnTo>
                    <a:lnTo>
                      <a:pt x="720" y="3484"/>
                    </a:lnTo>
                    <a:lnTo>
                      <a:pt x="684" y="3454"/>
                    </a:lnTo>
                    <a:lnTo>
                      <a:pt x="648" y="3422"/>
                    </a:lnTo>
                    <a:lnTo>
                      <a:pt x="612" y="3390"/>
                    </a:lnTo>
                    <a:lnTo>
                      <a:pt x="577" y="3357"/>
                    </a:lnTo>
                    <a:lnTo>
                      <a:pt x="544" y="3323"/>
                    </a:lnTo>
                    <a:lnTo>
                      <a:pt x="511" y="3288"/>
                    </a:lnTo>
                    <a:lnTo>
                      <a:pt x="479" y="3253"/>
                    </a:lnTo>
                    <a:lnTo>
                      <a:pt x="447" y="3217"/>
                    </a:lnTo>
                    <a:lnTo>
                      <a:pt x="416" y="3179"/>
                    </a:lnTo>
                    <a:lnTo>
                      <a:pt x="387" y="3142"/>
                    </a:lnTo>
                    <a:lnTo>
                      <a:pt x="357" y="3103"/>
                    </a:lnTo>
                    <a:lnTo>
                      <a:pt x="330" y="3063"/>
                    </a:lnTo>
                    <a:lnTo>
                      <a:pt x="302" y="3022"/>
                    </a:lnTo>
                    <a:lnTo>
                      <a:pt x="276" y="2980"/>
                    </a:lnTo>
                    <a:lnTo>
                      <a:pt x="251" y="2938"/>
                    </a:lnTo>
                    <a:lnTo>
                      <a:pt x="227" y="2895"/>
                    </a:lnTo>
                    <a:lnTo>
                      <a:pt x="204" y="2851"/>
                    </a:lnTo>
                    <a:lnTo>
                      <a:pt x="183" y="2806"/>
                    </a:lnTo>
                    <a:lnTo>
                      <a:pt x="162" y="2760"/>
                    </a:lnTo>
                    <a:lnTo>
                      <a:pt x="142" y="2713"/>
                    </a:lnTo>
                    <a:lnTo>
                      <a:pt x="107" y="2618"/>
                    </a:lnTo>
                    <a:lnTo>
                      <a:pt x="76" y="2522"/>
                    </a:lnTo>
                    <a:lnTo>
                      <a:pt x="51" y="2425"/>
                    </a:lnTo>
                    <a:lnTo>
                      <a:pt x="32" y="2329"/>
                    </a:lnTo>
                    <a:lnTo>
                      <a:pt x="16" y="2232"/>
                    </a:lnTo>
                    <a:lnTo>
                      <a:pt x="6" y="2136"/>
                    </a:lnTo>
                    <a:lnTo>
                      <a:pt x="1" y="2039"/>
                    </a:lnTo>
                    <a:lnTo>
                      <a:pt x="0" y="1942"/>
                    </a:lnTo>
                    <a:lnTo>
                      <a:pt x="4" y="1846"/>
                    </a:lnTo>
                    <a:lnTo>
                      <a:pt x="13" y="1751"/>
                    </a:lnTo>
                    <a:lnTo>
                      <a:pt x="26" y="1656"/>
                    </a:lnTo>
                    <a:lnTo>
                      <a:pt x="45" y="1562"/>
                    </a:lnTo>
                    <a:lnTo>
                      <a:pt x="67" y="1470"/>
                    </a:lnTo>
                    <a:lnTo>
                      <a:pt x="94" y="1378"/>
                    </a:lnTo>
                    <a:lnTo>
                      <a:pt x="124" y="1289"/>
                    </a:lnTo>
                    <a:lnTo>
                      <a:pt x="160" y="1201"/>
                    </a:lnTo>
                    <a:lnTo>
                      <a:pt x="199" y="1114"/>
                    </a:lnTo>
                    <a:lnTo>
                      <a:pt x="243" y="1029"/>
                    </a:lnTo>
                    <a:lnTo>
                      <a:pt x="290" y="947"/>
                    </a:lnTo>
                    <a:lnTo>
                      <a:pt x="341" y="867"/>
                    </a:lnTo>
                    <a:lnTo>
                      <a:pt x="397" y="790"/>
                    </a:lnTo>
                    <a:lnTo>
                      <a:pt x="455" y="714"/>
                    </a:lnTo>
                    <a:lnTo>
                      <a:pt x="518" y="642"/>
                    </a:lnTo>
                    <a:lnTo>
                      <a:pt x="585" y="572"/>
                    </a:lnTo>
                    <a:lnTo>
                      <a:pt x="655" y="506"/>
                    </a:lnTo>
                    <a:lnTo>
                      <a:pt x="728" y="443"/>
                    </a:lnTo>
                    <a:lnTo>
                      <a:pt x="805" y="384"/>
                    </a:lnTo>
                    <a:lnTo>
                      <a:pt x="886" y="328"/>
                    </a:lnTo>
                    <a:lnTo>
                      <a:pt x="969" y="274"/>
                    </a:lnTo>
                    <a:lnTo>
                      <a:pt x="1056" y="227"/>
                    </a:lnTo>
                    <a:lnTo>
                      <a:pt x="1146" y="182"/>
                    </a:lnTo>
                    <a:lnTo>
                      <a:pt x="1240" y="142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ED9901">
                      <a:lumMod val="87000"/>
                    </a:srgbClr>
                  </a:gs>
                  <a:gs pos="100000">
                    <a:srgbClr val="F0B71F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7" name="Oval 226"/>
              <p:cNvSpPr/>
              <p:nvPr/>
            </p:nvSpPr>
            <p:spPr>
              <a:xfrm flipV="1">
                <a:off x="7128300" y="2206820"/>
                <a:ext cx="687491" cy="623788"/>
              </a:xfrm>
              <a:prstGeom prst="ellipse">
                <a:avLst/>
              </a:prstGeom>
              <a:gradFill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>
                      <a:alpha val="35000"/>
                    </a:schemeClr>
                  </a:gs>
                  <a:gs pos="100000">
                    <a:schemeClr val="accent1">
                      <a:tint val="23500"/>
                      <a:satMod val="160000"/>
                      <a:alpha val="41000"/>
                    </a:schemeClr>
                  </a:gs>
                  <a:gs pos="100000">
                    <a:schemeClr val="accent1">
                      <a:tint val="23500"/>
                      <a:satMod val="160000"/>
                      <a:alpha val="0"/>
                    </a:schemeClr>
                  </a:gs>
                </a:gsLst>
                <a:lin ang="5400000" scaled="1"/>
              </a:gradFill>
              <a:ln>
                <a:noFill/>
              </a:ln>
              <a:effectLst>
                <a:outerShdw blurRad="114300" sx="104000" sy="104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nb-NO">
                  <a:solidFill>
                    <a:srgbClr val="FFFFFF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30" name="Group 308"/>
          <p:cNvGrpSpPr/>
          <p:nvPr/>
        </p:nvGrpSpPr>
        <p:grpSpPr>
          <a:xfrm>
            <a:off x="4208687" y="1614286"/>
            <a:ext cx="3531665" cy="224418"/>
            <a:chOff x="7786687" y="4040781"/>
            <a:chExt cx="2043228" cy="224418"/>
          </a:xfrm>
        </p:grpSpPr>
        <p:grpSp>
          <p:nvGrpSpPr>
            <p:cNvPr id="31" name="Group 71"/>
            <p:cNvGrpSpPr>
              <a:grpSpLocks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86687" y="4040781"/>
              <a:ext cx="152657" cy="224394"/>
              <a:chOff x="4212399" y="2500313"/>
              <a:chExt cx="975551" cy="1435364"/>
            </a:xfrm>
          </p:grpSpPr>
          <p:grpSp>
            <p:nvGrpSpPr>
              <p:cNvPr id="33" name="Group 72"/>
              <p:cNvGrpSpPr>
                <a:grpSpLocks/>
              </p:cNvGrpSpPr>
              <p:nvPr/>
            </p:nvGrpSpPr>
            <p:grpSpPr bwMode="auto">
              <a:xfrm>
                <a:off x="4212399" y="3437110"/>
                <a:ext cx="498086" cy="498567"/>
                <a:chOff x="5627209" y="1515183"/>
                <a:chExt cx="498086" cy="498567"/>
              </a:xfrm>
            </p:grpSpPr>
            <p:sp>
              <p:nvSpPr>
                <p:cNvPr id="38" name="Oval 273"/>
                <p:cNvSpPr>
                  <a:spLocks noChangeArrowheads="1"/>
                </p:cNvSpPr>
                <p:nvPr/>
              </p:nvSpPr>
              <p:spPr bwMode="auto">
                <a:xfrm>
                  <a:off x="5627209" y="1515183"/>
                  <a:ext cx="498086" cy="498567"/>
                </a:xfrm>
                <a:prstGeom prst="ellipse">
                  <a:avLst/>
                </a:prstGeom>
                <a:gradFill rotWithShape="0">
                  <a:gsLst>
                    <a:gs pos="0">
                      <a:schemeClr val="bg1"/>
                    </a:gs>
                    <a:gs pos="100000">
                      <a:srgbClr val="D9D9D9"/>
                    </a:gs>
                  </a:gsLst>
                  <a:lin ang="5400000"/>
                </a:gradFill>
                <a:ln w="3175">
                  <a:solidFill>
                    <a:schemeClr val="bg1"/>
                  </a:solidFill>
                  <a:round/>
                  <a:headEnd/>
                  <a:tailEnd/>
                </a:ln>
                <a:effectLst>
                  <a:outerShdw blurRad="63500" sx="102000" sy="102000" algn="ctr" rotWithShape="0">
                    <a:srgbClr val="000000">
                      <a:alpha val="39999"/>
                    </a:srgbClr>
                  </a:outerShdw>
                </a:effectLst>
              </p:spPr>
              <p:txBody>
                <a:bodyPr anchor="ctr"/>
                <a:lstStyle/>
                <a:p>
                  <a:pPr algn="ctr">
                    <a:defRPr/>
                  </a:pPr>
                  <a:endParaRPr lang="nb-NO" sz="1600">
                    <a:solidFill>
                      <a:srgbClr val="FFFFFF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endParaRPr>
                </a:p>
              </p:txBody>
            </p:sp>
            <p:sp>
              <p:nvSpPr>
                <p:cNvPr id="39" name="Oval 274"/>
                <p:cNvSpPr/>
                <p:nvPr/>
              </p:nvSpPr>
              <p:spPr>
                <a:xfrm>
                  <a:off x="5765213" y="1650145"/>
                  <a:ext cx="228422" cy="228642"/>
                </a:xfrm>
                <a:prstGeom prst="ellipse">
                  <a:avLst/>
                </a:prstGeom>
                <a:solidFill>
                  <a:srgbClr val="CE202A"/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b-NO" sz="1600">
                    <a:latin typeface="HY견고딕" panose="02030600000101010101" pitchFamily="18" charset="-127"/>
                    <a:ea typeface="HY견고딕" panose="02030600000101010101" pitchFamily="18" charset="-127"/>
                  </a:endParaRPr>
                </a:p>
              </p:txBody>
            </p:sp>
          </p:grpSp>
          <p:sp>
            <p:nvSpPr>
              <p:cNvPr id="34" name="Freeform 57"/>
              <p:cNvSpPr>
                <a:spLocks/>
              </p:cNvSpPr>
              <p:nvPr/>
            </p:nvSpPr>
            <p:spPr bwMode="auto">
              <a:xfrm rot="15813706" flipH="1" flipV="1">
                <a:off x="4658809" y="3157252"/>
                <a:ext cx="255634" cy="802649"/>
              </a:xfrm>
              <a:custGeom>
                <a:avLst/>
                <a:gdLst/>
                <a:ahLst/>
                <a:cxnLst>
                  <a:cxn ang="0">
                    <a:pos x="1431" y="75"/>
                  </a:cxn>
                  <a:cxn ang="0">
                    <a:pos x="1720" y="15"/>
                  </a:cxn>
                  <a:cxn ang="0">
                    <a:pos x="2010" y="0"/>
                  </a:cxn>
                  <a:cxn ang="0">
                    <a:pos x="2296" y="27"/>
                  </a:cxn>
                  <a:cxn ang="0">
                    <a:pos x="2573" y="93"/>
                  </a:cxn>
                  <a:cxn ang="0">
                    <a:pos x="2838" y="199"/>
                  </a:cxn>
                  <a:cxn ang="0">
                    <a:pos x="3086" y="341"/>
                  </a:cxn>
                  <a:cxn ang="0">
                    <a:pos x="3310" y="517"/>
                  </a:cxn>
                  <a:cxn ang="0">
                    <a:pos x="3509" y="727"/>
                  </a:cxn>
                  <a:cxn ang="0">
                    <a:pos x="3677" y="968"/>
                  </a:cxn>
                  <a:cxn ang="0">
                    <a:pos x="3811" y="1239"/>
                  </a:cxn>
                  <a:cxn ang="0">
                    <a:pos x="3856" y="1364"/>
                  </a:cxn>
                  <a:cxn ang="0">
                    <a:pos x="3893" y="1490"/>
                  </a:cxn>
                  <a:cxn ang="0">
                    <a:pos x="3920" y="1617"/>
                  </a:cxn>
                  <a:cxn ang="0">
                    <a:pos x="3940" y="1744"/>
                  </a:cxn>
                  <a:cxn ang="0">
                    <a:pos x="3950" y="1871"/>
                  </a:cxn>
                  <a:cxn ang="0">
                    <a:pos x="3953" y="1998"/>
                  </a:cxn>
                  <a:cxn ang="0">
                    <a:pos x="3947" y="2123"/>
                  </a:cxn>
                  <a:cxn ang="0">
                    <a:pos x="3933" y="2249"/>
                  </a:cxn>
                  <a:cxn ang="0">
                    <a:pos x="3912" y="2372"/>
                  </a:cxn>
                  <a:cxn ang="0">
                    <a:pos x="3882" y="2494"/>
                  </a:cxn>
                  <a:cxn ang="0">
                    <a:pos x="3809" y="2742"/>
                  </a:cxn>
                  <a:cxn ang="0">
                    <a:pos x="3693" y="3249"/>
                  </a:cxn>
                  <a:cxn ang="0">
                    <a:pos x="3626" y="3756"/>
                  </a:cxn>
                  <a:cxn ang="0">
                    <a:pos x="3605" y="4264"/>
                  </a:cxn>
                  <a:cxn ang="0">
                    <a:pos x="3623" y="4770"/>
                  </a:cxn>
                  <a:cxn ang="0">
                    <a:pos x="3675" y="5276"/>
                  </a:cxn>
                  <a:cxn ang="0">
                    <a:pos x="3758" y="5780"/>
                  </a:cxn>
                  <a:cxn ang="0">
                    <a:pos x="3864" y="6282"/>
                  </a:cxn>
                  <a:cxn ang="0">
                    <a:pos x="3991" y="6781"/>
                  </a:cxn>
                  <a:cxn ang="0">
                    <a:pos x="4130" y="7278"/>
                  </a:cxn>
                  <a:cxn ang="0">
                    <a:pos x="4279" y="7771"/>
                  </a:cxn>
                  <a:cxn ang="0">
                    <a:pos x="4318" y="7913"/>
                  </a:cxn>
                  <a:cxn ang="0">
                    <a:pos x="4192" y="7656"/>
                  </a:cxn>
                  <a:cxn ang="0">
                    <a:pos x="3944" y="7179"/>
                  </a:cxn>
                  <a:cxn ang="0">
                    <a:pos x="3689" y="6718"/>
                  </a:cxn>
                  <a:cxn ang="0">
                    <a:pos x="3382" y="6202"/>
                  </a:cxn>
                  <a:cxn ang="0">
                    <a:pos x="3034" y="5663"/>
                  </a:cxn>
                  <a:cxn ang="0">
                    <a:pos x="2648" y="5130"/>
                  </a:cxn>
                  <a:cxn ang="0">
                    <a:pos x="2235" y="4634"/>
                  </a:cxn>
                  <a:cxn ang="0">
                    <a:pos x="1800" y="4206"/>
                  </a:cxn>
                  <a:cxn ang="0">
                    <a:pos x="1352" y="3875"/>
                  </a:cxn>
                  <a:cxn ang="0">
                    <a:pos x="1117" y="3749"/>
                  </a:cxn>
                  <a:cxn ang="0">
                    <a:pos x="993" y="3677"/>
                  </a:cxn>
                  <a:cxn ang="0">
                    <a:pos x="873" y="3600"/>
                  </a:cxn>
                  <a:cxn ang="0">
                    <a:pos x="758" y="3514"/>
                  </a:cxn>
                  <a:cxn ang="0">
                    <a:pos x="648" y="3422"/>
                  </a:cxn>
                  <a:cxn ang="0">
                    <a:pos x="544" y="3323"/>
                  </a:cxn>
                  <a:cxn ang="0">
                    <a:pos x="447" y="3217"/>
                  </a:cxn>
                  <a:cxn ang="0">
                    <a:pos x="357" y="3103"/>
                  </a:cxn>
                  <a:cxn ang="0">
                    <a:pos x="276" y="2980"/>
                  </a:cxn>
                  <a:cxn ang="0">
                    <a:pos x="204" y="2851"/>
                  </a:cxn>
                  <a:cxn ang="0">
                    <a:pos x="142" y="2713"/>
                  </a:cxn>
                  <a:cxn ang="0">
                    <a:pos x="51" y="2425"/>
                  </a:cxn>
                  <a:cxn ang="0">
                    <a:pos x="6" y="2136"/>
                  </a:cxn>
                  <a:cxn ang="0">
                    <a:pos x="4" y="1846"/>
                  </a:cxn>
                  <a:cxn ang="0">
                    <a:pos x="45" y="1562"/>
                  </a:cxn>
                  <a:cxn ang="0">
                    <a:pos x="124" y="1289"/>
                  </a:cxn>
                  <a:cxn ang="0">
                    <a:pos x="243" y="1029"/>
                  </a:cxn>
                  <a:cxn ang="0">
                    <a:pos x="397" y="790"/>
                  </a:cxn>
                  <a:cxn ang="0">
                    <a:pos x="585" y="572"/>
                  </a:cxn>
                  <a:cxn ang="0">
                    <a:pos x="805" y="384"/>
                  </a:cxn>
                  <a:cxn ang="0">
                    <a:pos x="1056" y="227"/>
                  </a:cxn>
                </a:cxnLst>
                <a:rect l="0" t="0" r="r" b="b"/>
                <a:pathLst>
                  <a:path w="4330" h="7934">
                    <a:moveTo>
                      <a:pt x="1240" y="142"/>
                    </a:moveTo>
                    <a:lnTo>
                      <a:pt x="1335" y="106"/>
                    </a:lnTo>
                    <a:lnTo>
                      <a:pt x="1431" y="75"/>
                    </a:lnTo>
                    <a:lnTo>
                      <a:pt x="1526" y="51"/>
                    </a:lnTo>
                    <a:lnTo>
                      <a:pt x="1623" y="31"/>
                    </a:lnTo>
                    <a:lnTo>
                      <a:pt x="1720" y="15"/>
                    </a:lnTo>
                    <a:lnTo>
                      <a:pt x="1817" y="5"/>
                    </a:lnTo>
                    <a:lnTo>
                      <a:pt x="1914" y="0"/>
                    </a:lnTo>
                    <a:lnTo>
                      <a:pt x="2010" y="0"/>
                    </a:lnTo>
                    <a:lnTo>
                      <a:pt x="2106" y="4"/>
                    </a:lnTo>
                    <a:lnTo>
                      <a:pt x="2202" y="13"/>
                    </a:lnTo>
                    <a:lnTo>
                      <a:pt x="2296" y="27"/>
                    </a:lnTo>
                    <a:lnTo>
                      <a:pt x="2390" y="44"/>
                    </a:lnTo>
                    <a:lnTo>
                      <a:pt x="2483" y="66"/>
                    </a:lnTo>
                    <a:lnTo>
                      <a:pt x="2573" y="93"/>
                    </a:lnTo>
                    <a:lnTo>
                      <a:pt x="2663" y="124"/>
                    </a:lnTo>
                    <a:lnTo>
                      <a:pt x="2752" y="159"/>
                    </a:lnTo>
                    <a:lnTo>
                      <a:pt x="2838" y="199"/>
                    </a:lnTo>
                    <a:lnTo>
                      <a:pt x="2922" y="242"/>
                    </a:lnTo>
                    <a:lnTo>
                      <a:pt x="3005" y="290"/>
                    </a:lnTo>
                    <a:lnTo>
                      <a:pt x="3086" y="341"/>
                    </a:lnTo>
                    <a:lnTo>
                      <a:pt x="3163" y="396"/>
                    </a:lnTo>
                    <a:lnTo>
                      <a:pt x="3238" y="455"/>
                    </a:lnTo>
                    <a:lnTo>
                      <a:pt x="3310" y="517"/>
                    </a:lnTo>
                    <a:lnTo>
                      <a:pt x="3379" y="585"/>
                    </a:lnTo>
                    <a:lnTo>
                      <a:pt x="3446" y="654"/>
                    </a:lnTo>
                    <a:lnTo>
                      <a:pt x="3509" y="727"/>
                    </a:lnTo>
                    <a:lnTo>
                      <a:pt x="3569" y="805"/>
                    </a:lnTo>
                    <a:lnTo>
                      <a:pt x="3625" y="885"/>
                    </a:lnTo>
                    <a:lnTo>
                      <a:pt x="3677" y="968"/>
                    </a:lnTo>
                    <a:lnTo>
                      <a:pt x="3726" y="1056"/>
                    </a:lnTo>
                    <a:lnTo>
                      <a:pt x="3770" y="1146"/>
                    </a:lnTo>
                    <a:lnTo>
                      <a:pt x="3811" y="1239"/>
                    </a:lnTo>
                    <a:lnTo>
                      <a:pt x="3826" y="1280"/>
                    </a:lnTo>
                    <a:lnTo>
                      <a:pt x="3842" y="1322"/>
                    </a:lnTo>
                    <a:lnTo>
                      <a:pt x="3856" y="1364"/>
                    </a:lnTo>
                    <a:lnTo>
                      <a:pt x="3869" y="1406"/>
                    </a:lnTo>
                    <a:lnTo>
                      <a:pt x="3881" y="1448"/>
                    </a:lnTo>
                    <a:lnTo>
                      <a:pt x="3893" y="1490"/>
                    </a:lnTo>
                    <a:lnTo>
                      <a:pt x="3903" y="1533"/>
                    </a:lnTo>
                    <a:lnTo>
                      <a:pt x="3912" y="1574"/>
                    </a:lnTo>
                    <a:lnTo>
                      <a:pt x="3920" y="1617"/>
                    </a:lnTo>
                    <a:lnTo>
                      <a:pt x="3927" y="1659"/>
                    </a:lnTo>
                    <a:lnTo>
                      <a:pt x="3935" y="1702"/>
                    </a:lnTo>
                    <a:lnTo>
                      <a:pt x="3940" y="1744"/>
                    </a:lnTo>
                    <a:lnTo>
                      <a:pt x="3944" y="1787"/>
                    </a:lnTo>
                    <a:lnTo>
                      <a:pt x="3948" y="1828"/>
                    </a:lnTo>
                    <a:lnTo>
                      <a:pt x="3950" y="1871"/>
                    </a:lnTo>
                    <a:lnTo>
                      <a:pt x="3952" y="1913"/>
                    </a:lnTo>
                    <a:lnTo>
                      <a:pt x="3953" y="1956"/>
                    </a:lnTo>
                    <a:lnTo>
                      <a:pt x="3953" y="1998"/>
                    </a:lnTo>
                    <a:lnTo>
                      <a:pt x="3952" y="2040"/>
                    </a:lnTo>
                    <a:lnTo>
                      <a:pt x="3950" y="2081"/>
                    </a:lnTo>
                    <a:lnTo>
                      <a:pt x="3947" y="2123"/>
                    </a:lnTo>
                    <a:lnTo>
                      <a:pt x="3944" y="2165"/>
                    </a:lnTo>
                    <a:lnTo>
                      <a:pt x="3939" y="2207"/>
                    </a:lnTo>
                    <a:lnTo>
                      <a:pt x="3933" y="2249"/>
                    </a:lnTo>
                    <a:lnTo>
                      <a:pt x="3927" y="2290"/>
                    </a:lnTo>
                    <a:lnTo>
                      <a:pt x="3920" y="2331"/>
                    </a:lnTo>
                    <a:lnTo>
                      <a:pt x="3912" y="2372"/>
                    </a:lnTo>
                    <a:lnTo>
                      <a:pt x="3903" y="2413"/>
                    </a:lnTo>
                    <a:lnTo>
                      <a:pt x="3894" y="2453"/>
                    </a:lnTo>
                    <a:lnTo>
                      <a:pt x="3882" y="2494"/>
                    </a:lnTo>
                    <a:lnTo>
                      <a:pt x="3871" y="2533"/>
                    </a:lnTo>
                    <a:lnTo>
                      <a:pt x="3859" y="2573"/>
                    </a:lnTo>
                    <a:lnTo>
                      <a:pt x="3809" y="2742"/>
                    </a:lnTo>
                    <a:lnTo>
                      <a:pt x="3764" y="2911"/>
                    </a:lnTo>
                    <a:lnTo>
                      <a:pt x="3725" y="3080"/>
                    </a:lnTo>
                    <a:lnTo>
                      <a:pt x="3693" y="3249"/>
                    </a:lnTo>
                    <a:lnTo>
                      <a:pt x="3665" y="3418"/>
                    </a:lnTo>
                    <a:lnTo>
                      <a:pt x="3644" y="3587"/>
                    </a:lnTo>
                    <a:lnTo>
                      <a:pt x="3626" y="3756"/>
                    </a:lnTo>
                    <a:lnTo>
                      <a:pt x="3614" y="3925"/>
                    </a:lnTo>
                    <a:lnTo>
                      <a:pt x="3607" y="4095"/>
                    </a:lnTo>
                    <a:lnTo>
                      <a:pt x="3605" y="4264"/>
                    </a:lnTo>
                    <a:lnTo>
                      <a:pt x="3607" y="4432"/>
                    </a:lnTo>
                    <a:lnTo>
                      <a:pt x="3613" y="4602"/>
                    </a:lnTo>
                    <a:lnTo>
                      <a:pt x="3623" y="4770"/>
                    </a:lnTo>
                    <a:lnTo>
                      <a:pt x="3637" y="4939"/>
                    </a:lnTo>
                    <a:lnTo>
                      <a:pt x="3655" y="5108"/>
                    </a:lnTo>
                    <a:lnTo>
                      <a:pt x="3675" y="5276"/>
                    </a:lnTo>
                    <a:lnTo>
                      <a:pt x="3700" y="5444"/>
                    </a:lnTo>
                    <a:lnTo>
                      <a:pt x="3727" y="5613"/>
                    </a:lnTo>
                    <a:lnTo>
                      <a:pt x="3758" y="5780"/>
                    </a:lnTo>
                    <a:lnTo>
                      <a:pt x="3791" y="5947"/>
                    </a:lnTo>
                    <a:lnTo>
                      <a:pt x="3826" y="6115"/>
                    </a:lnTo>
                    <a:lnTo>
                      <a:pt x="3864" y="6282"/>
                    </a:lnTo>
                    <a:lnTo>
                      <a:pt x="3905" y="6448"/>
                    </a:lnTo>
                    <a:lnTo>
                      <a:pt x="3947" y="6616"/>
                    </a:lnTo>
                    <a:lnTo>
                      <a:pt x="3991" y="6781"/>
                    </a:lnTo>
                    <a:lnTo>
                      <a:pt x="4036" y="6947"/>
                    </a:lnTo>
                    <a:lnTo>
                      <a:pt x="4082" y="7113"/>
                    </a:lnTo>
                    <a:lnTo>
                      <a:pt x="4130" y="7278"/>
                    </a:lnTo>
                    <a:lnTo>
                      <a:pt x="4179" y="7442"/>
                    </a:lnTo>
                    <a:lnTo>
                      <a:pt x="4229" y="7606"/>
                    </a:lnTo>
                    <a:lnTo>
                      <a:pt x="4279" y="7771"/>
                    </a:lnTo>
                    <a:lnTo>
                      <a:pt x="4330" y="7934"/>
                    </a:lnTo>
                    <a:lnTo>
                      <a:pt x="4329" y="7933"/>
                    </a:lnTo>
                    <a:lnTo>
                      <a:pt x="4318" y="7913"/>
                    </a:lnTo>
                    <a:lnTo>
                      <a:pt x="4299" y="7873"/>
                    </a:lnTo>
                    <a:lnTo>
                      <a:pt x="4271" y="7817"/>
                    </a:lnTo>
                    <a:lnTo>
                      <a:pt x="4192" y="7656"/>
                    </a:lnTo>
                    <a:lnTo>
                      <a:pt x="4081" y="7441"/>
                    </a:lnTo>
                    <a:lnTo>
                      <a:pt x="4016" y="7316"/>
                    </a:lnTo>
                    <a:lnTo>
                      <a:pt x="3944" y="7179"/>
                    </a:lnTo>
                    <a:lnTo>
                      <a:pt x="3864" y="7033"/>
                    </a:lnTo>
                    <a:lnTo>
                      <a:pt x="3779" y="6879"/>
                    </a:lnTo>
                    <a:lnTo>
                      <a:pt x="3689" y="6718"/>
                    </a:lnTo>
                    <a:lnTo>
                      <a:pt x="3592" y="6550"/>
                    </a:lnTo>
                    <a:lnTo>
                      <a:pt x="3490" y="6378"/>
                    </a:lnTo>
                    <a:lnTo>
                      <a:pt x="3382" y="6202"/>
                    </a:lnTo>
                    <a:lnTo>
                      <a:pt x="3270" y="6024"/>
                    </a:lnTo>
                    <a:lnTo>
                      <a:pt x="3154" y="5843"/>
                    </a:lnTo>
                    <a:lnTo>
                      <a:pt x="3034" y="5663"/>
                    </a:lnTo>
                    <a:lnTo>
                      <a:pt x="2908" y="5483"/>
                    </a:lnTo>
                    <a:lnTo>
                      <a:pt x="2780" y="5305"/>
                    </a:lnTo>
                    <a:lnTo>
                      <a:pt x="2648" y="5130"/>
                    </a:lnTo>
                    <a:lnTo>
                      <a:pt x="2513" y="4960"/>
                    </a:lnTo>
                    <a:lnTo>
                      <a:pt x="2375" y="4793"/>
                    </a:lnTo>
                    <a:lnTo>
                      <a:pt x="2235" y="4634"/>
                    </a:lnTo>
                    <a:lnTo>
                      <a:pt x="2092" y="4482"/>
                    </a:lnTo>
                    <a:lnTo>
                      <a:pt x="1947" y="4339"/>
                    </a:lnTo>
                    <a:lnTo>
                      <a:pt x="1800" y="4206"/>
                    </a:lnTo>
                    <a:lnTo>
                      <a:pt x="1652" y="4083"/>
                    </a:lnTo>
                    <a:lnTo>
                      <a:pt x="1503" y="3973"/>
                    </a:lnTo>
                    <a:lnTo>
                      <a:pt x="1352" y="3875"/>
                    </a:lnTo>
                    <a:lnTo>
                      <a:pt x="1201" y="3792"/>
                    </a:lnTo>
                    <a:lnTo>
                      <a:pt x="1159" y="3771"/>
                    </a:lnTo>
                    <a:lnTo>
                      <a:pt x="1117" y="3749"/>
                    </a:lnTo>
                    <a:lnTo>
                      <a:pt x="1075" y="3725"/>
                    </a:lnTo>
                    <a:lnTo>
                      <a:pt x="1034" y="3702"/>
                    </a:lnTo>
                    <a:lnTo>
                      <a:pt x="993" y="3677"/>
                    </a:lnTo>
                    <a:lnTo>
                      <a:pt x="953" y="3652"/>
                    </a:lnTo>
                    <a:lnTo>
                      <a:pt x="912" y="3626"/>
                    </a:lnTo>
                    <a:lnTo>
                      <a:pt x="873" y="3600"/>
                    </a:lnTo>
                    <a:lnTo>
                      <a:pt x="834" y="3572"/>
                    </a:lnTo>
                    <a:lnTo>
                      <a:pt x="796" y="3544"/>
                    </a:lnTo>
                    <a:lnTo>
                      <a:pt x="758" y="3514"/>
                    </a:lnTo>
                    <a:lnTo>
                      <a:pt x="720" y="3484"/>
                    </a:lnTo>
                    <a:lnTo>
                      <a:pt x="684" y="3454"/>
                    </a:lnTo>
                    <a:lnTo>
                      <a:pt x="648" y="3422"/>
                    </a:lnTo>
                    <a:lnTo>
                      <a:pt x="612" y="3390"/>
                    </a:lnTo>
                    <a:lnTo>
                      <a:pt x="577" y="3357"/>
                    </a:lnTo>
                    <a:lnTo>
                      <a:pt x="544" y="3323"/>
                    </a:lnTo>
                    <a:lnTo>
                      <a:pt x="511" y="3288"/>
                    </a:lnTo>
                    <a:lnTo>
                      <a:pt x="479" y="3253"/>
                    </a:lnTo>
                    <a:lnTo>
                      <a:pt x="447" y="3217"/>
                    </a:lnTo>
                    <a:lnTo>
                      <a:pt x="416" y="3179"/>
                    </a:lnTo>
                    <a:lnTo>
                      <a:pt x="387" y="3142"/>
                    </a:lnTo>
                    <a:lnTo>
                      <a:pt x="357" y="3103"/>
                    </a:lnTo>
                    <a:lnTo>
                      <a:pt x="330" y="3063"/>
                    </a:lnTo>
                    <a:lnTo>
                      <a:pt x="302" y="3022"/>
                    </a:lnTo>
                    <a:lnTo>
                      <a:pt x="276" y="2980"/>
                    </a:lnTo>
                    <a:lnTo>
                      <a:pt x="251" y="2938"/>
                    </a:lnTo>
                    <a:lnTo>
                      <a:pt x="227" y="2895"/>
                    </a:lnTo>
                    <a:lnTo>
                      <a:pt x="204" y="2851"/>
                    </a:lnTo>
                    <a:lnTo>
                      <a:pt x="183" y="2806"/>
                    </a:lnTo>
                    <a:lnTo>
                      <a:pt x="162" y="2760"/>
                    </a:lnTo>
                    <a:lnTo>
                      <a:pt x="142" y="2713"/>
                    </a:lnTo>
                    <a:lnTo>
                      <a:pt x="107" y="2618"/>
                    </a:lnTo>
                    <a:lnTo>
                      <a:pt x="76" y="2522"/>
                    </a:lnTo>
                    <a:lnTo>
                      <a:pt x="51" y="2425"/>
                    </a:lnTo>
                    <a:lnTo>
                      <a:pt x="32" y="2329"/>
                    </a:lnTo>
                    <a:lnTo>
                      <a:pt x="16" y="2232"/>
                    </a:lnTo>
                    <a:lnTo>
                      <a:pt x="6" y="2136"/>
                    </a:lnTo>
                    <a:lnTo>
                      <a:pt x="1" y="2039"/>
                    </a:lnTo>
                    <a:lnTo>
                      <a:pt x="0" y="1942"/>
                    </a:lnTo>
                    <a:lnTo>
                      <a:pt x="4" y="1846"/>
                    </a:lnTo>
                    <a:lnTo>
                      <a:pt x="13" y="1751"/>
                    </a:lnTo>
                    <a:lnTo>
                      <a:pt x="26" y="1656"/>
                    </a:lnTo>
                    <a:lnTo>
                      <a:pt x="45" y="1562"/>
                    </a:lnTo>
                    <a:lnTo>
                      <a:pt x="67" y="1470"/>
                    </a:lnTo>
                    <a:lnTo>
                      <a:pt x="94" y="1378"/>
                    </a:lnTo>
                    <a:lnTo>
                      <a:pt x="124" y="1289"/>
                    </a:lnTo>
                    <a:lnTo>
                      <a:pt x="160" y="1201"/>
                    </a:lnTo>
                    <a:lnTo>
                      <a:pt x="199" y="1114"/>
                    </a:lnTo>
                    <a:lnTo>
                      <a:pt x="243" y="1029"/>
                    </a:lnTo>
                    <a:lnTo>
                      <a:pt x="290" y="947"/>
                    </a:lnTo>
                    <a:lnTo>
                      <a:pt x="341" y="867"/>
                    </a:lnTo>
                    <a:lnTo>
                      <a:pt x="397" y="790"/>
                    </a:lnTo>
                    <a:lnTo>
                      <a:pt x="455" y="714"/>
                    </a:lnTo>
                    <a:lnTo>
                      <a:pt x="518" y="642"/>
                    </a:lnTo>
                    <a:lnTo>
                      <a:pt x="585" y="572"/>
                    </a:lnTo>
                    <a:lnTo>
                      <a:pt x="655" y="506"/>
                    </a:lnTo>
                    <a:lnTo>
                      <a:pt x="728" y="443"/>
                    </a:lnTo>
                    <a:lnTo>
                      <a:pt x="805" y="384"/>
                    </a:lnTo>
                    <a:lnTo>
                      <a:pt x="886" y="328"/>
                    </a:lnTo>
                    <a:lnTo>
                      <a:pt x="969" y="274"/>
                    </a:lnTo>
                    <a:lnTo>
                      <a:pt x="1056" y="227"/>
                    </a:lnTo>
                    <a:lnTo>
                      <a:pt x="1146" y="182"/>
                    </a:lnTo>
                    <a:lnTo>
                      <a:pt x="1240" y="142"/>
                    </a:lnTo>
                    <a:close/>
                  </a:path>
                </a:pathLst>
              </a:custGeom>
              <a:solidFill>
                <a:schemeClr val="bg1">
                  <a:lumMod val="50000"/>
                  <a:alpha val="2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nb-NO" sz="1600">
                  <a:latin typeface="HY견고딕" panose="02030600000101010101" pitchFamily="18" charset="-127"/>
                  <a:ea typeface="HY견고딕" panose="02030600000101010101" pitchFamily="18" charset="-127"/>
                </a:endParaRPr>
              </a:p>
            </p:txBody>
          </p:sp>
          <p:grpSp>
            <p:nvGrpSpPr>
              <p:cNvPr id="35" name="Group 133"/>
              <p:cNvGrpSpPr>
                <a:grpSpLocks/>
              </p:cNvGrpSpPr>
              <p:nvPr/>
            </p:nvGrpSpPr>
            <p:grpSpPr bwMode="auto">
              <a:xfrm flipH="1">
                <a:off x="4436064" y="2500313"/>
                <a:ext cx="650367" cy="1241653"/>
                <a:chOff x="7000949" y="2143116"/>
                <a:chExt cx="999336" cy="1834351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7000949" y="2143116"/>
                  <a:ext cx="999336" cy="1834351"/>
                </a:xfrm>
                <a:custGeom>
                  <a:avLst/>
                  <a:gdLst/>
                  <a:ahLst/>
                  <a:cxnLst>
                    <a:cxn ang="0">
                      <a:pos x="1431" y="75"/>
                    </a:cxn>
                    <a:cxn ang="0">
                      <a:pos x="1720" y="15"/>
                    </a:cxn>
                    <a:cxn ang="0">
                      <a:pos x="2010" y="0"/>
                    </a:cxn>
                    <a:cxn ang="0">
                      <a:pos x="2296" y="27"/>
                    </a:cxn>
                    <a:cxn ang="0">
                      <a:pos x="2573" y="93"/>
                    </a:cxn>
                    <a:cxn ang="0">
                      <a:pos x="2838" y="199"/>
                    </a:cxn>
                    <a:cxn ang="0">
                      <a:pos x="3086" y="341"/>
                    </a:cxn>
                    <a:cxn ang="0">
                      <a:pos x="3310" y="517"/>
                    </a:cxn>
                    <a:cxn ang="0">
                      <a:pos x="3509" y="727"/>
                    </a:cxn>
                    <a:cxn ang="0">
                      <a:pos x="3677" y="968"/>
                    </a:cxn>
                    <a:cxn ang="0">
                      <a:pos x="3811" y="1239"/>
                    </a:cxn>
                    <a:cxn ang="0">
                      <a:pos x="3856" y="1364"/>
                    </a:cxn>
                    <a:cxn ang="0">
                      <a:pos x="3893" y="1490"/>
                    </a:cxn>
                    <a:cxn ang="0">
                      <a:pos x="3920" y="1617"/>
                    </a:cxn>
                    <a:cxn ang="0">
                      <a:pos x="3940" y="1744"/>
                    </a:cxn>
                    <a:cxn ang="0">
                      <a:pos x="3950" y="1871"/>
                    </a:cxn>
                    <a:cxn ang="0">
                      <a:pos x="3953" y="1998"/>
                    </a:cxn>
                    <a:cxn ang="0">
                      <a:pos x="3947" y="2123"/>
                    </a:cxn>
                    <a:cxn ang="0">
                      <a:pos x="3933" y="2249"/>
                    </a:cxn>
                    <a:cxn ang="0">
                      <a:pos x="3912" y="2372"/>
                    </a:cxn>
                    <a:cxn ang="0">
                      <a:pos x="3882" y="2494"/>
                    </a:cxn>
                    <a:cxn ang="0">
                      <a:pos x="3809" y="2742"/>
                    </a:cxn>
                    <a:cxn ang="0">
                      <a:pos x="3693" y="3249"/>
                    </a:cxn>
                    <a:cxn ang="0">
                      <a:pos x="3626" y="3756"/>
                    </a:cxn>
                    <a:cxn ang="0">
                      <a:pos x="3605" y="4264"/>
                    </a:cxn>
                    <a:cxn ang="0">
                      <a:pos x="3623" y="4770"/>
                    </a:cxn>
                    <a:cxn ang="0">
                      <a:pos x="3675" y="5276"/>
                    </a:cxn>
                    <a:cxn ang="0">
                      <a:pos x="3758" y="5780"/>
                    </a:cxn>
                    <a:cxn ang="0">
                      <a:pos x="3864" y="6282"/>
                    </a:cxn>
                    <a:cxn ang="0">
                      <a:pos x="3991" y="6781"/>
                    </a:cxn>
                    <a:cxn ang="0">
                      <a:pos x="4130" y="7278"/>
                    </a:cxn>
                    <a:cxn ang="0">
                      <a:pos x="4279" y="7771"/>
                    </a:cxn>
                    <a:cxn ang="0">
                      <a:pos x="4318" y="7913"/>
                    </a:cxn>
                    <a:cxn ang="0">
                      <a:pos x="4192" y="7656"/>
                    </a:cxn>
                    <a:cxn ang="0">
                      <a:pos x="3944" y="7179"/>
                    </a:cxn>
                    <a:cxn ang="0">
                      <a:pos x="3689" y="6718"/>
                    </a:cxn>
                    <a:cxn ang="0">
                      <a:pos x="3382" y="6202"/>
                    </a:cxn>
                    <a:cxn ang="0">
                      <a:pos x="3034" y="5663"/>
                    </a:cxn>
                    <a:cxn ang="0">
                      <a:pos x="2648" y="5130"/>
                    </a:cxn>
                    <a:cxn ang="0">
                      <a:pos x="2235" y="4634"/>
                    </a:cxn>
                    <a:cxn ang="0">
                      <a:pos x="1800" y="4206"/>
                    </a:cxn>
                    <a:cxn ang="0">
                      <a:pos x="1352" y="3875"/>
                    </a:cxn>
                    <a:cxn ang="0">
                      <a:pos x="1117" y="3749"/>
                    </a:cxn>
                    <a:cxn ang="0">
                      <a:pos x="993" y="3677"/>
                    </a:cxn>
                    <a:cxn ang="0">
                      <a:pos x="873" y="3600"/>
                    </a:cxn>
                    <a:cxn ang="0">
                      <a:pos x="758" y="3514"/>
                    </a:cxn>
                    <a:cxn ang="0">
                      <a:pos x="648" y="3422"/>
                    </a:cxn>
                    <a:cxn ang="0">
                      <a:pos x="544" y="3323"/>
                    </a:cxn>
                    <a:cxn ang="0">
                      <a:pos x="447" y="3217"/>
                    </a:cxn>
                    <a:cxn ang="0">
                      <a:pos x="357" y="3103"/>
                    </a:cxn>
                    <a:cxn ang="0">
                      <a:pos x="276" y="2980"/>
                    </a:cxn>
                    <a:cxn ang="0">
                      <a:pos x="204" y="2851"/>
                    </a:cxn>
                    <a:cxn ang="0">
                      <a:pos x="142" y="2713"/>
                    </a:cxn>
                    <a:cxn ang="0">
                      <a:pos x="51" y="2425"/>
                    </a:cxn>
                    <a:cxn ang="0">
                      <a:pos x="6" y="2136"/>
                    </a:cxn>
                    <a:cxn ang="0">
                      <a:pos x="4" y="1846"/>
                    </a:cxn>
                    <a:cxn ang="0">
                      <a:pos x="45" y="1562"/>
                    </a:cxn>
                    <a:cxn ang="0">
                      <a:pos x="124" y="1289"/>
                    </a:cxn>
                    <a:cxn ang="0">
                      <a:pos x="243" y="1029"/>
                    </a:cxn>
                    <a:cxn ang="0">
                      <a:pos x="397" y="790"/>
                    </a:cxn>
                    <a:cxn ang="0">
                      <a:pos x="585" y="572"/>
                    </a:cxn>
                    <a:cxn ang="0">
                      <a:pos x="805" y="384"/>
                    </a:cxn>
                    <a:cxn ang="0">
                      <a:pos x="1056" y="227"/>
                    </a:cxn>
                  </a:cxnLst>
                  <a:rect l="0" t="0" r="r" b="b"/>
                  <a:pathLst>
                    <a:path w="4330" h="7934">
                      <a:moveTo>
                        <a:pt x="1240" y="142"/>
                      </a:moveTo>
                      <a:lnTo>
                        <a:pt x="1335" y="106"/>
                      </a:lnTo>
                      <a:lnTo>
                        <a:pt x="1431" y="75"/>
                      </a:lnTo>
                      <a:lnTo>
                        <a:pt x="1526" y="51"/>
                      </a:lnTo>
                      <a:lnTo>
                        <a:pt x="1623" y="31"/>
                      </a:lnTo>
                      <a:lnTo>
                        <a:pt x="1720" y="15"/>
                      </a:lnTo>
                      <a:lnTo>
                        <a:pt x="1817" y="5"/>
                      </a:lnTo>
                      <a:lnTo>
                        <a:pt x="1914" y="0"/>
                      </a:lnTo>
                      <a:lnTo>
                        <a:pt x="2010" y="0"/>
                      </a:lnTo>
                      <a:lnTo>
                        <a:pt x="2106" y="4"/>
                      </a:lnTo>
                      <a:lnTo>
                        <a:pt x="2202" y="13"/>
                      </a:lnTo>
                      <a:lnTo>
                        <a:pt x="2296" y="27"/>
                      </a:lnTo>
                      <a:lnTo>
                        <a:pt x="2390" y="44"/>
                      </a:lnTo>
                      <a:lnTo>
                        <a:pt x="2483" y="66"/>
                      </a:lnTo>
                      <a:lnTo>
                        <a:pt x="2573" y="93"/>
                      </a:lnTo>
                      <a:lnTo>
                        <a:pt x="2663" y="124"/>
                      </a:lnTo>
                      <a:lnTo>
                        <a:pt x="2752" y="159"/>
                      </a:lnTo>
                      <a:lnTo>
                        <a:pt x="2838" y="199"/>
                      </a:lnTo>
                      <a:lnTo>
                        <a:pt x="2922" y="242"/>
                      </a:lnTo>
                      <a:lnTo>
                        <a:pt x="3005" y="290"/>
                      </a:lnTo>
                      <a:lnTo>
                        <a:pt x="3086" y="341"/>
                      </a:lnTo>
                      <a:lnTo>
                        <a:pt x="3163" y="396"/>
                      </a:lnTo>
                      <a:lnTo>
                        <a:pt x="3238" y="455"/>
                      </a:lnTo>
                      <a:lnTo>
                        <a:pt x="3310" y="517"/>
                      </a:lnTo>
                      <a:lnTo>
                        <a:pt x="3379" y="585"/>
                      </a:lnTo>
                      <a:lnTo>
                        <a:pt x="3446" y="654"/>
                      </a:lnTo>
                      <a:lnTo>
                        <a:pt x="3509" y="727"/>
                      </a:lnTo>
                      <a:lnTo>
                        <a:pt x="3569" y="805"/>
                      </a:lnTo>
                      <a:lnTo>
                        <a:pt x="3625" y="885"/>
                      </a:lnTo>
                      <a:lnTo>
                        <a:pt x="3677" y="968"/>
                      </a:lnTo>
                      <a:lnTo>
                        <a:pt x="3726" y="1056"/>
                      </a:lnTo>
                      <a:lnTo>
                        <a:pt x="3770" y="1146"/>
                      </a:lnTo>
                      <a:lnTo>
                        <a:pt x="3811" y="1239"/>
                      </a:lnTo>
                      <a:lnTo>
                        <a:pt x="3826" y="1280"/>
                      </a:lnTo>
                      <a:lnTo>
                        <a:pt x="3842" y="1322"/>
                      </a:lnTo>
                      <a:lnTo>
                        <a:pt x="3856" y="1364"/>
                      </a:lnTo>
                      <a:lnTo>
                        <a:pt x="3869" y="1406"/>
                      </a:lnTo>
                      <a:lnTo>
                        <a:pt x="3881" y="1448"/>
                      </a:lnTo>
                      <a:lnTo>
                        <a:pt x="3893" y="1490"/>
                      </a:lnTo>
                      <a:lnTo>
                        <a:pt x="3903" y="1533"/>
                      </a:lnTo>
                      <a:lnTo>
                        <a:pt x="3912" y="1574"/>
                      </a:lnTo>
                      <a:lnTo>
                        <a:pt x="3920" y="1617"/>
                      </a:lnTo>
                      <a:lnTo>
                        <a:pt x="3927" y="1659"/>
                      </a:lnTo>
                      <a:lnTo>
                        <a:pt x="3935" y="1702"/>
                      </a:lnTo>
                      <a:lnTo>
                        <a:pt x="3940" y="1744"/>
                      </a:lnTo>
                      <a:lnTo>
                        <a:pt x="3944" y="1787"/>
                      </a:lnTo>
                      <a:lnTo>
                        <a:pt x="3948" y="1828"/>
                      </a:lnTo>
                      <a:lnTo>
                        <a:pt x="3950" y="1871"/>
                      </a:lnTo>
                      <a:lnTo>
                        <a:pt x="3952" y="1913"/>
                      </a:lnTo>
                      <a:lnTo>
                        <a:pt x="3953" y="1956"/>
                      </a:lnTo>
                      <a:lnTo>
                        <a:pt x="3953" y="1998"/>
                      </a:lnTo>
                      <a:lnTo>
                        <a:pt x="3952" y="2040"/>
                      </a:lnTo>
                      <a:lnTo>
                        <a:pt x="3950" y="2081"/>
                      </a:lnTo>
                      <a:lnTo>
                        <a:pt x="3947" y="2123"/>
                      </a:lnTo>
                      <a:lnTo>
                        <a:pt x="3944" y="2165"/>
                      </a:lnTo>
                      <a:lnTo>
                        <a:pt x="3939" y="2207"/>
                      </a:lnTo>
                      <a:lnTo>
                        <a:pt x="3933" y="2249"/>
                      </a:lnTo>
                      <a:lnTo>
                        <a:pt x="3927" y="2290"/>
                      </a:lnTo>
                      <a:lnTo>
                        <a:pt x="3920" y="2331"/>
                      </a:lnTo>
                      <a:lnTo>
                        <a:pt x="3912" y="2372"/>
                      </a:lnTo>
                      <a:lnTo>
                        <a:pt x="3903" y="2413"/>
                      </a:lnTo>
                      <a:lnTo>
                        <a:pt x="3894" y="2453"/>
                      </a:lnTo>
                      <a:lnTo>
                        <a:pt x="3882" y="2494"/>
                      </a:lnTo>
                      <a:lnTo>
                        <a:pt x="3871" y="2533"/>
                      </a:lnTo>
                      <a:lnTo>
                        <a:pt x="3859" y="2573"/>
                      </a:lnTo>
                      <a:lnTo>
                        <a:pt x="3809" y="2742"/>
                      </a:lnTo>
                      <a:lnTo>
                        <a:pt x="3764" y="2911"/>
                      </a:lnTo>
                      <a:lnTo>
                        <a:pt x="3725" y="3080"/>
                      </a:lnTo>
                      <a:lnTo>
                        <a:pt x="3693" y="3249"/>
                      </a:lnTo>
                      <a:lnTo>
                        <a:pt x="3665" y="3418"/>
                      </a:lnTo>
                      <a:lnTo>
                        <a:pt x="3644" y="3587"/>
                      </a:lnTo>
                      <a:lnTo>
                        <a:pt x="3626" y="3756"/>
                      </a:lnTo>
                      <a:lnTo>
                        <a:pt x="3614" y="3925"/>
                      </a:lnTo>
                      <a:lnTo>
                        <a:pt x="3607" y="4095"/>
                      </a:lnTo>
                      <a:lnTo>
                        <a:pt x="3605" y="4264"/>
                      </a:lnTo>
                      <a:lnTo>
                        <a:pt x="3607" y="4432"/>
                      </a:lnTo>
                      <a:lnTo>
                        <a:pt x="3613" y="4602"/>
                      </a:lnTo>
                      <a:lnTo>
                        <a:pt x="3623" y="4770"/>
                      </a:lnTo>
                      <a:lnTo>
                        <a:pt x="3637" y="4939"/>
                      </a:lnTo>
                      <a:lnTo>
                        <a:pt x="3655" y="5108"/>
                      </a:lnTo>
                      <a:lnTo>
                        <a:pt x="3675" y="5276"/>
                      </a:lnTo>
                      <a:lnTo>
                        <a:pt x="3700" y="5444"/>
                      </a:lnTo>
                      <a:lnTo>
                        <a:pt x="3727" y="5613"/>
                      </a:lnTo>
                      <a:lnTo>
                        <a:pt x="3758" y="5780"/>
                      </a:lnTo>
                      <a:lnTo>
                        <a:pt x="3791" y="5947"/>
                      </a:lnTo>
                      <a:lnTo>
                        <a:pt x="3826" y="6115"/>
                      </a:lnTo>
                      <a:lnTo>
                        <a:pt x="3864" y="6282"/>
                      </a:lnTo>
                      <a:lnTo>
                        <a:pt x="3905" y="6448"/>
                      </a:lnTo>
                      <a:lnTo>
                        <a:pt x="3947" y="6616"/>
                      </a:lnTo>
                      <a:lnTo>
                        <a:pt x="3991" y="6781"/>
                      </a:lnTo>
                      <a:lnTo>
                        <a:pt x="4036" y="6947"/>
                      </a:lnTo>
                      <a:lnTo>
                        <a:pt x="4082" y="7113"/>
                      </a:lnTo>
                      <a:lnTo>
                        <a:pt x="4130" y="7278"/>
                      </a:lnTo>
                      <a:lnTo>
                        <a:pt x="4179" y="7442"/>
                      </a:lnTo>
                      <a:lnTo>
                        <a:pt x="4229" y="7606"/>
                      </a:lnTo>
                      <a:lnTo>
                        <a:pt x="4279" y="7771"/>
                      </a:lnTo>
                      <a:lnTo>
                        <a:pt x="4330" y="7934"/>
                      </a:lnTo>
                      <a:lnTo>
                        <a:pt x="4329" y="7933"/>
                      </a:lnTo>
                      <a:lnTo>
                        <a:pt x="4318" y="7913"/>
                      </a:lnTo>
                      <a:lnTo>
                        <a:pt x="4299" y="7873"/>
                      </a:lnTo>
                      <a:lnTo>
                        <a:pt x="4271" y="7817"/>
                      </a:lnTo>
                      <a:lnTo>
                        <a:pt x="4192" y="7656"/>
                      </a:lnTo>
                      <a:lnTo>
                        <a:pt x="4081" y="7441"/>
                      </a:lnTo>
                      <a:lnTo>
                        <a:pt x="4016" y="7316"/>
                      </a:lnTo>
                      <a:lnTo>
                        <a:pt x="3944" y="7179"/>
                      </a:lnTo>
                      <a:lnTo>
                        <a:pt x="3864" y="7033"/>
                      </a:lnTo>
                      <a:lnTo>
                        <a:pt x="3779" y="6879"/>
                      </a:lnTo>
                      <a:lnTo>
                        <a:pt x="3689" y="6718"/>
                      </a:lnTo>
                      <a:lnTo>
                        <a:pt x="3592" y="6550"/>
                      </a:lnTo>
                      <a:lnTo>
                        <a:pt x="3490" y="6378"/>
                      </a:lnTo>
                      <a:lnTo>
                        <a:pt x="3382" y="6202"/>
                      </a:lnTo>
                      <a:lnTo>
                        <a:pt x="3270" y="6024"/>
                      </a:lnTo>
                      <a:lnTo>
                        <a:pt x="3154" y="5843"/>
                      </a:lnTo>
                      <a:lnTo>
                        <a:pt x="3034" y="5663"/>
                      </a:lnTo>
                      <a:lnTo>
                        <a:pt x="2908" y="5483"/>
                      </a:lnTo>
                      <a:lnTo>
                        <a:pt x="2780" y="5305"/>
                      </a:lnTo>
                      <a:lnTo>
                        <a:pt x="2648" y="5130"/>
                      </a:lnTo>
                      <a:lnTo>
                        <a:pt x="2513" y="4960"/>
                      </a:lnTo>
                      <a:lnTo>
                        <a:pt x="2375" y="4793"/>
                      </a:lnTo>
                      <a:lnTo>
                        <a:pt x="2235" y="4634"/>
                      </a:lnTo>
                      <a:lnTo>
                        <a:pt x="2092" y="4482"/>
                      </a:lnTo>
                      <a:lnTo>
                        <a:pt x="1947" y="4339"/>
                      </a:lnTo>
                      <a:lnTo>
                        <a:pt x="1800" y="4206"/>
                      </a:lnTo>
                      <a:lnTo>
                        <a:pt x="1652" y="4083"/>
                      </a:lnTo>
                      <a:lnTo>
                        <a:pt x="1503" y="3973"/>
                      </a:lnTo>
                      <a:lnTo>
                        <a:pt x="1352" y="3875"/>
                      </a:lnTo>
                      <a:lnTo>
                        <a:pt x="1201" y="3792"/>
                      </a:lnTo>
                      <a:lnTo>
                        <a:pt x="1159" y="3771"/>
                      </a:lnTo>
                      <a:lnTo>
                        <a:pt x="1117" y="3749"/>
                      </a:lnTo>
                      <a:lnTo>
                        <a:pt x="1075" y="3725"/>
                      </a:lnTo>
                      <a:lnTo>
                        <a:pt x="1034" y="3702"/>
                      </a:lnTo>
                      <a:lnTo>
                        <a:pt x="993" y="3677"/>
                      </a:lnTo>
                      <a:lnTo>
                        <a:pt x="953" y="3652"/>
                      </a:lnTo>
                      <a:lnTo>
                        <a:pt x="912" y="3626"/>
                      </a:lnTo>
                      <a:lnTo>
                        <a:pt x="873" y="3600"/>
                      </a:lnTo>
                      <a:lnTo>
                        <a:pt x="834" y="3572"/>
                      </a:lnTo>
                      <a:lnTo>
                        <a:pt x="796" y="3544"/>
                      </a:lnTo>
                      <a:lnTo>
                        <a:pt x="758" y="3514"/>
                      </a:lnTo>
                      <a:lnTo>
                        <a:pt x="720" y="3484"/>
                      </a:lnTo>
                      <a:lnTo>
                        <a:pt x="684" y="3454"/>
                      </a:lnTo>
                      <a:lnTo>
                        <a:pt x="648" y="3422"/>
                      </a:lnTo>
                      <a:lnTo>
                        <a:pt x="612" y="3390"/>
                      </a:lnTo>
                      <a:lnTo>
                        <a:pt x="577" y="3357"/>
                      </a:lnTo>
                      <a:lnTo>
                        <a:pt x="544" y="3323"/>
                      </a:lnTo>
                      <a:lnTo>
                        <a:pt x="511" y="3288"/>
                      </a:lnTo>
                      <a:lnTo>
                        <a:pt x="479" y="3253"/>
                      </a:lnTo>
                      <a:lnTo>
                        <a:pt x="447" y="3217"/>
                      </a:lnTo>
                      <a:lnTo>
                        <a:pt x="416" y="3179"/>
                      </a:lnTo>
                      <a:lnTo>
                        <a:pt x="387" y="3142"/>
                      </a:lnTo>
                      <a:lnTo>
                        <a:pt x="357" y="3103"/>
                      </a:lnTo>
                      <a:lnTo>
                        <a:pt x="330" y="3063"/>
                      </a:lnTo>
                      <a:lnTo>
                        <a:pt x="302" y="3022"/>
                      </a:lnTo>
                      <a:lnTo>
                        <a:pt x="276" y="2980"/>
                      </a:lnTo>
                      <a:lnTo>
                        <a:pt x="251" y="2938"/>
                      </a:lnTo>
                      <a:lnTo>
                        <a:pt x="227" y="2895"/>
                      </a:lnTo>
                      <a:lnTo>
                        <a:pt x="204" y="2851"/>
                      </a:lnTo>
                      <a:lnTo>
                        <a:pt x="183" y="2806"/>
                      </a:lnTo>
                      <a:lnTo>
                        <a:pt x="162" y="2760"/>
                      </a:lnTo>
                      <a:lnTo>
                        <a:pt x="142" y="2713"/>
                      </a:lnTo>
                      <a:lnTo>
                        <a:pt x="107" y="2618"/>
                      </a:lnTo>
                      <a:lnTo>
                        <a:pt x="76" y="2522"/>
                      </a:lnTo>
                      <a:lnTo>
                        <a:pt x="51" y="2425"/>
                      </a:lnTo>
                      <a:lnTo>
                        <a:pt x="32" y="2329"/>
                      </a:lnTo>
                      <a:lnTo>
                        <a:pt x="16" y="2232"/>
                      </a:lnTo>
                      <a:lnTo>
                        <a:pt x="6" y="2136"/>
                      </a:lnTo>
                      <a:lnTo>
                        <a:pt x="1" y="2039"/>
                      </a:lnTo>
                      <a:lnTo>
                        <a:pt x="0" y="1942"/>
                      </a:lnTo>
                      <a:lnTo>
                        <a:pt x="4" y="1846"/>
                      </a:lnTo>
                      <a:lnTo>
                        <a:pt x="13" y="1751"/>
                      </a:lnTo>
                      <a:lnTo>
                        <a:pt x="26" y="1656"/>
                      </a:lnTo>
                      <a:lnTo>
                        <a:pt x="45" y="1562"/>
                      </a:lnTo>
                      <a:lnTo>
                        <a:pt x="67" y="1470"/>
                      </a:lnTo>
                      <a:lnTo>
                        <a:pt x="94" y="1378"/>
                      </a:lnTo>
                      <a:lnTo>
                        <a:pt x="124" y="1289"/>
                      </a:lnTo>
                      <a:lnTo>
                        <a:pt x="160" y="1201"/>
                      </a:lnTo>
                      <a:lnTo>
                        <a:pt x="199" y="1114"/>
                      </a:lnTo>
                      <a:lnTo>
                        <a:pt x="243" y="1029"/>
                      </a:lnTo>
                      <a:lnTo>
                        <a:pt x="290" y="947"/>
                      </a:lnTo>
                      <a:lnTo>
                        <a:pt x="341" y="867"/>
                      </a:lnTo>
                      <a:lnTo>
                        <a:pt x="397" y="790"/>
                      </a:lnTo>
                      <a:lnTo>
                        <a:pt x="455" y="714"/>
                      </a:lnTo>
                      <a:lnTo>
                        <a:pt x="518" y="642"/>
                      </a:lnTo>
                      <a:lnTo>
                        <a:pt x="585" y="572"/>
                      </a:lnTo>
                      <a:lnTo>
                        <a:pt x="655" y="506"/>
                      </a:lnTo>
                      <a:lnTo>
                        <a:pt x="728" y="443"/>
                      </a:lnTo>
                      <a:lnTo>
                        <a:pt x="805" y="384"/>
                      </a:lnTo>
                      <a:lnTo>
                        <a:pt x="886" y="328"/>
                      </a:lnTo>
                      <a:lnTo>
                        <a:pt x="969" y="274"/>
                      </a:lnTo>
                      <a:lnTo>
                        <a:pt x="1056" y="227"/>
                      </a:lnTo>
                      <a:lnTo>
                        <a:pt x="1146" y="182"/>
                      </a:lnTo>
                      <a:lnTo>
                        <a:pt x="1240" y="142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CE202A">
                        <a:shade val="30000"/>
                        <a:satMod val="115000"/>
                      </a:srgbClr>
                    </a:gs>
                    <a:gs pos="83000">
                      <a:srgbClr val="CE202A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b-NO" sz="1600">
                    <a:latin typeface="HY견고딕" panose="02030600000101010101" pitchFamily="18" charset="-127"/>
                    <a:ea typeface="HY견고딕" panose="02030600000101010101" pitchFamily="18" charset="-127"/>
                  </a:endParaRPr>
                </a:p>
              </p:txBody>
            </p:sp>
            <p:sp>
              <p:nvSpPr>
                <p:cNvPr id="37" name="Oval 272"/>
                <p:cNvSpPr/>
                <p:nvPr/>
              </p:nvSpPr>
              <p:spPr>
                <a:xfrm flipV="1">
                  <a:off x="7128300" y="2206820"/>
                  <a:ext cx="687491" cy="623788"/>
                </a:xfrm>
                <a:prstGeom prst="ellipse">
                  <a:avLst/>
                </a:prstGeom>
                <a:gradFill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>
                        <a:alpha val="30000"/>
                      </a:schemeClr>
                    </a:gs>
                    <a:gs pos="100000">
                      <a:schemeClr val="accent1">
                        <a:tint val="23500"/>
                        <a:satMod val="160000"/>
                        <a:alpha val="41000"/>
                      </a:schemeClr>
                    </a:gs>
                    <a:gs pos="100000">
                      <a:schemeClr val="accent1">
                        <a:tint val="23500"/>
                        <a:satMod val="160000"/>
                        <a:alpha val="0"/>
                      </a:schemeClr>
                    </a:gs>
                  </a:gsLst>
                  <a:lin ang="5400000" scaled="1"/>
                </a:gradFill>
                <a:ln>
                  <a:noFill/>
                </a:ln>
                <a:effectLst>
                  <a:outerShdw blurRad="114300" sx="104000" sy="104000" algn="ctr" rotWithShape="0">
                    <a:schemeClr val="bg1"/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nb-NO" sz="1600">
                    <a:solidFill>
                      <a:srgbClr val="FFFFFF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  <a:cs typeface="Arial" charset="0"/>
                  </a:endParaRPr>
                </a:p>
              </p:txBody>
            </p:sp>
          </p:grpSp>
        </p:grpSp>
        <p:sp>
          <p:nvSpPr>
            <p:cNvPr id="32" name="TextBox 31"/>
            <p:cNvSpPr txBox="1"/>
            <p:nvPr>
              <p:custDataLst>
                <p:tags r:id="rId8"/>
              </p:custDataLst>
            </p:nvPr>
          </p:nvSpPr>
          <p:spPr>
            <a:xfrm>
              <a:off x="8033123" y="4080533"/>
              <a:ext cx="179679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ko-KR" altLang="en-US" sz="1200" dirty="0" err="1" smtClean="0">
                  <a:latin typeface="HY견고딕" panose="02030600000101010101" pitchFamily="18" charset="-127"/>
                  <a:ea typeface="HY견고딕" panose="02030600000101010101" pitchFamily="18" charset="-127"/>
                </a:rPr>
                <a:t>사스</a:t>
              </a:r>
              <a:r>
                <a:rPr lang="en-US" altLang="ko-KR" sz="1200" dirty="0" smtClean="0">
                  <a:latin typeface="HY견고딕" panose="02030600000101010101" pitchFamily="18" charset="-127"/>
                  <a:ea typeface="HY견고딕" panose="02030600000101010101" pitchFamily="18" charset="-127"/>
                </a:rPr>
                <a:t>(2003) 8,096</a:t>
              </a:r>
              <a:r>
                <a:rPr lang="ko-KR" altLang="en-US" sz="1200" dirty="0" smtClean="0">
                  <a:latin typeface="HY견고딕" panose="02030600000101010101" pitchFamily="18" charset="-127"/>
                  <a:ea typeface="HY견고딕" panose="02030600000101010101" pitchFamily="18" charset="-127"/>
                </a:rPr>
                <a:t>명</a:t>
              </a:r>
              <a:r>
                <a:rPr lang="en-US" altLang="ko-KR" sz="1200" dirty="0" smtClean="0">
                  <a:latin typeface="HY견고딕" panose="02030600000101010101" pitchFamily="18" charset="-127"/>
                  <a:ea typeface="HY견고딕" panose="02030600000101010101" pitchFamily="18" charset="-127"/>
                </a:rPr>
                <a:t> </a:t>
              </a:r>
              <a:r>
                <a:rPr lang="ko-KR" altLang="en-US" sz="1200" dirty="0" smtClean="0">
                  <a:latin typeface="HY견고딕" panose="02030600000101010101" pitchFamily="18" charset="-127"/>
                  <a:ea typeface="HY견고딕" panose="02030600000101010101" pitchFamily="18" charset="-127"/>
                </a:rPr>
                <a:t>감염</a:t>
              </a:r>
              <a:r>
                <a:rPr lang="en-US" altLang="ko-KR" sz="1200" dirty="0" smtClean="0">
                  <a:latin typeface="HY견고딕" panose="02030600000101010101" pitchFamily="18" charset="-127"/>
                  <a:ea typeface="HY견고딕" panose="02030600000101010101" pitchFamily="18" charset="-127"/>
                </a:rPr>
                <a:t>, 774</a:t>
              </a:r>
              <a:r>
                <a:rPr lang="ko-KR" altLang="en-US" sz="1200" dirty="0" smtClean="0">
                  <a:latin typeface="HY견고딕" panose="02030600000101010101" pitchFamily="18" charset="-127"/>
                  <a:ea typeface="HY견고딕" panose="02030600000101010101" pitchFamily="18" charset="-127"/>
                </a:rPr>
                <a:t>명 사망</a:t>
              </a:r>
              <a:endParaRPr lang="en-US" sz="1200" dirty="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</p:grpSp>
      <p:grpSp>
        <p:nvGrpSpPr>
          <p:cNvPr id="41" name="Group 71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4220968" y="2463729"/>
            <a:ext cx="228309" cy="224742"/>
            <a:chOff x="4212399" y="2500313"/>
            <a:chExt cx="975551" cy="1435364"/>
          </a:xfrm>
        </p:grpSpPr>
        <p:grpSp>
          <p:nvGrpSpPr>
            <p:cNvPr id="43" name="Group 72"/>
            <p:cNvGrpSpPr>
              <a:grpSpLocks/>
            </p:cNvGrpSpPr>
            <p:nvPr/>
          </p:nvGrpSpPr>
          <p:grpSpPr bwMode="auto">
            <a:xfrm>
              <a:off x="4212399" y="3437110"/>
              <a:ext cx="498086" cy="498567"/>
              <a:chOff x="5627209" y="1515183"/>
              <a:chExt cx="498086" cy="498567"/>
            </a:xfrm>
          </p:grpSpPr>
          <p:sp>
            <p:nvSpPr>
              <p:cNvPr id="48" name="Oval 281"/>
              <p:cNvSpPr>
                <a:spLocks noChangeArrowheads="1"/>
              </p:cNvSpPr>
              <p:nvPr/>
            </p:nvSpPr>
            <p:spPr bwMode="auto">
              <a:xfrm>
                <a:off x="5627209" y="1515183"/>
                <a:ext cx="498086" cy="498567"/>
              </a:xfrm>
              <a:prstGeom prst="ellipse">
                <a:avLst/>
              </a:prstGeom>
              <a:gradFill rotWithShape="0">
                <a:gsLst>
                  <a:gs pos="0">
                    <a:schemeClr val="bg1"/>
                  </a:gs>
                  <a:gs pos="100000">
                    <a:srgbClr val="D9D9D9"/>
                  </a:gs>
                </a:gsLst>
                <a:lin ang="5400000"/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  <a:effectLst>
                <a:outerShdw blurRad="63500" sx="102000" sy="102000" algn="ctr" rotWithShape="0">
                  <a:srgbClr val="000000">
                    <a:alpha val="39999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nb-NO" sz="1600">
                  <a:solidFill>
                    <a:srgbClr val="FFFFFF"/>
                  </a:solidFill>
                  <a:latin typeface="Calibri" charset="0"/>
                </a:endParaRPr>
              </a:p>
            </p:txBody>
          </p:sp>
          <p:sp>
            <p:nvSpPr>
              <p:cNvPr id="49" name="Oval 282"/>
              <p:cNvSpPr/>
              <p:nvPr/>
            </p:nvSpPr>
            <p:spPr>
              <a:xfrm>
                <a:off x="5765213" y="1650145"/>
                <a:ext cx="228422" cy="228642"/>
              </a:xfrm>
              <a:prstGeom prst="ellipse">
                <a:avLst/>
              </a:prstGeom>
              <a:solidFill>
                <a:srgbClr val="2A9B18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1600"/>
              </a:p>
            </p:txBody>
          </p:sp>
        </p:grpSp>
        <p:sp>
          <p:nvSpPr>
            <p:cNvPr id="44" name="Freeform 57"/>
            <p:cNvSpPr>
              <a:spLocks/>
            </p:cNvSpPr>
            <p:nvPr/>
          </p:nvSpPr>
          <p:spPr bwMode="auto">
            <a:xfrm rot="15813706" flipH="1" flipV="1">
              <a:off x="4658809" y="3157252"/>
              <a:ext cx="255634" cy="802649"/>
            </a:xfrm>
            <a:custGeom>
              <a:avLst/>
              <a:gdLst/>
              <a:ahLst/>
              <a:cxnLst>
                <a:cxn ang="0">
                  <a:pos x="1431" y="75"/>
                </a:cxn>
                <a:cxn ang="0">
                  <a:pos x="1720" y="15"/>
                </a:cxn>
                <a:cxn ang="0">
                  <a:pos x="2010" y="0"/>
                </a:cxn>
                <a:cxn ang="0">
                  <a:pos x="2296" y="27"/>
                </a:cxn>
                <a:cxn ang="0">
                  <a:pos x="2573" y="93"/>
                </a:cxn>
                <a:cxn ang="0">
                  <a:pos x="2838" y="199"/>
                </a:cxn>
                <a:cxn ang="0">
                  <a:pos x="3086" y="341"/>
                </a:cxn>
                <a:cxn ang="0">
                  <a:pos x="3310" y="517"/>
                </a:cxn>
                <a:cxn ang="0">
                  <a:pos x="3509" y="727"/>
                </a:cxn>
                <a:cxn ang="0">
                  <a:pos x="3677" y="968"/>
                </a:cxn>
                <a:cxn ang="0">
                  <a:pos x="3811" y="1239"/>
                </a:cxn>
                <a:cxn ang="0">
                  <a:pos x="3856" y="1364"/>
                </a:cxn>
                <a:cxn ang="0">
                  <a:pos x="3893" y="1490"/>
                </a:cxn>
                <a:cxn ang="0">
                  <a:pos x="3920" y="1617"/>
                </a:cxn>
                <a:cxn ang="0">
                  <a:pos x="3940" y="1744"/>
                </a:cxn>
                <a:cxn ang="0">
                  <a:pos x="3950" y="1871"/>
                </a:cxn>
                <a:cxn ang="0">
                  <a:pos x="3953" y="1998"/>
                </a:cxn>
                <a:cxn ang="0">
                  <a:pos x="3947" y="2123"/>
                </a:cxn>
                <a:cxn ang="0">
                  <a:pos x="3933" y="2249"/>
                </a:cxn>
                <a:cxn ang="0">
                  <a:pos x="3912" y="2372"/>
                </a:cxn>
                <a:cxn ang="0">
                  <a:pos x="3882" y="2494"/>
                </a:cxn>
                <a:cxn ang="0">
                  <a:pos x="3809" y="2742"/>
                </a:cxn>
                <a:cxn ang="0">
                  <a:pos x="3693" y="3249"/>
                </a:cxn>
                <a:cxn ang="0">
                  <a:pos x="3626" y="3756"/>
                </a:cxn>
                <a:cxn ang="0">
                  <a:pos x="3605" y="4264"/>
                </a:cxn>
                <a:cxn ang="0">
                  <a:pos x="3623" y="4770"/>
                </a:cxn>
                <a:cxn ang="0">
                  <a:pos x="3675" y="5276"/>
                </a:cxn>
                <a:cxn ang="0">
                  <a:pos x="3758" y="5780"/>
                </a:cxn>
                <a:cxn ang="0">
                  <a:pos x="3864" y="6282"/>
                </a:cxn>
                <a:cxn ang="0">
                  <a:pos x="3991" y="6781"/>
                </a:cxn>
                <a:cxn ang="0">
                  <a:pos x="4130" y="7278"/>
                </a:cxn>
                <a:cxn ang="0">
                  <a:pos x="4279" y="7771"/>
                </a:cxn>
                <a:cxn ang="0">
                  <a:pos x="4318" y="7913"/>
                </a:cxn>
                <a:cxn ang="0">
                  <a:pos x="4192" y="7656"/>
                </a:cxn>
                <a:cxn ang="0">
                  <a:pos x="3944" y="7179"/>
                </a:cxn>
                <a:cxn ang="0">
                  <a:pos x="3689" y="6718"/>
                </a:cxn>
                <a:cxn ang="0">
                  <a:pos x="3382" y="6202"/>
                </a:cxn>
                <a:cxn ang="0">
                  <a:pos x="3034" y="5663"/>
                </a:cxn>
                <a:cxn ang="0">
                  <a:pos x="2648" y="5130"/>
                </a:cxn>
                <a:cxn ang="0">
                  <a:pos x="2235" y="4634"/>
                </a:cxn>
                <a:cxn ang="0">
                  <a:pos x="1800" y="4206"/>
                </a:cxn>
                <a:cxn ang="0">
                  <a:pos x="1352" y="3875"/>
                </a:cxn>
                <a:cxn ang="0">
                  <a:pos x="1117" y="3749"/>
                </a:cxn>
                <a:cxn ang="0">
                  <a:pos x="993" y="3677"/>
                </a:cxn>
                <a:cxn ang="0">
                  <a:pos x="873" y="3600"/>
                </a:cxn>
                <a:cxn ang="0">
                  <a:pos x="758" y="3514"/>
                </a:cxn>
                <a:cxn ang="0">
                  <a:pos x="648" y="3422"/>
                </a:cxn>
                <a:cxn ang="0">
                  <a:pos x="544" y="3323"/>
                </a:cxn>
                <a:cxn ang="0">
                  <a:pos x="447" y="3217"/>
                </a:cxn>
                <a:cxn ang="0">
                  <a:pos x="357" y="3103"/>
                </a:cxn>
                <a:cxn ang="0">
                  <a:pos x="276" y="2980"/>
                </a:cxn>
                <a:cxn ang="0">
                  <a:pos x="204" y="2851"/>
                </a:cxn>
                <a:cxn ang="0">
                  <a:pos x="142" y="2713"/>
                </a:cxn>
                <a:cxn ang="0">
                  <a:pos x="51" y="2425"/>
                </a:cxn>
                <a:cxn ang="0">
                  <a:pos x="6" y="2136"/>
                </a:cxn>
                <a:cxn ang="0">
                  <a:pos x="4" y="1846"/>
                </a:cxn>
                <a:cxn ang="0">
                  <a:pos x="45" y="1562"/>
                </a:cxn>
                <a:cxn ang="0">
                  <a:pos x="124" y="1289"/>
                </a:cxn>
                <a:cxn ang="0">
                  <a:pos x="243" y="1029"/>
                </a:cxn>
                <a:cxn ang="0">
                  <a:pos x="397" y="790"/>
                </a:cxn>
                <a:cxn ang="0">
                  <a:pos x="585" y="572"/>
                </a:cxn>
                <a:cxn ang="0">
                  <a:pos x="805" y="384"/>
                </a:cxn>
                <a:cxn ang="0">
                  <a:pos x="1056" y="227"/>
                </a:cxn>
              </a:cxnLst>
              <a:rect l="0" t="0" r="r" b="b"/>
              <a:pathLst>
                <a:path w="4330" h="7934">
                  <a:moveTo>
                    <a:pt x="1240" y="142"/>
                  </a:moveTo>
                  <a:lnTo>
                    <a:pt x="1335" y="106"/>
                  </a:lnTo>
                  <a:lnTo>
                    <a:pt x="1431" y="75"/>
                  </a:lnTo>
                  <a:lnTo>
                    <a:pt x="1526" y="51"/>
                  </a:lnTo>
                  <a:lnTo>
                    <a:pt x="1623" y="31"/>
                  </a:lnTo>
                  <a:lnTo>
                    <a:pt x="1720" y="15"/>
                  </a:lnTo>
                  <a:lnTo>
                    <a:pt x="1817" y="5"/>
                  </a:lnTo>
                  <a:lnTo>
                    <a:pt x="1914" y="0"/>
                  </a:lnTo>
                  <a:lnTo>
                    <a:pt x="2010" y="0"/>
                  </a:lnTo>
                  <a:lnTo>
                    <a:pt x="2106" y="4"/>
                  </a:lnTo>
                  <a:lnTo>
                    <a:pt x="2202" y="13"/>
                  </a:lnTo>
                  <a:lnTo>
                    <a:pt x="2296" y="27"/>
                  </a:lnTo>
                  <a:lnTo>
                    <a:pt x="2390" y="44"/>
                  </a:lnTo>
                  <a:lnTo>
                    <a:pt x="2483" y="66"/>
                  </a:lnTo>
                  <a:lnTo>
                    <a:pt x="2573" y="93"/>
                  </a:lnTo>
                  <a:lnTo>
                    <a:pt x="2663" y="124"/>
                  </a:lnTo>
                  <a:lnTo>
                    <a:pt x="2752" y="159"/>
                  </a:lnTo>
                  <a:lnTo>
                    <a:pt x="2838" y="199"/>
                  </a:lnTo>
                  <a:lnTo>
                    <a:pt x="2922" y="242"/>
                  </a:lnTo>
                  <a:lnTo>
                    <a:pt x="3005" y="290"/>
                  </a:lnTo>
                  <a:lnTo>
                    <a:pt x="3086" y="341"/>
                  </a:lnTo>
                  <a:lnTo>
                    <a:pt x="3163" y="396"/>
                  </a:lnTo>
                  <a:lnTo>
                    <a:pt x="3238" y="455"/>
                  </a:lnTo>
                  <a:lnTo>
                    <a:pt x="3310" y="517"/>
                  </a:lnTo>
                  <a:lnTo>
                    <a:pt x="3379" y="585"/>
                  </a:lnTo>
                  <a:lnTo>
                    <a:pt x="3446" y="654"/>
                  </a:lnTo>
                  <a:lnTo>
                    <a:pt x="3509" y="727"/>
                  </a:lnTo>
                  <a:lnTo>
                    <a:pt x="3569" y="805"/>
                  </a:lnTo>
                  <a:lnTo>
                    <a:pt x="3625" y="885"/>
                  </a:lnTo>
                  <a:lnTo>
                    <a:pt x="3677" y="968"/>
                  </a:lnTo>
                  <a:lnTo>
                    <a:pt x="3726" y="1056"/>
                  </a:lnTo>
                  <a:lnTo>
                    <a:pt x="3770" y="1146"/>
                  </a:lnTo>
                  <a:lnTo>
                    <a:pt x="3811" y="1239"/>
                  </a:lnTo>
                  <a:lnTo>
                    <a:pt x="3826" y="1280"/>
                  </a:lnTo>
                  <a:lnTo>
                    <a:pt x="3842" y="1322"/>
                  </a:lnTo>
                  <a:lnTo>
                    <a:pt x="3856" y="1364"/>
                  </a:lnTo>
                  <a:lnTo>
                    <a:pt x="3869" y="1406"/>
                  </a:lnTo>
                  <a:lnTo>
                    <a:pt x="3881" y="1448"/>
                  </a:lnTo>
                  <a:lnTo>
                    <a:pt x="3893" y="1490"/>
                  </a:lnTo>
                  <a:lnTo>
                    <a:pt x="3903" y="1533"/>
                  </a:lnTo>
                  <a:lnTo>
                    <a:pt x="3912" y="1574"/>
                  </a:lnTo>
                  <a:lnTo>
                    <a:pt x="3920" y="1617"/>
                  </a:lnTo>
                  <a:lnTo>
                    <a:pt x="3927" y="1659"/>
                  </a:lnTo>
                  <a:lnTo>
                    <a:pt x="3935" y="1702"/>
                  </a:lnTo>
                  <a:lnTo>
                    <a:pt x="3940" y="1744"/>
                  </a:lnTo>
                  <a:lnTo>
                    <a:pt x="3944" y="1787"/>
                  </a:lnTo>
                  <a:lnTo>
                    <a:pt x="3948" y="1828"/>
                  </a:lnTo>
                  <a:lnTo>
                    <a:pt x="3950" y="1871"/>
                  </a:lnTo>
                  <a:lnTo>
                    <a:pt x="3952" y="1913"/>
                  </a:lnTo>
                  <a:lnTo>
                    <a:pt x="3953" y="1956"/>
                  </a:lnTo>
                  <a:lnTo>
                    <a:pt x="3953" y="1998"/>
                  </a:lnTo>
                  <a:lnTo>
                    <a:pt x="3952" y="2040"/>
                  </a:lnTo>
                  <a:lnTo>
                    <a:pt x="3950" y="2081"/>
                  </a:lnTo>
                  <a:lnTo>
                    <a:pt x="3947" y="2123"/>
                  </a:lnTo>
                  <a:lnTo>
                    <a:pt x="3944" y="2165"/>
                  </a:lnTo>
                  <a:lnTo>
                    <a:pt x="3939" y="2207"/>
                  </a:lnTo>
                  <a:lnTo>
                    <a:pt x="3933" y="2249"/>
                  </a:lnTo>
                  <a:lnTo>
                    <a:pt x="3927" y="2290"/>
                  </a:lnTo>
                  <a:lnTo>
                    <a:pt x="3920" y="2331"/>
                  </a:lnTo>
                  <a:lnTo>
                    <a:pt x="3912" y="2372"/>
                  </a:lnTo>
                  <a:lnTo>
                    <a:pt x="3903" y="2413"/>
                  </a:lnTo>
                  <a:lnTo>
                    <a:pt x="3894" y="2453"/>
                  </a:lnTo>
                  <a:lnTo>
                    <a:pt x="3882" y="2494"/>
                  </a:lnTo>
                  <a:lnTo>
                    <a:pt x="3871" y="2533"/>
                  </a:lnTo>
                  <a:lnTo>
                    <a:pt x="3859" y="2573"/>
                  </a:lnTo>
                  <a:lnTo>
                    <a:pt x="3809" y="2742"/>
                  </a:lnTo>
                  <a:lnTo>
                    <a:pt x="3764" y="2911"/>
                  </a:lnTo>
                  <a:lnTo>
                    <a:pt x="3725" y="3080"/>
                  </a:lnTo>
                  <a:lnTo>
                    <a:pt x="3693" y="3249"/>
                  </a:lnTo>
                  <a:lnTo>
                    <a:pt x="3665" y="3418"/>
                  </a:lnTo>
                  <a:lnTo>
                    <a:pt x="3644" y="3587"/>
                  </a:lnTo>
                  <a:lnTo>
                    <a:pt x="3626" y="3756"/>
                  </a:lnTo>
                  <a:lnTo>
                    <a:pt x="3614" y="3925"/>
                  </a:lnTo>
                  <a:lnTo>
                    <a:pt x="3607" y="4095"/>
                  </a:lnTo>
                  <a:lnTo>
                    <a:pt x="3605" y="4264"/>
                  </a:lnTo>
                  <a:lnTo>
                    <a:pt x="3607" y="4432"/>
                  </a:lnTo>
                  <a:lnTo>
                    <a:pt x="3613" y="4602"/>
                  </a:lnTo>
                  <a:lnTo>
                    <a:pt x="3623" y="4770"/>
                  </a:lnTo>
                  <a:lnTo>
                    <a:pt x="3637" y="4939"/>
                  </a:lnTo>
                  <a:lnTo>
                    <a:pt x="3655" y="5108"/>
                  </a:lnTo>
                  <a:lnTo>
                    <a:pt x="3675" y="5276"/>
                  </a:lnTo>
                  <a:lnTo>
                    <a:pt x="3700" y="5444"/>
                  </a:lnTo>
                  <a:lnTo>
                    <a:pt x="3727" y="5613"/>
                  </a:lnTo>
                  <a:lnTo>
                    <a:pt x="3758" y="5780"/>
                  </a:lnTo>
                  <a:lnTo>
                    <a:pt x="3791" y="5947"/>
                  </a:lnTo>
                  <a:lnTo>
                    <a:pt x="3826" y="6115"/>
                  </a:lnTo>
                  <a:lnTo>
                    <a:pt x="3864" y="6282"/>
                  </a:lnTo>
                  <a:lnTo>
                    <a:pt x="3905" y="6448"/>
                  </a:lnTo>
                  <a:lnTo>
                    <a:pt x="3947" y="6616"/>
                  </a:lnTo>
                  <a:lnTo>
                    <a:pt x="3991" y="6781"/>
                  </a:lnTo>
                  <a:lnTo>
                    <a:pt x="4036" y="6947"/>
                  </a:lnTo>
                  <a:lnTo>
                    <a:pt x="4082" y="7113"/>
                  </a:lnTo>
                  <a:lnTo>
                    <a:pt x="4130" y="7278"/>
                  </a:lnTo>
                  <a:lnTo>
                    <a:pt x="4179" y="7442"/>
                  </a:lnTo>
                  <a:lnTo>
                    <a:pt x="4229" y="7606"/>
                  </a:lnTo>
                  <a:lnTo>
                    <a:pt x="4279" y="7771"/>
                  </a:lnTo>
                  <a:lnTo>
                    <a:pt x="4330" y="7934"/>
                  </a:lnTo>
                  <a:lnTo>
                    <a:pt x="4329" y="7933"/>
                  </a:lnTo>
                  <a:lnTo>
                    <a:pt x="4318" y="7913"/>
                  </a:lnTo>
                  <a:lnTo>
                    <a:pt x="4299" y="7873"/>
                  </a:lnTo>
                  <a:lnTo>
                    <a:pt x="4271" y="7817"/>
                  </a:lnTo>
                  <a:lnTo>
                    <a:pt x="4192" y="7656"/>
                  </a:lnTo>
                  <a:lnTo>
                    <a:pt x="4081" y="7441"/>
                  </a:lnTo>
                  <a:lnTo>
                    <a:pt x="4016" y="7316"/>
                  </a:lnTo>
                  <a:lnTo>
                    <a:pt x="3944" y="7179"/>
                  </a:lnTo>
                  <a:lnTo>
                    <a:pt x="3864" y="7033"/>
                  </a:lnTo>
                  <a:lnTo>
                    <a:pt x="3779" y="6879"/>
                  </a:lnTo>
                  <a:lnTo>
                    <a:pt x="3689" y="6718"/>
                  </a:lnTo>
                  <a:lnTo>
                    <a:pt x="3592" y="6550"/>
                  </a:lnTo>
                  <a:lnTo>
                    <a:pt x="3490" y="6378"/>
                  </a:lnTo>
                  <a:lnTo>
                    <a:pt x="3382" y="6202"/>
                  </a:lnTo>
                  <a:lnTo>
                    <a:pt x="3270" y="6024"/>
                  </a:lnTo>
                  <a:lnTo>
                    <a:pt x="3154" y="5843"/>
                  </a:lnTo>
                  <a:lnTo>
                    <a:pt x="3034" y="5663"/>
                  </a:lnTo>
                  <a:lnTo>
                    <a:pt x="2908" y="5483"/>
                  </a:lnTo>
                  <a:lnTo>
                    <a:pt x="2780" y="5305"/>
                  </a:lnTo>
                  <a:lnTo>
                    <a:pt x="2648" y="5130"/>
                  </a:lnTo>
                  <a:lnTo>
                    <a:pt x="2513" y="4960"/>
                  </a:lnTo>
                  <a:lnTo>
                    <a:pt x="2375" y="4793"/>
                  </a:lnTo>
                  <a:lnTo>
                    <a:pt x="2235" y="4634"/>
                  </a:lnTo>
                  <a:lnTo>
                    <a:pt x="2092" y="4482"/>
                  </a:lnTo>
                  <a:lnTo>
                    <a:pt x="1947" y="4339"/>
                  </a:lnTo>
                  <a:lnTo>
                    <a:pt x="1800" y="4206"/>
                  </a:lnTo>
                  <a:lnTo>
                    <a:pt x="1652" y="4083"/>
                  </a:lnTo>
                  <a:lnTo>
                    <a:pt x="1503" y="3973"/>
                  </a:lnTo>
                  <a:lnTo>
                    <a:pt x="1352" y="3875"/>
                  </a:lnTo>
                  <a:lnTo>
                    <a:pt x="1201" y="3792"/>
                  </a:lnTo>
                  <a:lnTo>
                    <a:pt x="1159" y="3771"/>
                  </a:lnTo>
                  <a:lnTo>
                    <a:pt x="1117" y="3749"/>
                  </a:lnTo>
                  <a:lnTo>
                    <a:pt x="1075" y="3725"/>
                  </a:lnTo>
                  <a:lnTo>
                    <a:pt x="1034" y="3702"/>
                  </a:lnTo>
                  <a:lnTo>
                    <a:pt x="993" y="3677"/>
                  </a:lnTo>
                  <a:lnTo>
                    <a:pt x="953" y="3652"/>
                  </a:lnTo>
                  <a:lnTo>
                    <a:pt x="912" y="3626"/>
                  </a:lnTo>
                  <a:lnTo>
                    <a:pt x="873" y="3600"/>
                  </a:lnTo>
                  <a:lnTo>
                    <a:pt x="834" y="3572"/>
                  </a:lnTo>
                  <a:lnTo>
                    <a:pt x="796" y="3544"/>
                  </a:lnTo>
                  <a:lnTo>
                    <a:pt x="758" y="3514"/>
                  </a:lnTo>
                  <a:lnTo>
                    <a:pt x="720" y="3484"/>
                  </a:lnTo>
                  <a:lnTo>
                    <a:pt x="684" y="3454"/>
                  </a:lnTo>
                  <a:lnTo>
                    <a:pt x="648" y="3422"/>
                  </a:lnTo>
                  <a:lnTo>
                    <a:pt x="612" y="3390"/>
                  </a:lnTo>
                  <a:lnTo>
                    <a:pt x="577" y="3357"/>
                  </a:lnTo>
                  <a:lnTo>
                    <a:pt x="544" y="3323"/>
                  </a:lnTo>
                  <a:lnTo>
                    <a:pt x="511" y="3288"/>
                  </a:lnTo>
                  <a:lnTo>
                    <a:pt x="479" y="3253"/>
                  </a:lnTo>
                  <a:lnTo>
                    <a:pt x="447" y="3217"/>
                  </a:lnTo>
                  <a:lnTo>
                    <a:pt x="416" y="3179"/>
                  </a:lnTo>
                  <a:lnTo>
                    <a:pt x="387" y="3142"/>
                  </a:lnTo>
                  <a:lnTo>
                    <a:pt x="357" y="3103"/>
                  </a:lnTo>
                  <a:lnTo>
                    <a:pt x="330" y="3063"/>
                  </a:lnTo>
                  <a:lnTo>
                    <a:pt x="302" y="3022"/>
                  </a:lnTo>
                  <a:lnTo>
                    <a:pt x="276" y="2980"/>
                  </a:lnTo>
                  <a:lnTo>
                    <a:pt x="251" y="2938"/>
                  </a:lnTo>
                  <a:lnTo>
                    <a:pt x="227" y="2895"/>
                  </a:lnTo>
                  <a:lnTo>
                    <a:pt x="204" y="2851"/>
                  </a:lnTo>
                  <a:lnTo>
                    <a:pt x="183" y="2806"/>
                  </a:lnTo>
                  <a:lnTo>
                    <a:pt x="162" y="2760"/>
                  </a:lnTo>
                  <a:lnTo>
                    <a:pt x="142" y="2713"/>
                  </a:lnTo>
                  <a:lnTo>
                    <a:pt x="107" y="2618"/>
                  </a:lnTo>
                  <a:lnTo>
                    <a:pt x="76" y="2522"/>
                  </a:lnTo>
                  <a:lnTo>
                    <a:pt x="51" y="2425"/>
                  </a:lnTo>
                  <a:lnTo>
                    <a:pt x="32" y="2329"/>
                  </a:lnTo>
                  <a:lnTo>
                    <a:pt x="16" y="2232"/>
                  </a:lnTo>
                  <a:lnTo>
                    <a:pt x="6" y="2136"/>
                  </a:lnTo>
                  <a:lnTo>
                    <a:pt x="1" y="2039"/>
                  </a:lnTo>
                  <a:lnTo>
                    <a:pt x="0" y="1942"/>
                  </a:lnTo>
                  <a:lnTo>
                    <a:pt x="4" y="1846"/>
                  </a:lnTo>
                  <a:lnTo>
                    <a:pt x="13" y="1751"/>
                  </a:lnTo>
                  <a:lnTo>
                    <a:pt x="26" y="1656"/>
                  </a:lnTo>
                  <a:lnTo>
                    <a:pt x="45" y="1562"/>
                  </a:lnTo>
                  <a:lnTo>
                    <a:pt x="67" y="1470"/>
                  </a:lnTo>
                  <a:lnTo>
                    <a:pt x="94" y="1378"/>
                  </a:lnTo>
                  <a:lnTo>
                    <a:pt x="124" y="1289"/>
                  </a:lnTo>
                  <a:lnTo>
                    <a:pt x="160" y="1201"/>
                  </a:lnTo>
                  <a:lnTo>
                    <a:pt x="199" y="1114"/>
                  </a:lnTo>
                  <a:lnTo>
                    <a:pt x="243" y="1029"/>
                  </a:lnTo>
                  <a:lnTo>
                    <a:pt x="290" y="947"/>
                  </a:lnTo>
                  <a:lnTo>
                    <a:pt x="341" y="867"/>
                  </a:lnTo>
                  <a:lnTo>
                    <a:pt x="397" y="790"/>
                  </a:lnTo>
                  <a:lnTo>
                    <a:pt x="455" y="714"/>
                  </a:lnTo>
                  <a:lnTo>
                    <a:pt x="518" y="642"/>
                  </a:lnTo>
                  <a:lnTo>
                    <a:pt x="585" y="572"/>
                  </a:lnTo>
                  <a:lnTo>
                    <a:pt x="655" y="506"/>
                  </a:lnTo>
                  <a:lnTo>
                    <a:pt x="728" y="443"/>
                  </a:lnTo>
                  <a:lnTo>
                    <a:pt x="805" y="384"/>
                  </a:lnTo>
                  <a:lnTo>
                    <a:pt x="886" y="328"/>
                  </a:lnTo>
                  <a:lnTo>
                    <a:pt x="969" y="274"/>
                  </a:lnTo>
                  <a:lnTo>
                    <a:pt x="1056" y="227"/>
                  </a:lnTo>
                  <a:lnTo>
                    <a:pt x="1146" y="182"/>
                  </a:lnTo>
                  <a:lnTo>
                    <a:pt x="1240" y="142"/>
                  </a:lnTo>
                  <a:close/>
                </a:path>
              </a:pathLst>
            </a:custGeom>
            <a:solidFill>
              <a:schemeClr val="bg1">
                <a:lumMod val="50000"/>
                <a:alpha val="2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nb-NO" sz="1600">
                <a:latin typeface="Calibri" charset="0"/>
              </a:endParaRPr>
            </a:p>
          </p:txBody>
        </p:sp>
        <p:grpSp>
          <p:nvGrpSpPr>
            <p:cNvPr id="45" name="Group 133"/>
            <p:cNvGrpSpPr>
              <a:grpSpLocks/>
            </p:cNvGrpSpPr>
            <p:nvPr/>
          </p:nvGrpSpPr>
          <p:grpSpPr bwMode="auto">
            <a:xfrm flipH="1">
              <a:off x="4436064" y="2500313"/>
              <a:ext cx="650367" cy="1241653"/>
              <a:chOff x="7000949" y="2143116"/>
              <a:chExt cx="999336" cy="1834351"/>
            </a:xfrm>
          </p:grpSpPr>
          <p:sp>
            <p:nvSpPr>
              <p:cNvPr id="46" name="Freeform 57"/>
              <p:cNvSpPr>
                <a:spLocks/>
              </p:cNvSpPr>
              <p:nvPr/>
            </p:nvSpPr>
            <p:spPr bwMode="auto">
              <a:xfrm>
                <a:off x="7000949" y="2143116"/>
                <a:ext cx="999336" cy="1834351"/>
              </a:xfrm>
              <a:custGeom>
                <a:avLst/>
                <a:gdLst/>
                <a:ahLst/>
                <a:cxnLst>
                  <a:cxn ang="0">
                    <a:pos x="1431" y="75"/>
                  </a:cxn>
                  <a:cxn ang="0">
                    <a:pos x="1720" y="15"/>
                  </a:cxn>
                  <a:cxn ang="0">
                    <a:pos x="2010" y="0"/>
                  </a:cxn>
                  <a:cxn ang="0">
                    <a:pos x="2296" y="27"/>
                  </a:cxn>
                  <a:cxn ang="0">
                    <a:pos x="2573" y="93"/>
                  </a:cxn>
                  <a:cxn ang="0">
                    <a:pos x="2838" y="199"/>
                  </a:cxn>
                  <a:cxn ang="0">
                    <a:pos x="3086" y="341"/>
                  </a:cxn>
                  <a:cxn ang="0">
                    <a:pos x="3310" y="517"/>
                  </a:cxn>
                  <a:cxn ang="0">
                    <a:pos x="3509" y="727"/>
                  </a:cxn>
                  <a:cxn ang="0">
                    <a:pos x="3677" y="968"/>
                  </a:cxn>
                  <a:cxn ang="0">
                    <a:pos x="3811" y="1239"/>
                  </a:cxn>
                  <a:cxn ang="0">
                    <a:pos x="3856" y="1364"/>
                  </a:cxn>
                  <a:cxn ang="0">
                    <a:pos x="3893" y="1490"/>
                  </a:cxn>
                  <a:cxn ang="0">
                    <a:pos x="3920" y="1617"/>
                  </a:cxn>
                  <a:cxn ang="0">
                    <a:pos x="3940" y="1744"/>
                  </a:cxn>
                  <a:cxn ang="0">
                    <a:pos x="3950" y="1871"/>
                  </a:cxn>
                  <a:cxn ang="0">
                    <a:pos x="3953" y="1998"/>
                  </a:cxn>
                  <a:cxn ang="0">
                    <a:pos x="3947" y="2123"/>
                  </a:cxn>
                  <a:cxn ang="0">
                    <a:pos x="3933" y="2249"/>
                  </a:cxn>
                  <a:cxn ang="0">
                    <a:pos x="3912" y="2372"/>
                  </a:cxn>
                  <a:cxn ang="0">
                    <a:pos x="3882" y="2494"/>
                  </a:cxn>
                  <a:cxn ang="0">
                    <a:pos x="3809" y="2742"/>
                  </a:cxn>
                  <a:cxn ang="0">
                    <a:pos x="3693" y="3249"/>
                  </a:cxn>
                  <a:cxn ang="0">
                    <a:pos x="3626" y="3756"/>
                  </a:cxn>
                  <a:cxn ang="0">
                    <a:pos x="3605" y="4264"/>
                  </a:cxn>
                  <a:cxn ang="0">
                    <a:pos x="3623" y="4770"/>
                  </a:cxn>
                  <a:cxn ang="0">
                    <a:pos x="3675" y="5276"/>
                  </a:cxn>
                  <a:cxn ang="0">
                    <a:pos x="3758" y="5780"/>
                  </a:cxn>
                  <a:cxn ang="0">
                    <a:pos x="3864" y="6282"/>
                  </a:cxn>
                  <a:cxn ang="0">
                    <a:pos x="3991" y="6781"/>
                  </a:cxn>
                  <a:cxn ang="0">
                    <a:pos x="4130" y="7278"/>
                  </a:cxn>
                  <a:cxn ang="0">
                    <a:pos x="4279" y="7771"/>
                  </a:cxn>
                  <a:cxn ang="0">
                    <a:pos x="4318" y="7913"/>
                  </a:cxn>
                  <a:cxn ang="0">
                    <a:pos x="4192" y="7656"/>
                  </a:cxn>
                  <a:cxn ang="0">
                    <a:pos x="3944" y="7179"/>
                  </a:cxn>
                  <a:cxn ang="0">
                    <a:pos x="3689" y="6718"/>
                  </a:cxn>
                  <a:cxn ang="0">
                    <a:pos x="3382" y="6202"/>
                  </a:cxn>
                  <a:cxn ang="0">
                    <a:pos x="3034" y="5663"/>
                  </a:cxn>
                  <a:cxn ang="0">
                    <a:pos x="2648" y="5130"/>
                  </a:cxn>
                  <a:cxn ang="0">
                    <a:pos x="2235" y="4634"/>
                  </a:cxn>
                  <a:cxn ang="0">
                    <a:pos x="1800" y="4206"/>
                  </a:cxn>
                  <a:cxn ang="0">
                    <a:pos x="1352" y="3875"/>
                  </a:cxn>
                  <a:cxn ang="0">
                    <a:pos x="1117" y="3749"/>
                  </a:cxn>
                  <a:cxn ang="0">
                    <a:pos x="993" y="3677"/>
                  </a:cxn>
                  <a:cxn ang="0">
                    <a:pos x="873" y="3600"/>
                  </a:cxn>
                  <a:cxn ang="0">
                    <a:pos x="758" y="3514"/>
                  </a:cxn>
                  <a:cxn ang="0">
                    <a:pos x="648" y="3422"/>
                  </a:cxn>
                  <a:cxn ang="0">
                    <a:pos x="544" y="3323"/>
                  </a:cxn>
                  <a:cxn ang="0">
                    <a:pos x="447" y="3217"/>
                  </a:cxn>
                  <a:cxn ang="0">
                    <a:pos x="357" y="3103"/>
                  </a:cxn>
                  <a:cxn ang="0">
                    <a:pos x="276" y="2980"/>
                  </a:cxn>
                  <a:cxn ang="0">
                    <a:pos x="204" y="2851"/>
                  </a:cxn>
                  <a:cxn ang="0">
                    <a:pos x="142" y="2713"/>
                  </a:cxn>
                  <a:cxn ang="0">
                    <a:pos x="51" y="2425"/>
                  </a:cxn>
                  <a:cxn ang="0">
                    <a:pos x="6" y="2136"/>
                  </a:cxn>
                  <a:cxn ang="0">
                    <a:pos x="4" y="1846"/>
                  </a:cxn>
                  <a:cxn ang="0">
                    <a:pos x="45" y="1562"/>
                  </a:cxn>
                  <a:cxn ang="0">
                    <a:pos x="124" y="1289"/>
                  </a:cxn>
                  <a:cxn ang="0">
                    <a:pos x="243" y="1029"/>
                  </a:cxn>
                  <a:cxn ang="0">
                    <a:pos x="397" y="790"/>
                  </a:cxn>
                  <a:cxn ang="0">
                    <a:pos x="585" y="572"/>
                  </a:cxn>
                  <a:cxn ang="0">
                    <a:pos x="805" y="384"/>
                  </a:cxn>
                  <a:cxn ang="0">
                    <a:pos x="1056" y="227"/>
                  </a:cxn>
                </a:cxnLst>
                <a:rect l="0" t="0" r="r" b="b"/>
                <a:pathLst>
                  <a:path w="4330" h="7934">
                    <a:moveTo>
                      <a:pt x="1240" y="142"/>
                    </a:moveTo>
                    <a:lnTo>
                      <a:pt x="1335" y="106"/>
                    </a:lnTo>
                    <a:lnTo>
                      <a:pt x="1431" y="75"/>
                    </a:lnTo>
                    <a:lnTo>
                      <a:pt x="1526" y="51"/>
                    </a:lnTo>
                    <a:lnTo>
                      <a:pt x="1623" y="31"/>
                    </a:lnTo>
                    <a:lnTo>
                      <a:pt x="1720" y="15"/>
                    </a:lnTo>
                    <a:lnTo>
                      <a:pt x="1817" y="5"/>
                    </a:lnTo>
                    <a:lnTo>
                      <a:pt x="1914" y="0"/>
                    </a:lnTo>
                    <a:lnTo>
                      <a:pt x="2010" y="0"/>
                    </a:lnTo>
                    <a:lnTo>
                      <a:pt x="2106" y="4"/>
                    </a:lnTo>
                    <a:lnTo>
                      <a:pt x="2202" y="13"/>
                    </a:lnTo>
                    <a:lnTo>
                      <a:pt x="2296" y="27"/>
                    </a:lnTo>
                    <a:lnTo>
                      <a:pt x="2390" y="44"/>
                    </a:lnTo>
                    <a:lnTo>
                      <a:pt x="2483" y="66"/>
                    </a:lnTo>
                    <a:lnTo>
                      <a:pt x="2573" y="93"/>
                    </a:lnTo>
                    <a:lnTo>
                      <a:pt x="2663" y="124"/>
                    </a:lnTo>
                    <a:lnTo>
                      <a:pt x="2752" y="159"/>
                    </a:lnTo>
                    <a:lnTo>
                      <a:pt x="2838" y="199"/>
                    </a:lnTo>
                    <a:lnTo>
                      <a:pt x="2922" y="242"/>
                    </a:lnTo>
                    <a:lnTo>
                      <a:pt x="3005" y="290"/>
                    </a:lnTo>
                    <a:lnTo>
                      <a:pt x="3086" y="341"/>
                    </a:lnTo>
                    <a:lnTo>
                      <a:pt x="3163" y="396"/>
                    </a:lnTo>
                    <a:lnTo>
                      <a:pt x="3238" y="455"/>
                    </a:lnTo>
                    <a:lnTo>
                      <a:pt x="3310" y="517"/>
                    </a:lnTo>
                    <a:lnTo>
                      <a:pt x="3379" y="585"/>
                    </a:lnTo>
                    <a:lnTo>
                      <a:pt x="3446" y="654"/>
                    </a:lnTo>
                    <a:lnTo>
                      <a:pt x="3509" y="727"/>
                    </a:lnTo>
                    <a:lnTo>
                      <a:pt x="3569" y="805"/>
                    </a:lnTo>
                    <a:lnTo>
                      <a:pt x="3625" y="885"/>
                    </a:lnTo>
                    <a:lnTo>
                      <a:pt x="3677" y="968"/>
                    </a:lnTo>
                    <a:lnTo>
                      <a:pt x="3726" y="1056"/>
                    </a:lnTo>
                    <a:lnTo>
                      <a:pt x="3770" y="1146"/>
                    </a:lnTo>
                    <a:lnTo>
                      <a:pt x="3811" y="1239"/>
                    </a:lnTo>
                    <a:lnTo>
                      <a:pt x="3826" y="1280"/>
                    </a:lnTo>
                    <a:lnTo>
                      <a:pt x="3842" y="1322"/>
                    </a:lnTo>
                    <a:lnTo>
                      <a:pt x="3856" y="1364"/>
                    </a:lnTo>
                    <a:lnTo>
                      <a:pt x="3869" y="1406"/>
                    </a:lnTo>
                    <a:lnTo>
                      <a:pt x="3881" y="1448"/>
                    </a:lnTo>
                    <a:lnTo>
                      <a:pt x="3893" y="1490"/>
                    </a:lnTo>
                    <a:lnTo>
                      <a:pt x="3903" y="1533"/>
                    </a:lnTo>
                    <a:lnTo>
                      <a:pt x="3912" y="1574"/>
                    </a:lnTo>
                    <a:lnTo>
                      <a:pt x="3920" y="1617"/>
                    </a:lnTo>
                    <a:lnTo>
                      <a:pt x="3927" y="1659"/>
                    </a:lnTo>
                    <a:lnTo>
                      <a:pt x="3935" y="1702"/>
                    </a:lnTo>
                    <a:lnTo>
                      <a:pt x="3940" y="1744"/>
                    </a:lnTo>
                    <a:lnTo>
                      <a:pt x="3944" y="1787"/>
                    </a:lnTo>
                    <a:lnTo>
                      <a:pt x="3948" y="1828"/>
                    </a:lnTo>
                    <a:lnTo>
                      <a:pt x="3950" y="1871"/>
                    </a:lnTo>
                    <a:lnTo>
                      <a:pt x="3952" y="1913"/>
                    </a:lnTo>
                    <a:lnTo>
                      <a:pt x="3953" y="1956"/>
                    </a:lnTo>
                    <a:lnTo>
                      <a:pt x="3953" y="1998"/>
                    </a:lnTo>
                    <a:lnTo>
                      <a:pt x="3952" y="2040"/>
                    </a:lnTo>
                    <a:lnTo>
                      <a:pt x="3950" y="2081"/>
                    </a:lnTo>
                    <a:lnTo>
                      <a:pt x="3947" y="2123"/>
                    </a:lnTo>
                    <a:lnTo>
                      <a:pt x="3944" y="2165"/>
                    </a:lnTo>
                    <a:lnTo>
                      <a:pt x="3939" y="2207"/>
                    </a:lnTo>
                    <a:lnTo>
                      <a:pt x="3933" y="2249"/>
                    </a:lnTo>
                    <a:lnTo>
                      <a:pt x="3927" y="2290"/>
                    </a:lnTo>
                    <a:lnTo>
                      <a:pt x="3920" y="2331"/>
                    </a:lnTo>
                    <a:lnTo>
                      <a:pt x="3912" y="2372"/>
                    </a:lnTo>
                    <a:lnTo>
                      <a:pt x="3903" y="2413"/>
                    </a:lnTo>
                    <a:lnTo>
                      <a:pt x="3894" y="2453"/>
                    </a:lnTo>
                    <a:lnTo>
                      <a:pt x="3882" y="2494"/>
                    </a:lnTo>
                    <a:lnTo>
                      <a:pt x="3871" y="2533"/>
                    </a:lnTo>
                    <a:lnTo>
                      <a:pt x="3859" y="2573"/>
                    </a:lnTo>
                    <a:lnTo>
                      <a:pt x="3809" y="2742"/>
                    </a:lnTo>
                    <a:lnTo>
                      <a:pt x="3764" y="2911"/>
                    </a:lnTo>
                    <a:lnTo>
                      <a:pt x="3725" y="3080"/>
                    </a:lnTo>
                    <a:lnTo>
                      <a:pt x="3693" y="3249"/>
                    </a:lnTo>
                    <a:lnTo>
                      <a:pt x="3665" y="3418"/>
                    </a:lnTo>
                    <a:lnTo>
                      <a:pt x="3644" y="3587"/>
                    </a:lnTo>
                    <a:lnTo>
                      <a:pt x="3626" y="3756"/>
                    </a:lnTo>
                    <a:lnTo>
                      <a:pt x="3614" y="3925"/>
                    </a:lnTo>
                    <a:lnTo>
                      <a:pt x="3607" y="4095"/>
                    </a:lnTo>
                    <a:lnTo>
                      <a:pt x="3605" y="4264"/>
                    </a:lnTo>
                    <a:lnTo>
                      <a:pt x="3607" y="4432"/>
                    </a:lnTo>
                    <a:lnTo>
                      <a:pt x="3613" y="4602"/>
                    </a:lnTo>
                    <a:lnTo>
                      <a:pt x="3623" y="4770"/>
                    </a:lnTo>
                    <a:lnTo>
                      <a:pt x="3637" y="4939"/>
                    </a:lnTo>
                    <a:lnTo>
                      <a:pt x="3655" y="5108"/>
                    </a:lnTo>
                    <a:lnTo>
                      <a:pt x="3675" y="5276"/>
                    </a:lnTo>
                    <a:lnTo>
                      <a:pt x="3700" y="5444"/>
                    </a:lnTo>
                    <a:lnTo>
                      <a:pt x="3727" y="5613"/>
                    </a:lnTo>
                    <a:lnTo>
                      <a:pt x="3758" y="5780"/>
                    </a:lnTo>
                    <a:lnTo>
                      <a:pt x="3791" y="5947"/>
                    </a:lnTo>
                    <a:lnTo>
                      <a:pt x="3826" y="6115"/>
                    </a:lnTo>
                    <a:lnTo>
                      <a:pt x="3864" y="6282"/>
                    </a:lnTo>
                    <a:lnTo>
                      <a:pt x="3905" y="6448"/>
                    </a:lnTo>
                    <a:lnTo>
                      <a:pt x="3947" y="6616"/>
                    </a:lnTo>
                    <a:lnTo>
                      <a:pt x="3991" y="6781"/>
                    </a:lnTo>
                    <a:lnTo>
                      <a:pt x="4036" y="6947"/>
                    </a:lnTo>
                    <a:lnTo>
                      <a:pt x="4082" y="7113"/>
                    </a:lnTo>
                    <a:lnTo>
                      <a:pt x="4130" y="7278"/>
                    </a:lnTo>
                    <a:lnTo>
                      <a:pt x="4179" y="7442"/>
                    </a:lnTo>
                    <a:lnTo>
                      <a:pt x="4229" y="7606"/>
                    </a:lnTo>
                    <a:lnTo>
                      <a:pt x="4279" y="7771"/>
                    </a:lnTo>
                    <a:lnTo>
                      <a:pt x="4330" y="7934"/>
                    </a:lnTo>
                    <a:lnTo>
                      <a:pt x="4329" y="7933"/>
                    </a:lnTo>
                    <a:lnTo>
                      <a:pt x="4318" y="7913"/>
                    </a:lnTo>
                    <a:lnTo>
                      <a:pt x="4299" y="7873"/>
                    </a:lnTo>
                    <a:lnTo>
                      <a:pt x="4271" y="7817"/>
                    </a:lnTo>
                    <a:lnTo>
                      <a:pt x="4192" y="7656"/>
                    </a:lnTo>
                    <a:lnTo>
                      <a:pt x="4081" y="7441"/>
                    </a:lnTo>
                    <a:lnTo>
                      <a:pt x="4016" y="7316"/>
                    </a:lnTo>
                    <a:lnTo>
                      <a:pt x="3944" y="7179"/>
                    </a:lnTo>
                    <a:lnTo>
                      <a:pt x="3864" y="7033"/>
                    </a:lnTo>
                    <a:lnTo>
                      <a:pt x="3779" y="6879"/>
                    </a:lnTo>
                    <a:lnTo>
                      <a:pt x="3689" y="6718"/>
                    </a:lnTo>
                    <a:lnTo>
                      <a:pt x="3592" y="6550"/>
                    </a:lnTo>
                    <a:lnTo>
                      <a:pt x="3490" y="6378"/>
                    </a:lnTo>
                    <a:lnTo>
                      <a:pt x="3382" y="6202"/>
                    </a:lnTo>
                    <a:lnTo>
                      <a:pt x="3270" y="6024"/>
                    </a:lnTo>
                    <a:lnTo>
                      <a:pt x="3154" y="5843"/>
                    </a:lnTo>
                    <a:lnTo>
                      <a:pt x="3034" y="5663"/>
                    </a:lnTo>
                    <a:lnTo>
                      <a:pt x="2908" y="5483"/>
                    </a:lnTo>
                    <a:lnTo>
                      <a:pt x="2780" y="5305"/>
                    </a:lnTo>
                    <a:lnTo>
                      <a:pt x="2648" y="5130"/>
                    </a:lnTo>
                    <a:lnTo>
                      <a:pt x="2513" y="4960"/>
                    </a:lnTo>
                    <a:lnTo>
                      <a:pt x="2375" y="4793"/>
                    </a:lnTo>
                    <a:lnTo>
                      <a:pt x="2235" y="4634"/>
                    </a:lnTo>
                    <a:lnTo>
                      <a:pt x="2092" y="4482"/>
                    </a:lnTo>
                    <a:lnTo>
                      <a:pt x="1947" y="4339"/>
                    </a:lnTo>
                    <a:lnTo>
                      <a:pt x="1800" y="4206"/>
                    </a:lnTo>
                    <a:lnTo>
                      <a:pt x="1652" y="4083"/>
                    </a:lnTo>
                    <a:lnTo>
                      <a:pt x="1503" y="3973"/>
                    </a:lnTo>
                    <a:lnTo>
                      <a:pt x="1352" y="3875"/>
                    </a:lnTo>
                    <a:lnTo>
                      <a:pt x="1201" y="3792"/>
                    </a:lnTo>
                    <a:lnTo>
                      <a:pt x="1159" y="3771"/>
                    </a:lnTo>
                    <a:lnTo>
                      <a:pt x="1117" y="3749"/>
                    </a:lnTo>
                    <a:lnTo>
                      <a:pt x="1075" y="3725"/>
                    </a:lnTo>
                    <a:lnTo>
                      <a:pt x="1034" y="3702"/>
                    </a:lnTo>
                    <a:lnTo>
                      <a:pt x="993" y="3677"/>
                    </a:lnTo>
                    <a:lnTo>
                      <a:pt x="953" y="3652"/>
                    </a:lnTo>
                    <a:lnTo>
                      <a:pt x="912" y="3626"/>
                    </a:lnTo>
                    <a:lnTo>
                      <a:pt x="873" y="3600"/>
                    </a:lnTo>
                    <a:lnTo>
                      <a:pt x="834" y="3572"/>
                    </a:lnTo>
                    <a:lnTo>
                      <a:pt x="796" y="3544"/>
                    </a:lnTo>
                    <a:lnTo>
                      <a:pt x="758" y="3514"/>
                    </a:lnTo>
                    <a:lnTo>
                      <a:pt x="720" y="3484"/>
                    </a:lnTo>
                    <a:lnTo>
                      <a:pt x="684" y="3454"/>
                    </a:lnTo>
                    <a:lnTo>
                      <a:pt x="648" y="3422"/>
                    </a:lnTo>
                    <a:lnTo>
                      <a:pt x="612" y="3390"/>
                    </a:lnTo>
                    <a:lnTo>
                      <a:pt x="577" y="3357"/>
                    </a:lnTo>
                    <a:lnTo>
                      <a:pt x="544" y="3323"/>
                    </a:lnTo>
                    <a:lnTo>
                      <a:pt x="511" y="3288"/>
                    </a:lnTo>
                    <a:lnTo>
                      <a:pt x="479" y="3253"/>
                    </a:lnTo>
                    <a:lnTo>
                      <a:pt x="447" y="3217"/>
                    </a:lnTo>
                    <a:lnTo>
                      <a:pt x="416" y="3179"/>
                    </a:lnTo>
                    <a:lnTo>
                      <a:pt x="387" y="3142"/>
                    </a:lnTo>
                    <a:lnTo>
                      <a:pt x="357" y="3103"/>
                    </a:lnTo>
                    <a:lnTo>
                      <a:pt x="330" y="3063"/>
                    </a:lnTo>
                    <a:lnTo>
                      <a:pt x="302" y="3022"/>
                    </a:lnTo>
                    <a:lnTo>
                      <a:pt x="276" y="2980"/>
                    </a:lnTo>
                    <a:lnTo>
                      <a:pt x="251" y="2938"/>
                    </a:lnTo>
                    <a:lnTo>
                      <a:pt x="227" y="2895"/>
                    </a:lnTo>
                    <a:lnTo>
                      <a:pt x="204" y="2851"/>
                    </a:lnTo>
                    <a:lnTo>
                      <a:pt x="183" y="2806"/>
                    </a:lnTo>
                    <a:lnTo>
                      <a:pt x="162" y="2760"/>
                    </a:lnTo>
                    <a:lnTo>
                      <a:pt x="142" y="2713"/>
                    </a:lnTo>
                    <a:lnTo>
                      <a:pt x="107" y="2618"/>
                    </a:lnTo>
                    <a:lnTo>
                      <a:pt x="76" y="2522"/>
                    </a:lnTo>
                    <a:lnTo>
                      <a:pt x="51" y="2425"/>
                    </a:lnTo>
                    <a:lnTo>
                      <a:pt x="32" y="2329"/>
                    </a:lnTo>
                    <a:lnTo>
                      <a:pt x="16" y="2232"/>
                    </a:lnTo>
                    <a:lnTo>
                      <a:pt x="6" y="2136"/>
                    </a:lnTo>
                    <a:lnTo>
                      <a:pt x="1" y="2039"/>
                    </a:lnTo>
                    <a:lnTo>
                      <a:pt x="0" y="1942"/>
                    </a:lnTo>
                    <a:lnTo>
                      <a:pt x="4" y="1846"/>
                    </a:lnTo>
                    <a:lnTo>
                      <a:pt x="13" y="1751"/>
                    </a:lnTo>
                    <a:lnTo>
                      <a:pt x="26" y="1656"/>
                    </a:lnTo>
                    <a:lnTo>
                      <a:pt x="45" y="1562"/>
                    </a:lnTo>
                    <a:lnTo>
                      <a:pt x="67" y="1470"/>
                    </a:lnTo>
                    <a:lnTo>
                      <a:pt x="94" y="1378"/>
                    </a:lnTo>
                    <a:lnTo>
                      <a:pt x="124" y="1289"/>
                    </a:lnTo>
                    <a:lnTo>
                      <a:pt x="160" y="1201"/>
                    </a:lnTo>
                    <a:lnTo>
                      <a:pt x="199" y="1114"/>
                    </a:lnTo>
                    <a:lnTo>
                      <a:pt x="243" y="1029"/>
                    </a:lnTo>
                    <a:lnTo>
                      <a:pt x="290" y="947"/>
                    </a:lnTo>
                    <a:lnTo>
                      <a:pt x="341" y="867"/>
                    </a:lnTo>
                    <a:lnTo>
                      <a:pt x="397" y="790"/>
                    </a:lnTo>
                    <a:lnTo>
                      <a:pt x="455" y="714"/>
                    </a:lnTo>
                    <a:lnTo>
                      <a:pt x="518" y="642"/>
                    </a:lnTo>
                    <a:lnTo>
                      <a:pt x="585" y="572"/>
                    </a:lnTo>
                    <a:lnTo>
                      <a:pt x="655" y="506"/>
                    </a:lnTo>
                    <a:lnTo>
                      <a:pt x="728" y="443"/>
                    </a:lnTo>
                    <a:lnTo>
                      <a:pt x="805" y="384"/>
                    </a:lnTo>
                    <a:lnTo>
                      <a:pt x="886" y="328"/>
                    </a:lnTo>
                    <a:lnTo>
                      <a:pt x="969" y="274"/>
                    </a:lnTo>
                    <a:lnTo>
                      <a:pt x="1056" y="227"/>
                    </a:lnTo>
                    <a:lnTo>
                      <a:pt x="1146" y="182"/>
                    </a:lnTo>
                    <a:lnTo>
                      <a:pt x="1240" y="142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2A9B18">
                      <a:shade val="30000"/>
                      <a:satMod val="115000"/>
                    </a:srgbClr>
                  </a:gs>
                  <a:gs pos="100000">
                    <a:srgbClr val="2A9B18">
                      <a:shade val="100000"/>
                      <a:satMod val="115000"/>
                    </a:srgbClr>
                  </a:gs>
                </a:gsLst>
                <a:lin ang="13500000" scaled="1"/>
                <a:tileRect/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1600"/>
              </a:p>
            </p:txBody>
          </p:sp>
          <p:sp>
            <p:nvSpPr>
              <p:cNvPr id="47" name="Oval 280"/>
              <p:cNvSpPr/>
              <p:nvPr/>
            </p:nvSpPr>
            <p:spPr>
              <a:xfrm flipV="1">
                <a:off x="7128300" y="2206820"/>
                <a:ext cx="687491" cy="623788"/>
              </a:xfrm>
              <a:prstGeom prst="ellipse">
                <a:avLst/>
              </a:prstGeom>
              <a:gradFill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>
                      <a:alpha val="30000"/>
                    </a:schemeClr>
                  </a:gs>
                  <a:gs pos="100000">
                    <a:schemeClr val="accent1">
                      <a:tint val="23500"/>
                      <a:satMod val="160000"/>
                      <a:alpha val="41000"/>
                    </a:schemeClr>
                  </a:gs>
                  <a:gs pos="100000">
                    <a:schemeClr val="accent1">
                      <a:tint val="23500"/>
                      <a:satMod val="160000"/>
                      <a:alpha val="0"/>
                    </a:schemeClr>
                  </a:gs>
                </a:gsLst>
                <a:lin ang="5400000" scaled="1"/>
              </a:gradFill>
              <a:ln>
                <a:noFill/>
              </a:ln>
              <a:effectLst>
                <a:outerShdw blurRad="114300" sx="104000" sy="104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nb-NO" sz="1600">
                  <a:solidFill>
                    <a:srgbClr val="FFFFFF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51" name="Group 71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4220968" y="2922432"/>
            <a:ext cx="228309" cy="224742"/>
            <a:chOff x="4212399" y="2500313"/>
            <a:chExt cx="975551" cy="1435364"/>
          </a:xfrm>
        </p:grpSpPr>
        <p:grpSp>
          <p:nvGrpSpPr>
            <p:cNvPr id="53" name="Group 72"/>
            <p:cNvGrpSpPr>
              <a:grpSpLocks/>
            </p:cNvGrpSpPr>
            <p:nvPr/>
          </p:nvGrpSpPr>
          <p:grpSpPr bwMode="auto">
            <a:xfrm>
              <a:off x="4212399" y="3437110"/>
              <a:ext cx="498086" cy="498567"/>
              <a:chOff x="5627209" y="1515183"/>
              <a:chExt cx="498086" cy="498567"/>
            </a:xfrm>
          </p:grpSpPr>
          <p:sp>
            <p:nvSpPr>
              <p:cNvPr id="58" name="Oval 289"/>
              <p:cNvSpPr>
                <a:spLocks noChangeArrowheads="1"/>
              </p:cNvSpPr>
              <p:nvPr/>
            </p:nvSpPr>
            <p:spPr bwMode="auto">
              <a:xfrm>
                <a:off x="5627209" y="1515183"/>
                <a:ext cx="498086" cy="498567"/>
              </a:xfrm>
              <a:prstGeom prst="ellipse">
                <a:avLst/>
              </a:prstGeom>
              <a:gradFill rotWithShape="0">
                <a:gsLst>
                  <a:gs pos="0">
                    <a:schemeClr val="bg1"/>
                  </a:gs>
                  <a:gs pos="100000">
                    <a:srgbClr val="D9D9D9"/>
                  </a:gs>
                </a:gsLst>
                <a:lin ang="5400000"/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  <a:effectLst>
                <a:outerShdw blurRad="63500" sx="102000" sy="102000" algn="ctr" rotWithShape="0">
                  <a:srgbClr val="000000">
                    <a:alpha val="39999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nb-NO" sz="1600">
                  <a:solidFill>
                    <a:srgbClr val="FFFFFF"/>
                  </a:solidFill>
                  <a:latin typeface="Calibri" charset="0"/>
                </a:endParaRPr>
              </a:p>
            </p:txBody>
          </p:sp>
          <p:sp>
            <p:nvSpPr>
              <p:cNvPr id="59" name="Oval 290"/>
              <p:cNvSpPr/>
              <p:nvPr/>
            </p:nvSpPr>
            <p:spPr>
              <a:xfrm>
                <a:off x="5765213" y="1650145"/>
                <a:ext cx="228422" cy="228642"/>
              </a:xfrm>
              <a:prstGeom prst="ellipse">
                <a:avLst/>
              </a:prstGeom>
              <a:solidFill>
                <a:srgbClr val="F0B71F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1600"/>
              </a:p>
            </p:txBody>
          </p:sp>
        </p:grpSp>
        <p:sp>
          <p:nvSpPr>
            <p:cNvPr id="54" name="Freeform 57"/>
            <p:cNvSpPr>
              <a:spLocks/>
            </p:cNvSpPr>
            <p:nvPr/>
          </p:nvSpPr>
          <p:spPr bwMode="auto">
            <a:xfrm rot="15813706" flipH="1" flipV="1">
              <a:off x="4658809" y="3157252"/>
              <a:ext cx="255634" cy="802649"/>
            </a:xfrm>
            <a:custGeom>
              <a:avLst/>
              <a:gdLst/>
              <a:ahLst/>
              <a:cxnLst>
                <a:cxn ang="0">
                  <a:pos x="1431" y="75"/>
                </a:cxn>
                <a:cxn ang="0">
                  <a:pos x="1720" y="15"/>
                </a:cxn>
                <a:cxn ang="0">
                  <a:pos x="2010" y="0"/>
                </a:cxn>
                <a:cxn ang="0">
                  <a:pos x="2296" y="27"/>
                </a:cxn>
                <a:cxn ang="0">
                  <a:pos x="2573" y="93"/>
                </a:cxn>
                <a:cxn ang="0">
                  <a:pos x="2838" y="199"/>
                </a:cxn>
                <a:cxn ang="0">
                  <a:pos x="3086" y="341"/>
                </a:cxn>
                <a:cxn ang="0">
                  <a:pos x="3310" y="517"/>
                </a:cxn>
                <a:cxn ang="0">
                  <a:pos x="3509" y="727"/>
                </a:cxn>
                <a:cxn ang="0">
                  <a:pos x="3677" y="968"/>
                </a:cxn>
                <a:cxn ang="0">
                  <a:pos x="3811" y="1239"/>
                </a:cxn>
                <a:cxn ang="0">
                  <a:pos x="3856" y="1364"/>
                </a:cxn>
                <a:cxn ang="0">
                  <a:pos x="3893" y="1490"/>
                </a:cxn>
                <a:cxn ang="0">
                  <a:pos x="3920" y="1617"/>
                </a:cxn>
                <a:cxn ang="0">
                  <a:pos x="3940" y="1744"/>
                </a:cxn>
                <a:cxn ang="0">
                  <a:pos x="3950" y="1871"/>
                </a:cxn>
                <a:cxn ang="0">
                  <a:pos x="3953" y="1998"/>
                </a:cxn>
                <a:cxn ang="0">
                  <a:pos x="3947" y="2123"/>
                </a:cxn>
                <a:cxn ang="0">
                  <a:pos x="3933" y="2249"/>
                </a:cxn>
                <a:cxn ang="0">
                  <a:pos x="3912" y="2372"/>
                </a:cxn>
                <a:cxn ang="0">
                  <a:pos x="3882" y="2494"/>
                </a:cxn>
                <a:cxn ang="0">
                  <a:pos x="3809" y="2742"/>
                </a:cxn>
                <a:cxn ang="0">
                  <a:pos x="3693" y="3249"/>
                </a:cxn>
                <a:cxn ang="0">
                  <a:pos x="3626" y="3756"/>
                </a:cxn>
                <a:cxn ang="0">
                  <a:pos x="3605" y="4264"/>
                </a:cxn>
                <a:cxn ang="0">
                  <a:pos x="3623" y="4770"/>
                </a:cxn>
                <a:cxn ang="0">
                  <a:pos x="3675" y="5276"/>
                </a:cxn>
                <a:cxn ang="0">
                  <a:pos x="3758" y="5780"/>
                </a:cxn>
                <a:cxn ang="0">
                  <a:pos x="3864" y="6282"/>
                </a:cxn>
                <a:cxn ang="0">
                  <a:pos x="3991" y="6781"/>
                </a:cxn>
                <a:cxn ang="0">
                  <a:pos x="4130" y="7278"/>
                </a:cxn>
                <a:cxn ang="0">
                  <a:pos x="4279" y="7771"/>
                </a:cxn>
                <a:cxn ang="0">
                  <a:pos x="4318" y="7913"/>
                </a:cxn>
                <a:cxn ang="0">
                  <a:pos x="4192" y="7656"/>
                </a:cxn>
                <a:cxn ang="0">
                  <a:pos x="3944" y="7179"/>
                </a:cxn>
                <a:cxn ang="0">
                  <a:pos x="3689" y="6718"/>
                </a:cxn>
                <a:cxn ang="0">
                  <a:pos x="3382" y="6202"/>
                </a:cxn>
                <a:cxn ang="0">
                  <a:pos x="3034" y="5663"/>
                </a:cxn>
                <a:cxn ang="0">
                  <a:pos x="2648" y="5130"/>
                </a:cxn>
                <a:cxn ang="0">
                  <a:pos x="2235" y="4634"/>
                </a:cxn>
                <a:cxn ang="0">
                  <a:pos x="1800" y="4206"/>
                </a:cxn>
                <a:cxn ang="0">
                  <a:pos x="1352" y="3875"/>
                </a:cxn>
                <a:cxn ang="0">
                  <a:pos x="1117" y="3749"/>
                </a:cxn>
                <a:cxn ang="0">
                  <a:pos x="993" y="3677"/>
                </a:cxn>
                <a:cxn ang="0">
                  <a:pos x="873" y="3600"/>
                </a:cxn>
                <a:cxn ang="0">
                  <a:pos x="758" y="3514"/>
                </a:cxn>
                <a:cxn ang="0">
                  <a:pos x="648" y="3422"/>
                </a:cxn>
                <a:cxn ang="0">
                  <a:pos x="544" y="3323"/>
                </a:cxn>
                <a:cxn ang="0">
                  <a:pos x="447" y="3217"/>
                </a:cxn>
                <a:cxn ang="0">
                  <a:pos x="357" y="3103"/>
                </a:cxn>
                <a:cxn ang="0">
                  <a:pos x="276" y="2980"/>
                </a:cxn>
                <a:cxn ang="0">
                  <a:pos x="204" y="2851"/>
                </a:cxn>
                <a:cxn ang="0">
                  <a:pos x="142" y="2713"/>
                </a:cxn>
                <a:cxn ang="0">
                  <a:pos x="51" y="2425"/>
                </a:cxn>
                <a:cxn ang="0">
                  <a:pos x="6" y="2136"/>
                </a:cxn>
                <a:cxn ang="0">
                  <a:pos x="4" y="1846"/>
                </a:cxn>
                <a:cxn ang="0">
                  <a:pos x="45" y="1562"/>
                </a:cxn>
                <a:cxn ang="0">
                  <a:pos x="124" y="1289"/>
                </a:cxn>
                <a:cxn ang="0">
                  <a:pos x="243" y="1029"/>
                </a:cxn>
                <a:cxn ang="0">
                  <a:pos x="397" y="790"/>
                </a:cxn>
                <a:cxn ang="0">
                  <a:pos x="585" y="572"/>
                </a:cxn>
                <a:cxn ang="0">
                  <a:pos x="805" y="384"/>
                </a:cxn>
                <a:cxn ang="0">
                  <a:pos x="1056" y="227"/>
                </a:cxn>
              </a:cxnLst>
              <a:rect l="0" t="0" r="r" b="b"/>
              <a:pathLst>
                <a:path w="4330" h="7934">
                  <a:moveTo>
                    <a:pt x="1240" y="142"/>
                  </a:moveTo>
                  <a:lnTo>
                    <a:pt x="1335" y="106"/>
                  </a:lnTo>
                  <a:lnTo>
                    <a:pt x="1431" y="75"/>
                  </a:lnTo>
                  <a:lnTo>
                    <a:pt x="1526" y="51"/>
                  </a:lnTo>
                  <a:lnTo>
                    <a:pt x="1623" y="31"/>
                  </a:lnTo>
                  <a:lnTo>
                    <a:pt x="1720" y="15"/>
                  </a:lnTo>
                  <a:lnTo>
                    <a:pt x="1817" y="5"/>
                  </a:lnTo>
                  <a:lnTo>
                    <a:pt x="1914" y="0"/>
                  </a:lnTo>
                  <a:lnTo>
                    <a:pt x="2010" y="0"/>
                  </a:lnTo>
                  <a:lnTo>
                    <a:pt x="2106" y="4"/>
                  </a:lnTo>
                  <a:lnTo>
                    <a:pt x="2202" y="13"/>
                  </a:lnTo>
                  <a:lnTo>
                    <a:pt x="2296" y="27"/>
                  </a:lnTo>
                  <a:lnTo>
                    <a:pt x="2390" y="44"/>
                  </a:lnTo>
                  <a:lnTo>
                    <a:pt x="2483" y="66"/>
                  </a:lnTo>
                  <a:lnTo>
                    <a:pt x="2573" y="93"/>
                  </a:lnTo>
                  <a:lnTo>
                    <a:pt x="2663" y="124"/>
                  </a:lnTo>
                  <a:lnTo>
                    <a:pt x="2752" y="159"/>
                  </a:lnTo>
                  <a:lnTo>
                    <a:pt x="2838" y="199"/>
                  </a:lnTo>
                  <a:lnTo>
                    <a:pt x="2922" y="242"/>
                  </a:lnTo>
                  <a:lnTo>
                    <a:pt x="3005" y="290"/>
                  </a:lnTo>
                  <a:lnTo>
                    <a:pt x="3086" y="341"/>
                  </a:lnTo>
                  <a:lnTo>
                    <a:pt x="3163" y="396"/>
                  </a:lnTo>
                  <a:lnTo>
                    <a:pt x="3238" y="455"/>
                  </a:lnTo>
                  <a:lnTo>
                    <a:pt x="3310" y="517"/>
                  </a:lnTo>
                  <a:lnTo>
                    <a:pt x="3379" y="585"/>
                  </a:lnTo>
                  <a:lnTo>
                    <a:pt x="3446" y="654"/>
                  </a:lnTo>
                  <a:lnTo>
                    <a:pt x="3509" y="727"/>
                  </a:lnTo>
                  <a:lnTo>
                    <a:pt x="3569" y="805"/>
                  </a:lnTo>
                  <a:lnTo>
                    <a:pt x="3625" y="885"/>
                  </a:lnTo>
                  <a:lnTo>
                    <a:pt x="3677" y="968"/>
                  </a:lnTo>
                  <a:lnTo>
                    <a:pt x="3726" y="1056"/>
                  </a:lnTo>
                  <a:lnTo>
                    <a:pt x="3770" y="1146"/>
                  </a:lnTo>
                  <a:lnTo>
                    <a:pt x="3811" y="1239"/>
                  </a:lnTo>
                  <a:lnTo>
                    <a:pt x="3826" y="1280"/>
                  </a:lnTo>
                  <a:lnTo>
                    <a:pt x="3842" y="1322"/>
                  </a:lnTo>
                  <a:lnTo>
                    <a:pt x="3856" y="1364"/>
                  </a:lnTo>
                  <a:lnTo>
                    <a:pt x="3869" y="1406"/>
                  </a:lnTo>
                  <a:lnTo>
                    <a:pt x="3881" y="1448"/>
                  </a:lnTo>
                  <a:lnTo>
                    <a:pt x="3893" y="1490"/>
                  </a:lnTo>
                  <a:lnTo>
                    <a:pt x="3903" y="1533"/>
                  </a:lnTo>
                  <a:lnTo>
                    <a:pt x="3912" y="1574"/>
                  </a:lnTo>
                  <a:lnTo>
                    <a:pt x="3920" y="1617"/>
                  </a:lnTo>
                  <a:lnTo>
                    <a:pt x="3927" y="1659"/>
                  </a:lnTo>
                  <a:lnTo>
                    <a:pt x="3935" y="1702"/>
                  </a:lnTo>
                  <a:lnTo>
                    <a:pt x="3940" y="1744"/>
                  </a:lnTo>
                  <a:lnTo>
                    <a:pt x="3944" y="1787"/>
                  </a:lnTo>
                  <a:lnTo>
                    <a:pt x="3948" y="1828"/>
                  </a:lnTo>
                  <a:lnTo>
                    <a:pt x="3950" y="1871"/>
                  </a:lnTo>
                  <a:lnTo>
                    <a:pt x="3952" y="1913"/>
                  </a:lnTo>
                  <a:lnTo>
                    <a:pt x="3953" y="1956"/>
                  </a:lnTo>
                  <a:lnTo>
                    <a:pt x="3953" y="1998"/>
                  </a:lnTo>
                  <a:lnTo>
                    <a:pt x="3952" y="2040"/>
                  </a:lnTo>
                  <a:lnTo>
                    <a:pt x="3950" y="2081"/>
                  </a:lnTo>
                  <a:lnTo>
                    <a:pt x="3947" y="2123"/>
                  </a:lnTo>
                  <a:lnTo>
                    <a:pt x="3944" y="2165"/>
                  </a:lnTo>
                  <a:lnTo>
                    <a:pt x="3939" y="2207"/>
                  </a:lnTo>
                  <a:lnTo>
                    <a:pt x="3933" y="2249"/>
                  </a:lnTo>
                  <a:lnTo>
                    <a:pt x="3927" y="2290"/>
                  </a:lnTo>
                  <a:lnTo>
                    <a:pt x="3920" y="2331"/>
                  </a:lnTo>
                  <a:lnTo>
                    <a:pt x="3912" y="2372"/>
                  </a:lnTo>
                  <a:lnTo>
                    <a:pt x="3903" y="2413"/>
                  </a:lnTo>
                  <a:lnTo>
                    <a:pt x="3894" y="2453"/>
                  </a:lnTo>
                  <a:lnTo>
                    <a:pt x="3882" y="2494"/>
                  </a:lnTo>
                  <a:lnTo>
                    <a:pt x="3871" y="2533"/>
                  </a:lnTo>
                  <a:lnTo>
                    <a:pt x="3859" y="2573"/>
                  </a:lnTo>
                  <a:lnTo>
                    <a:pt x="3809" y="2742"/>
                  </a:lnTo>
                  <a:lnTo>
                    <a:pt x="3764" y="2911"/>
                  </a:lnTo>
                  <a:lnTo>
                    <a:pt x="3725" y="3080"/>
                  </a:lnTo>
                  <a:lnTo>
                    <a:pt x="3693" y="3249"/>
                  </a:lnTo>
                  <a:lnTo>
                    <a:pt x="3665" y="3418"/>
                  </a:lnTo>
                  <a:lnTo>
                    <a:pt x="3644" y="3587"/>
                  </a:lnTo>
                  <a:lnTo>
                    <a:pt x="3626" y="3756"/>
                  </a:lnTo>
                  <a:lnTo>
                    <a:pt x="3614" y="3925"/>
                  </a:lnTo>
                  <a:lnTo>
                    <a:pt x="3607" y="4095"/>
                  </a:lnTo>
                  <a:lnTo>
                    <a:pt x="3605" y="4264"/>
                  </a:lnTo>
                  <a:lnTo>
                    <a:pt x="3607" y="4432"/>
                  </a:lnTo>
                  <a:lnTo>
                    <a:pt x="3613" y="4602"/>
                  </a:lnTo>
                  <a:lnTo>
                    <a:pt x="3623" y="4770"/>
                  </a:lnTo>
                  <a:lnTo>
                    <a:pt x="3637" y="4939"/>
                  </a:lnTo>
                  <a:lnTo>
                    <a:pt x="3655" y="5108"/>
                  </a:lnTo>
                  <a:lnTo>
                    <a:pt x="3675" y="5276"/>
                  </a:lnTo>
                  <a:lnTo>
                    <a:pt x="3700" y="5444"/>
                  </a:lnTo>
                  <a:lnTo>
                    <a:pt x="3727" y="5613"/>
                  </a:lnTo>
                  <a:lnTo>
                    <a:pt x="3758" y="5780"/>
                  </a:lnTo>
                  <a:lnTo>
                    <a:pt x="3791" y="5947"/>
                  </a:lnTo>
                  <a:lnTo>
                    <a:pt x="3826" y="6115"/>
                  </a:lnTo>
                  <a:lnTo>
                    <a:pt x="3864" y="6282"/>
                  </a:lnTo>
                  <a:lnTo>
                    <a:pt x="3905" y="6448"/>
                  </a:lnTo>
                  <a:lnTo>
                    <a:pt x="3947" y="6616"/>
                  </a:lnTo>
                  <a:lnTo>
                    <a:pt x="3991" y="6781"/>
                  </a:lnTo>
                  <a:lnTo>
                    <a:pt x="4036" y="6947"/>
                  </a:lnTo>
                  <a:lnTo>
                    <a:pt x="4082" y="7113"/>
                  </a:lnTo>
                  <a:lnTo>
                    <a:pt x="4130" y="7278"/>
                  </a:lnTo>
                  <a:lnTo>
                    <a:pt x="4179" y="7442"/>
                  </a:lnTo>
                  <a:lnTo>
                    <a:pt x="4229" y="7606"/>
                  </a:lnTo>
                  <a:lnTo>
                    <a:pt x="4279" y="7771"/>
                  </a:lnTo>
                  <a:lnTo>
                    <a:pt x="4330" y="7934"/>
                  </a:lnTo>
                  <a:lnTo>
                    <a:pt x="4329" y="7933"/>
                  </a:lnTo>
                  <a:lnTo>
                    <a:pt x="4318" y="7913"/>
                  </a:lnTo>
                  <a:lnTo>
                    <a:pt x="4299" y="7873"/>
                  </a:lnTo>
                  <a:lnTo>
                    <a:pt x="4271" y="7817"/>
                  </a:lnTo>
                  <a:lnTo>
                    <a:pt x="4192" y="7656"/>
                  </a:lnTo>
                  <a:lnTo>
                    <a:pt x="4081" y="7441"/>
                  </a:lnTo>
                  <a:lnTo>
                    <a:pt x="4016" y="7316"/>
                  </a:lnTo>
                  <a:lnTo>
                    <a:pt x="3944" y="7179"/>
                  </a:lnTo>
                  <a:lnTo>
                    <a:pt x="3864" y="7033"/>
                  </a:lnTo>
                  <a:lnTo>
                    <a:pt x="3779" y="6879"/>
                  </a:lnTo>
                  <a:lnTo>
                    <a:pt x="3689" y="6718"/>
                  </a:lnTo>
                  <a:lnTo>
                    <a:pt x="3592" y="6550"/>
                  </a:lnTo>
                  <a:lnTo>
                    <a:pt x="3490" y="6378"/>
                  </a:lnTo>
                  <a:lnTo>
                    <a:pt x="3382" y="6202"/>
                  </a:lnTo>
                  <a:lnTo>
                    <a:pt x="3270" y="6024"/>
                  </a:lnTo>
                  <a:lnTo>
                    <a:pt x="3154" y="5843"/>
                  </a:lnTo>
                  <a:lnTo>
                    <a:pt x="3034" y="5663"/>
                  </a:lnTo>
                  <a:lnTo>
                    <a:pt x="2908" y="5483"/>
                  </a:lnTo>
                  <a:lnTo>
                    <a:pt x="2780" y="5305"/>
                  </a:lnTo>
                  <a:lnTo>
                    <a:pt x="2648" y="5130"/>
                  </a:lnTo>
                  <a:lnTo>
                    <a:pt x="2513" y="4960"/>
                  </a:lnTo>
                  <a:lnTo>
                    <a:pt x="2375" y="4793"/>
                  </a:lnTo>
                  <a:lnTo>
                    <a:pt x="2235" y="4634"/>
                  </a:lnTo>
                  <a:lnTo>
                    <a:pt x="2092" y="4482"/>
                  </a:lnTo>
                  <a:lnTo>
                    <a:pt x="1947" y="4339"/>
                  </a:lnTo>
                  <a:lnTo>
                    <a:pt x="1800" y="4206"/>
                  </a:lnTo>
                  <a:lnTo>
                    <a:pt x="1652" y="4083"/>
                  </a:lnTo>
                  <a:lnTo>
                    <a:pt x="1503" y="3973"/>
                  </a:lnTo>
                  <a:lnTo>
                    <a:pt x="1352" y="3875"/>
                  </a:lnTo>
                  <a:lnTo>
                    <a:pt x="1201" y="3792"/>
                  </a:lnTo>
                  <a:lnTo>
                    <a:pt x="1159" y="3771"/>
                  </a:lnTo>
                  <a:lnTo>
                    <a:pt x="1117" y="3749"/>
                  </a:lnTo>
                  <a:lnTo>
                    <a:pt x="1075" y="3725"/>
                  </a:lnTo>
                  <a:lnTo>
                    <a:pt x="1034" y="3702"/>
                  </a:lnTo>
                  <a:lnTo>
                    <a:pt x="993" y="3677"/>
                  </a:lnTo>
                  <a:lnTo>
                    <a:pt x="953" y="3652"/>
                  </a:lnTo>
                  <a:lnTo>
                    <a:pt x="912" y="3626"/>
                  </a:lnTo>
                  <a:lnTo>
                    <a:pt x="873" y="3600"/>
                  </a:lnTo>
                  <a:lnTo>
                    <a:pt x="834" y="3572"/>
                  </a:lnTo>
                  <a:lnTo>
                    <a:pt x="796" y="3544"/>
                  </a:lnTo>
                  <a:lnTo>
                    <a:pt x="758" y="3514"/>
                  </a:lnTo>
                  <a:lnTo>
                    <a:pt x="720" y="3484"/>
                  </a:lnTo>
                  <a:lnTo>
                    <a:pt x="684" y="3454"/>
                  </a:lnTo>
                  <a:lnTo>
                    <a:pt x="648" y="3422"/>
                  </a:lnTo>
                  <a:lnTo>
                    <a:pt x="612" y="3390"/>
                  </a:lnTo>
                  <a:lnTo>
                    <a:pt x="577" y="3357"/>
                  </a:lnTo>
                  <a:lnTo>
                    <a:pt x="544" y="3323"/>
                  </a:lnTo>
                  <a:lnTo>
                    <a:pt x="511" y="3288"/>
                  </a:lnTo>
                  <a:lnTo>
                    <a:pt x="479" y="3253"/>
                  </a:lnTo>
                  <a:lnTo>
                    <a:pt x="447" y="3217"/>
                  </a:lnTo>
                  <a:lnTo>
                    <a:pt x="416" y="3179"/>
                  </a:lnTo>
                  <a:lnTo>
                    <a:pt x="387" y="3142"/>
                  </a:lnTo>
                  <a:lnTo>
                    <a:pt x="357" y="3103"/>
                  </a:lnTo>
                  <a:lnTo>
                    <a:pt x="330" y="3063"/>
                  </a:lnTo>
                  <a:lnTo>
                    <a:pt x="302" y="3022"/>
                  </a:lnTo>
                  <a:lnTo>
                    <a:pt x="276" y="2980"/>
                  </a:lnTo>
                  <a:lnTo>
                    <a:pt x="251" y="2938"/>
                  </a:lnTo>
                  <a:lnTo>
                    <a:pt x="227" y="2895"/>
                  </a:lnTo>
                  <a:lnTo>
                    <a:pt x="204" y="2851"/>
                  </a:lnTo>
                  <a:lnTo>
                    <a:pt x="183" y="2806"/>
                  </a:lnTo>
                  <a:lnTo>
                    <a:pt x="162" y="2760"/>
                  </a:lnTo>
                  <a:lnTo>
                    <a:pt x="142" y="2713"/>
                  </a:lnTo>
                  <a:lnTo>
                    <a:pt x="107" y="2618"/>
                  </a:lnTo>
                  <a:lnTo>
                    <a:pt x="76" y="2522"/>
                  </a:lnTo>
                  <a:lnTo>
                    <a:pt x="51" y="2425"/>
                  </a:lnTo>
                  <a:lnTo>
                    <a:pt x="32" y="2329"/>
                  </a:lnTo>
                  <a:lnTo>
                    <a:pt x="16" y="2232"/>
                  </a:lnTo>
                  <a:lnTo>
                    <a:pt x="6" y="2136"/>
                  </a:lnTo>
                  <a:lnTo>
                    <a:pt x="1" y="2039"/>
                  </a:lnTo>
                  <a:lnTo>
                    <a:pt x="0" y="1942"/>
                  </a:lnTo>
                  <a:lnTo>
                    <a:pt x="4" y="1846"/>
                  </a:lnTo>
                  <a:lnTo>
                    <a:pt x="13" y="1751"/>
                  </a:lnTo>
                  <a:lnTo>
                    <a:pt x="26" y="1656"/>
                  </a:lnTo>
                  <a:lnTo>
                    <a:pt x="45" y="1562"/>
                  </a:lnTo>
                  <a:lnTo>
                    <a:pt x="67" y="1470"/>
                  </a:lnTo>
                  <a:lnTo>
                    <a:pt x="94" y="1378"/>
                  </a:lnTo>
                  <a:lnTo>
                    <a:pt x="124" y="1289"/>
                  </a:lnTo>
                  <a:lnTo>
                    <a:pt x="160" y="1201"/>
                  </a:lnTo>
                  <a:lnTo>
                    <a:pt x="199" y="1114"/>
                  </a:lnTo>
                  <a:lnTo>
                    <a:pt x="243" y="1029"/>
                  </a:lnTo>
                  <a:lnTo>
                    <a:pt x="290" y="947"/>
                  </a:lnTo>
                  <a:lnTo>
                    <a:pt x="341" y="867"/>
                  </a:lnTo>
                  <a:lnTo>
                    <a:pt x="397" y="790"/>
                  </a:lnTo>
                  <a:lnTo>
                    <a:pt x="455" y="714"/>
                  </a:lnTo>
                  <a:lnTo>
                    <a:pt x="518" y="642"/>
                  </a:lnTo>
                  <a:lnTo>
                    <a:pt x="585" y="572"/>
                  </a:lnTo>
                  <a:lnTo>
                    <a:pt x="655" y="506"/>
                  </a:lnTo>
                  <a:lnTo>
                    <a:pt x="728" y="443"/>
                  </a:lnTo>
                  <a:lnTo>
                    <a:pt x="805" y="384"/>
                  </a:lnTo>
                  <a:lnTo>
                    <a:pt x="886" y="328"/>
                  </a:lnTo>
                  <a:lnTo>
                    <a:pt x="969" y="274"/>
                  </a:lnTo>
                  <a:lnTo>
                    <a:pt x="1056" y="227"/>
                  </a:lnTo>
                  <a:lnTo>
                    <a:pt x="1146" y="182"/>
                  </a:lnTo>
                  <a:lnTo>
                    <a:pt x="1240" y="142"/>
                  </a:lnTo>
                  <a:close/>
                </a:path>
              </a:pathLst>
            </a:custGeom>
            <a:solidFill>
              <a:schemeClr val="bg1">
                <a:lumMod val="50000"/>
                <a:alpha val="2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nb-NO" sz="1600">
                <a:latin typeface="Calibri" charset="0"/>
              </a:endParaRPr>
            </a:p>
          </p:txBody>
        </p:sp>
        <p:grpSp>
          <p:nvGrpSpPr>
            <p:cNvPr id="55" name="Group 133"/>
            <p:cNvGrpSpPr>
              <a:grpSpLocks/>
            </p:cNvGrpSpPr>
            <p:nvPr/>
          </p:nvGrpSpPr>
          <p:grpSpPr bwMode="auto">
            <a:xfrm flipH="1">
              <a:off x="4436064" y="2500313"/>
              <a:ext cx="650367" cy="1241653"/>
              <a:chOff x="7000949" y="2143116"/>
              <a:chExt cx="999336" cy="1834351"/>
            </a:xfrm>
          </p:grpSpPr>
          <p:sp>
            <p:nvSpPr>
              <p:cNvPr id="56" name="Freeform 57"/>
              <p:cNvSpPr>
                <a:spLocks/>
              </p:cNvSpPr>
              <p:nvPr/>
            </p:nvSpPr>
            <p:spPr bwMode="auto">
              <a:xfrm>
                <a:off x="7000949" y="2143116"/>
                <a:ext cx="999336" cy="1834351"/>
              </a:xfrm>
              <a:custGeom>
                <a:avLst/>
                <a:gdLst/>
                <a:ahLst/>
                <a:cxnLst>
                  <a:cxn ang="0">
                    <a:pos x="1431" y="75"/>
                  </a:cxn>
                  <a:cxn ang="0">
                    <a:pos x="1720" y="15"/>
                  </a:cxn>
                  <a:cxn ang="0">
                    <a:pos x="2010" y="0"/>
                  </a:cxn>
                  <a:cxn ang="0">
                    <a:pos x="2296" y="27"/>
                  </a:cxn>
                  <a:cxn ang="0">
                    <a:pos x="2573" y="93"/>
                  </a:cxn>
                  <a:cxn ang="0">
                    <a:pos x="2838" y="199"/>
                  </a:cxn>
                  <a:cxn ang="0">
                    <a:pos x="3086" y="341"/>
                  </a:cxn>
                  <a:cxn ang="0">
                    <a:pos x="3310" y="517"/>
                  </a:cxn>
                  <a:cxn ang="0">
                    <a:pos x="3509" y="727"/>
                  </a:cxn>
                  <a:cxn ang="0">
                    <a:pos x="3677" y="968"/>
                  </a:cxn>
                  <a:cxn ang="0">
                    <a:pos x="3811" y="1239"/>
                  </a:cxn>
                  <a:cxn ang="0">
                    <a:pos x="3856" y="1364"/>
                  </a:cxn>
                  <a:cxn ang="0">
                    <a:pos x="3893" y="1490"/>
                  </a:cxn>
                  <a:cxn ang="0">
                    <a:pos x="3920" y="1617"/>
                  </a:cxn>
                  <a:cxn ang="0">
                    <a:pos x="3940" y="1744"/>
                  </a:cxn>
                  <a:cxn ang="0">
                    <a:pos x="3950" y="1871"/>
                  </a:cxn>
                  <a:cxn ang="0">
                    <a:pos x="3953" y="1998"/>
                  </a:cxn>
                  <a:cxn ang="0">
                    <a:pos x="3947" y="2123"/>
                  </a:cxn>
                  <a:cxn ang="0">
                    <a:pos x="3933" y="2249"/>
                  </a:cxn>
                  <a:cxn ang="0">
                    <a:pos x="3912" y="2372"/>
                  </a:cxn>
                  <a:cxn ang="0">
                    <a:pos x="3882" y="2494"/>
                  </a:cxn>
                  <a:cxn ang="0">
                    <a:pos x="3809" y="2742"/>
                  </a:cxn>
                  <a:cxn ang="0">
                    <a:pos x="3693" y="3249"/>
                  </a:cxn>
                  <a:cxn ang="0">
                    <a:pos x="3626" y="3756"/>
                  </a:cxn>
                  <a:cxn ang="0">
                    <a:pos x="3605" y="4264"/>
                  </a:cxn>
                  <a:cxn ang="0">
                    <a:pos x="3623" y="4770"/>
                  </a:cxn>
                  <a:cxn ang="0">
                    <a:pos x="3675" y="5276"/>
                  </a:cxn>
                  <a:cxn ang="0">
                    <a:pos x="3758" y="5780"/>
                  </a:cxn>
                  <a:cxn ang="0">
                    <a:pos x="3864" y="6282"/>
                  </a:cxn>
                  <a:cxn ang="0">
                    <a:pos x="3991" y="6781"/>
                  </a:cxn>
                  <a:cxn ang="0">
                    <a:pos x="4130" y="7278"/>
                  </a:cxn>
                  <a:cxn ang="0">
                    <a:pos x="4279" y="7771"/>
                  </a:cxn>
                  <a:cxn ang="0">
                    <a:pos x="4318" y="7913"/>
                  </a:cxn>
                  <a:cxn ang="0">
                    <a:pos x="4192" y="7656"/>
                  </a:cxn>
                  <a:cxn ang="0">
                    <a:pos x="3944" y="7179"/>
                  </a:cxn>
                  <a:cxn ang="0">
                    <a:pos x="3689" y="6718"/>
                  </a:cxn>
                  <a:cxn ang="0">
                    <a:pos x="3382" y="6202"/>
                  </a:cxn>
                  <a:cxn ang="0">
                    <a:pos x="3034" y="5663"/>
                  </a:cxn>
                  <a:cxn ang="0">
                    <a:pos x="2648" y="5130"/>
                  </a:cxn>
                  <a:cxn ang="0">
                    <a:pos x="2235" y="4634"/>
                  </a:cxn>
                  <a:cxn ang="0">
                    <a:pos x="1800" y="4206"/>
                  </a:cxn>
                  <a:cxn ang="0">
                    <a:pos x="1352" y="3875"/>
                  </a:cxn>
                  <a:cxn ang="0">
                    <a:pos x="1117" y="3749"/>
                  </a:cxn>
                  <a:cxn ang="0">
                    <a:pos x="993" y="3677"/>
                  </a:cxn>
                  <a:cxn ang="0">
                    <a:pos x="873" y="3600"/>
                  </a:cxn>
                  <a:cxn ang="0">
                    <a:pos x="758" y="3514"/>
                  </a:cxn>
                  <a:cxn ang="0">
                    <a:pos x="648" y="3422"/>
                  </a:cxn>
                  <a:cxn ang="0">
                    <a:pos x="544" y="3323"/>
                  </a:cxn>
                  <a:cxn ang="0">
                    <a:pos x="447" y="3217"/>
                  </a:cxn>
                  <a:cxn ang="0">
                    <a:pos x="357" y="3103"/>
                  </a:cxn>
                  <a:cxn ang="0">
                    <a:pos x="276" y="2980"/>
                  </a:cxn>
                  <a:cxn ang="0">
                    <a:pos x="204" y="2851"/>
                  </a:cxn>
                  <a:cxn ang="0">
                    <a:pos x="142" y="2713"/>
                  </a:cxn>
                  <a:cxn ang="0">
                    <a:pos x="51" y="2425"/>
                  </a:cxn>
                  <a:cxn ang="0">
                    <a:pos x="6" y="2136"/>
                  </a:cxn>
                  <a:cxn ang="0">
                    <a:pos x="4" y="1846"/>
                  </a:cxn>
                  <a:cxn ang="0">
                    <a:pos x="45" y="1562"/>
                  </a:cxn>
                  <a:cxn ang="0">
                    <a:pos x="124" y="1289"/>
                  </a:cxn>
                  <a:cxn ang="0">
                    <a:pos x="243" y="1029"/>
                  </a:cxn>
                  <a:cxn ang="0">
                    <a:pos x="397" y="790"/>
                  </a:cxn>
                  <a:cxn ang="0">
                    <a:pos x="585" y="572"/>
                  </a:cxn>
                  <a:cxn ang="0">
                    <a:pos x="805" y="384"/>
                  </a:cxn>
                  <a:cxn ang="0">
                    <a:pos x="1056" y="227"/>
                  </a:cxn>
                </a:cxnLst>
                <a:rect l="0" t="0" r="r" b="b"/>
                <a:pathLst>
                  <a:path w="4330" h="7934">
                    <a:moveTo>
                      <a:pt x="1240" y="142"/>
                    </a:moveTo>
                    <a:lnTo>
                      <a:pt x="1335" y="106"/>
                    </a:lnTo>
                    <a:lnTo>
                      <a:pt x="1431" y="75"/>
                    </a:lnTo>
                    <a:lnTo>
                      <a:pt x="1526" y="51"/>
                    </a:lnTo>
                    <a:lnTo>
                      <a:pt x="1623" y="31"/>
                    </a:lnTo>
                    <a:lnTo>
                      <a:pt x="1720" y="15"/>
                    </a:lnTo>
                    <a:lnTo>
                      <a:pt x="1817" y="5"/>
                    </a:lnTo>
                    <a:lnTo>
                      <a:pt x="1914" y="0"/>
                    </a:lnTo>
                    <a:lnTo>
                      <a:pt x="2010" y="0"/>
                    </a:lnTo>
                    <a:lnTo>
                      <a:pt x="2106" y="4"/>
                    </a:lnTo>
                    <a:lnTo>
                      <a:pt x="2202" y="13"/>
                    </a:lnTo>
                    <a:lnTo>
                      <a:pt x="2296" y="27"/>
                    </a:lnTo>
                    <a:lnTo>
                      <a:pt x="2390" y="44"/>
                    </a:lnTo>
                    <a:lnTo>
                      <a:pt x="2483" y="66"/>
                    </a:lnTo>
                    <a:lnTo>
                      <a:pt x="2573" y="93"/>
                    </a:lnTo>
                    <a:lnTo>
                      <a:pt x="2663" y="124"/>
                    </a:lnTo>
                    <a:lnTo>
                      <a:pt x="2752" y="159"/>
                    </a:lnTo>
                    <a:lnTo>
                      <a:pt x="2838" y="199"/>
                    </a:lnTo>
                    <a:lnTo>
                      <a:pt x="2922" y="242"/>
                    </a:lnTo>
                    <a:lnTo>
                      <a:pt x="3005" y="290"/>
                    </a:lnTo>
                    <a:lnTo>
                      <a:pt x="3086" y="341"/>
                    </a:lnTo>
                    <a:lnTo>
                      <a:pt x="3163" y="396"/>
                    </a:lnTo>
                    <a:lnTo>
                      <a:pt x="3238" y="455"/>
                    </a:lnTo>
                    <a:lnTo>
                      <a:pt x="3310" y="517"/>
                    </a:lnTo>
                    <a:lnTo>
                      <a:pt x="3379" y="585"/>
                    </a:lnTo>
                    <a:lnTo>
                      <a:pt x="3446" y="654"/>
                    </a:lnTo>
                    <a:lnTo>
                      <a:pt x="3509" y="727"/>
                    </a:lnTo>
                    <a:lnTo>
                      <a:pt x="3569" y="805"/>
                    </a:lnTo>
                    <a:lnTo>
                      <a:pt x="3625" y="885"/>
                    </a:lnTo>
                    <a:lnTo>
                      <a:pt x="3677" y="968"/>
                    </a:lnTo>
                    <a:lnTo>
                      <a:pt x="3726" y="1056"/>
                    </a:lnTo>
                    <a:lnTo>
                      <a:pt x="3770" y="1146"/>
                    </a:lnTo>
                    <a:lnTo>
                      <a:pt x="3811" y="1239"/>
                    </a:lnTo>
                    <a:lnTo>
                      <a:pt x="3826" y="1280"/>
                    </a:lnTo>
                    <a:lnTo>
                      <a:pt x="3842" y="1322"/>
                    </a:lnTo>
                    <a:lnTo>
                      <a:pt x="3856" y="1364"/>
                    </a:lnTo>
                    <a:lnTo>
                      <a:pt x="3869" y="1406"/>
                    </a:lnTo>
                    <a:lnTo>
                      <a:pt x="3881" y="1448"/>
                    </a:lnTo>
                    <a:lnTo>
                      <a:pt x="3893" y="1490"/>
                    </a:lnTo>
                    <a:lnTo>
                      <a:pt x="3903" y="1533"/>
                    </a:lnTo>
                    <a:lnTo>
                      <a:pt x="3912" y="1574"/>
                    </a:lnTo>
                    <a:lnTo>
                      <a:pt x="3920" y="1617"/>
                    </a:lnTo>
                    <a:lnTo>
                      <a:pt x="3927" y="1659"/>
                    </a:lnTo>
                    <a:lnTo>
                      <a:pt x="3935" y="1702"/>
                    </a:lnTo>
                    <a:lnTo>
                      <a:pt x="3940" y="1744"/>
                    </a:lnTo>
                    <a:lnTo>
                      <a:pt x="3944" y="1787"/>
                    </a:lnTo>
                    <a:lnTo>
                      <a:pt x="3948" y="1828"/>
                    </a:lnTo>
                    <a:lnTo>
                      <a:pt x="3950" y="1871"/>
                    </a:lnTo>
                    <a:lnTo>
                      <a:pt x="3952" y="1913"/>
                    </a:lnTo>
                    <a:lnTo>
                      <a:pt x="3953" y="1956"/>
                    </a:lnTo>
                    <a:lnTo>
                      <a:pt x="3953" y="1998"/>
                    </a:lnTo>
                    <a:lnTo>
                      <a:pt x="3952" y="2040"/>
                    </a:lnTo>
                    <a:lnTo>
                      <a:pt x="3950" y="2081"/>
                    </a:lnTo>
                    <a:lnTo>
                      <a:pt x="3947" y="2123"/>
                    </a:lnTo>
                    <a:lnTo>
                      <a:pt x="3944" y="2165"/>
                    </a:lnTo>
                    <a:lnTo>
                      <a:pt x="3939" y="2207"/>
                    </a:lnTo>
                    <a:lnTo>
                      <a:pt x="3933" y="2249"/>
                    </a:lnTo>
                    <a:lnTo>
                      <a:pt x="3927" y="2290"/>
                    </a:lnTo>
                    <a:lnTo>
                      <a:pt x="3920" y="2331"/>
                    </a:lnTo>
                    <a:lnTo>
                      <a:pt x="3912" y="2372"/>
                    </a:lnTo>
                    <a:lnTo>
                      <a:pt x="3903" y="2413"/>
                    </a:lnTo>
                    <a:lnTo>
                      <a:pt x="3894" y="2453"/>
                    </a:lnTo>
                    <a:lnTo>
                      <a:pt x="3882" y="2494"/>
                    </a:lnTo>
                    <a:lnTo>
                      <a:pt x="3871" y="2533"/>
                    </a:lnTo>
                    <a:lnTo>
                      <a:pt x="3859" y="2573"/>
                    </a:lnTo>
                    <a:lnTo>
                      <a:pt x="3809" y="2742"/>
                    </a:lnTo>
                    <a:lnTo>
                      <a:pt x="3764" y="2911"/>
                    </a:lnTo>
                    <a:lnTo>
                      <a:pt x="3725" y="3080"/>
                    </a:lnTo>
                    <a:lnTo>
                      <a:pt x="3693" y="3249"/>
                    </a:lnTo>
                    <a:lnTo>
                      <a:pt x="3665" y="3418"/>
                    </a:lnTo>
                    <a:lnTo>
                      <a:pt x="3644" y="3587"/>
                    </a:lnTo>
                    <a:lnTo>
                      <a:pt x="3626" y="3756"/>
                    </a:lnTo>
                    <a:lnTo>
                      <a:pt x="3614" y="3925"/>
                    </a:lnTo>
                    <a:lnTo>
                      <a:pt x="3607" y="4095"/>
                    </a:lnTo>
                    <a:lnTo>
                      <a:pt x="3605" y="4264"/>
                    </a:lnTo>
                    <a:lnTo>
                      <a:pt x="3607" y="4432"/>
                    </a:lnTo>
                    <a:lnTo>
                      <a:pt x="3613" y="4602"/>
                    </a:lnTo>
                    <a:lnTo>
                      <a:pt x="3623" y="4770"/>
                    </a:lnTo>
                    <a:lnTo>
                      <a:pt x="3637" y="4939"/>
                    </a:lnTo>
                    <a:lnTo>
                      <a:pt x="3655" y="5108"/>
                    </a:lnTo>
                    <a:lnTo>
                      <a:pt x="3675" y="5276"/>
                    </a:lnTo>
                    <a:lnTo>
                      <a:pt x="3700" y="5444"/>
                    </a:lnTo>
                    <a:lnTo>
                      <a:pt x="3727" y="5613"/>
                    </a:lnTo>
                    <a:lnTo>
                      <a:pt x="3758" y="5780"/>
                    </a:lnTo>
                    <a:lnTo>
                      <a:pt x="3791" y="5947"/>
                    </a:lnTo>
                    <a:lnTo>
                      <a:pt x="3826" y="6115"/>
                    </a:lnTo>
                    <a:lnTo>
                      <a:pt x="3864" y="6282"/>
                    </a:lnTo>
                    <a:lnTo>
                      <a:pt x="3905" y="6448"/>
                    </a:lnTo>
                    <a:lnTo>
                      <a:pt x="3947" y="6616"/>
                    </a:lnTo>
                    <a:lnTo>
                      <a:pt x="3991" y="6781"/>
                    </a:lnTo>
                    <a:lnTo>
                      <a:pt x="4036" y="6947"/>
                    </a:lnTo>
                    <a:lnTo>
                      <a:pt x="4082" y="7113"/>
                    </a:lnTo>
                    <a:lnTo>
                      <a:pt x="4130" y="7278"/>
                    </a:lnTo>
                    <a:lnTo>
                      <a:pt x="4179" y="7442"/>
                    </a:lnTo>
                    <a:lnTo>
                      <a:pt x="4229" y="7606"/>
                    </a:lnTo>
                    <a:lnTo>
                      <a:pt x="4279" y="7771"/>
                    </a:lnTo>
                    <a:lnTo>
                      <a:pt x="4330" y="7934"/>
                    </a:lnTo>
                    <a:lnTo>
                      <a:pt x="4329" y="7933"/>
                    </a:lnTo>
                    <a:lnTo>
                      <a:pt x="4318" y="7913"/>
                    </a:lnTo>
                    <a:lnTo>
                      <a:pt x="4299" y="7873"/>
                    </a:lnTo>
                    <a:lnTo>
                      <a:pt x="4271" y="7817"/>
                    </a:lnTo>
                    <a:lnTo>
                      <a:pt x="4192" y="7656"/>
                    </a:lnTo>
                    <a:lnTo>
                      <a:pt x="4081" y="7441"/>
                    </a:lnTo>
                    <a:lnTo>
                      <a:pt x="4016" y="7316"/>
                    </a:lnTo>
                    <a:lnTo>
                      <a:pt x="3944" y="7179"/>
                    </a:lnTo>
                    <a:lnTo>
                      <a:pt x="3864" y="7033"/>
                    </a:lnTo>
                    <a:lnTo>
                      <a:pt x="3779" y="6879"/>
                    </a:lnTo>
                    <a:lnTo>
                      <a:pt x="3689" y="6718"/>
                    </a:lnTo>
                    <a:lnTo>
                      <a:pt x="3592" y="6550"/>
                    </a:lnTo>
                    <a:lnTo>
                      <a:pt x="3490" y="6378"/>
                    </a:lnTo>
                    <a:lnTo>
                      <a:pt x="3382" y="6202"/>
                    </a:lnTo>
                    <a:lnTo>
                      <a:pt x="3270" y="6024"/>
                    </a:lnTo>
                    <a:lnTo>
                      <a:pt x="3154" y="5843"/>
                    </a:lnTo>
                    <a:lnTo>
                      <a:pt x="3034" y="5663"/>
                    </a:lnTo>
                    <a:lnTo>
                      <a:pt x="2908" y="5483"/>
                    </a:lnTo>
                    <a:lnTo>
                      <a:pt x="2780" y="5305"/>
                    </a:lnTo>
                    <a:lnTo>
                      <a:pt x="2648" y="5130"/>
                    </a:lnTo>
                    <a:lnTo>
                      <a:pt x="2513" y="4960"/>
                    </a:lnTo>
                    <a:lnTo>
                      <a:pt x="2375" y="4793"/>
                    </a:lnTo>
                    <a:lnTo>
                      <a:pt x="2235" y="4634"/>
                    </a:lnTo>
                    <a:lnTo>
                      <a:pt x="2092" y="4482"/>
                    </a:lnTo>
                    <a:lnTo>
                      <a:pt x="1947" y="4339"/>
                    </a:lnTo>
                    <a:lnTo>
                      <a:pt x="1800" y="4206"/>
                    </a:lnTo>
                    <a:lnTo>
                      <a:pt x="1652" y="4083"/>
                    </a:lnTo>
                    <a:lnTo>
                      <a:pt x="1503" y="3973"/>
                    </a:lnTo>
                    <a:lnTo>
                      <a:pt x="1352" y="3875"/>
                    </a:lnTo>
                    <a:lnTo>
                      <a:pt x="1201" y="3792"/>
                    </a:lnTo>
                    <a:lnTo>
                      <a:pt x="1159" y="3771"/>
                    </a:lnTo>
                    <a:lnTo>
                      <a:pt x="1117" y="3749"/>
                    </a:lnTo>
                    <a:lnTo>
                      <a:pt x="1075" y="3725"/>
                    </a:lnTo>
                    <a:lnTo>
                      <a:pt x="1034" y="3702"/>
                    </a:lnTo>
                    <a:lnTo>
                      <a:pt x="993" y="3677"/>
                    </a:lnTo>
                    <a:lnTo>
                      <a:pt x="953" y="3652"/>
                    </a:lnTo>
                    <a:lnTo>
                      <a:pt x="912" y="3626"/>
                    </a:lnTo>
                    <a:lnTo>
                      <a:pt x="873" y="3600"/>
                    </a:lnTo>
                    <a:lnTo>
                      <a:pt x="834" y="3572"/>
                    </a:lnTo>
                    <a:lnTo>
                      <a:pt x="796" y="3544"/>
                    </a:lnTo>
                    <a:lnTo>
                      <a:pt x="758" y="3514"/>
                    </a:lnTo>
                    <a:lnTo>
                      <a:pt x="720" y="3484"/>
                    </a:lnTo>
                    <a:lnTo>
                      <a:pt x="684" y="3454"/>
                    </a:lnTo>
                    <a:lnTo>
                      <a:pt x="648" y="3422"/>
                    </a:lnTo>
                    <a:lnTo>
                      <a:pt x="612" y="3390"/>
                    </a:lnTo>
                    <a:lnTo>
                      <a:pt x="577" y="3357"/>
                    </a:lnTo>
                    <a:lnTo>
                      <a:pt x="544" y="3323"/>
                    </a:lnTo>
                    <a:lnTo>
                      <a:pt x="511" y="3288"/>
                    </a:lnTo>
                    <a:lnTo>
                      <a:pt x="479" y="3253"/>
                    </a:lnTo>
                    <a:lnTo>
                      <a:pt x="447" y="3217"/>
                    </a:lnTo>
                    <a:lnTo>
                      <a:pt x="416" y="3179"/>
                    </a:lnTo>
                    <a:lnTo>
                      <a:pt x="387" y="3142"/>
                    </a:lnTo>
                    <a:lnTo>
                      <a:pt x="357" y="3103"/>
                    </a:lnTo>
                    <a:lnTo>
                      <a:pt x="330" y="3063"/>
                    </a:lnTo>
                    <a:lnTo>
                      <a:pt x="302" y="3022"/>
                    </a:lnTo>
                    <a:lnTo>
                      <a:pt x="276" y="2980"/>
                    </a:lnTo>
                    <a:lnTo>
                      <a:pt x="251" y="2938"/>
                    </a:lnTo>
                    <a:lnTo>
                      <a:pt x="227" y="2895"/>
                    </a:lnTo>
                    <a:lnTo>
                      <a:pt x="204" y="2851"/>
                    </a:lnTo>
                    <a:lnTo>
                      <a:pt x="183" y="2806"/>
                    </a:lnTo>
                    <a:lnTo>
                      <a:pt x="162" y="2760"/>
                    </a:lnTo>
                    <a:lnTo>
                      <a:pt x="142" y="2713"/>
                    </a:lnTo>
                    <a:lnTo>
                      <a:pt x="107" y="2618"/>
                    </a:lnTo>
                    <a:lnTo>
                      <a:pt x="76" y="2522"/>
                    </a:lnTo>
                    <a:lnTo>
                      <a:pt x="51" y="2425"/>
                    </a:lnTo>
                    <a:lnTo>
                      <a:pt x="32" y="2329"/>
                    </a:lnTo>
                    <a:lnTo>
                      <a:pt x="16" y="2232"/>
                    </a:lnTo>
                    <a:lnTo>
                      <a:pt x="6" y="2136"/>
                    </a:lnTo>
                    <a:lnTo>
                      <a:pt x="1" y="2039"/>
                    </a:lnTo>
                    <a:lnTo>
                      <a:pt x="0" y="1942"/>
                    </a:lnTo>
                    <a:lnTo>
                      <a:pt x="4" y="1846"/>
                    </a:lnTo>
                    <a:lnTo>
                      <a:pt x="13" y="1751"/>
                    </a:lnTo>
                    <a:lnTo>
                      <a:pt x="26" y="1656"/>
                    </a:lnTo>
                    <a:lnTo>
                      <a:pt x="45" y="1562"/>
                    </a:lnTo>
                    <a:lnTo>
                      <a:pt x="67" y="1470"/>
                    </a:lnTo>
                    <a:lnTo>
                      <a:pt x="94" y="1378"/>
                    </a:lnTo>
                    <a:lnTo>
                      <a:pt x="124" y="1289"/>
                    </a:lnTo>
                    <a:lnTo>
                      <a:pt x="160" y="1201"/>
                    </a:lnTo>
                    <a:lnTo>
                      <a:pt x="199" y="1114"/>
                    </a:lnTo>
                    <a:lnTo>
                      <a:pt x="243" y="1029"/>
                    </a:lnTo>
                    <a:lnTo>
                      <a:pt x="290" y="947"/>
                    </a:lnTo>
                    <a:lnTo>
                      <a:pt x="341" y="867"/>
                    </a:lnTo>
                    <a:lnTo>
                      <a:pt x="397" y="790"/>
                    </a:lnTo>
                    <a:lnTo>
                      <a:pt x="455" y="714"/>
                    </a:lnTo>
                    <a:lnTo>
                      <a:pt x="518" y="642"/>
                    </a:lnTo>
                    <a:lnTo>
                      <a:pt x="585" y="572"/>
                    </a:lnTo>
                    <a:lnTo>
                      <a:pt x="655" y="506"/>
                    </a:lnTo>
                    <a:lnTo>
                      <a:pt x="728" y="443"/>
                    </a:lnTo>
                    <a:lnTo>
                      <a:pt x="805" y="384"/>
                    </a:lnTo>
                    <a:lnTo>
                      <a:pt x="886" y="328"/>
                    </a:lnTo>
                    <a:lnTo>
                      <a:pt x="969" y="274"/>
                    </a:lnTo>
                    <a:lnTo>
                      <a:pt x="1056" y="227"/>
                    </a:lnTo>
                    <a:lnTo>
                      <a:pt x="1146" y="182"/>
                    </a:lnTo>
                    <a:lnTo>
                      <a:pt x="1240" y="142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ED9901">
                      <a:lumMod val="87000"/>
                    </a:srgbClr>
                  </a:gs>
                  <a:gs pos="100000">
                    <a:srgbClr val="F0B71F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1600"/>
              </a:p>
            </p:txBody>
          </p:sp>
          <p:sp>
            <p:nvSpPr>
              <p:cNvPr id="57" name="Oval 288"/>
              <p:cNvSpPr/>
              <p:nvPr/>
            </p:nvSpPr>
            <p:spPr>
              <a:xfrm flipV="1">
                <a:off x="7128300" y="2206820"/>
                <a:ext cx="687491" cy="623788"/>
              </a:xfrm>
              <a:prstGeom prst="ellipse">
                <a:avLst/>
              </a:prstGeom>
              <a:gradFill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>
                      <a:alpha val="35000"/>
                    </a:schemeClr>
                  </a:gs>
                  <a:gs pos="100000">
                    <a:schemeClr val="accent1">
                      <a:tint val="23500"/>
                      <a:satMod val="160000"/>
                      <a:alpha val="41000"/>
                    </a:schemeClr>
                  </a:gs>
                  <a:gs pos="100000">
                    <a:schemeClr val="accent1">
                      <a:tint val="23500"/>
                      <a:satMod val="160000"/>
                      <a:alpha val="0"/>
                    </a:schemeClr>
                  </a:gs>
                </a:gsLst>
                <a:lin ang="5400000" scaled="1"/>
              </a:gradFill>
              <a:ln>
                <a:noFill/>
              </a:ln>
              <a:effectLst>
                <a:outerShdw blurRad="114300" sx="104000" sy="104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nb-NO" sz="1600">
                  <a:solidFill>
                    <a:srgbClr val="FFFFFF"/>
                  </a:solidFill>
                  <a:cs typeface="Arial" charset="0"/>
                </a:endParaRPr>
              </a:p>
            </p:txBody>
          </p:sp>
        </p:grpSp>
      </p:grpSp>
      <p:sp>
        <p:nvSpPr>
          <p:cNvPr id="60" name="Rectangle 307"/>
          <p:cNvSpPr/>
          <p:nvPr/>
        </p:nvSpPr>
        <p:spPr>
          <a:xfrm>
            <a:off x="4026780" y="1184771"/>
            <a:ext cx="4793692" cy="280809"/>
          </a:xfrm>
          <a:prstGeom prst="rect">
            <a:avLst/>
          </a:prstGeom>
          <a:gradFill rotWithShape="1">
            <a:gsLst>
              <a:gs pos="0">
                <a:srgbClr val="4272AC"/>
              </a:gs>
              <a:gs pos="100000">
                <a:srgbClr val="335885"/>
              </a:gs>
            </a:gsLst>
            <a:lin ang="16200000"/>
          </a:gradFill>
          <a:ln w="9525">
            <a:noFill/>
            <a:miter lim="800000"/>
            <a:headEnd/>
            <a:tailEnd/>
          </a:ln>
          <a:effectLst>
            <a:outerShdw blurRad="63500" dist="23000" dir="5400000" rotWithShape="0">
              <a:srgbClr val="000000">
                <a:alpha val="34998"/>
              </a:srgbClr>
            </a:outerShdw>
          </a:effectLst>
          <a:scene3d>
            <a:camera prst="orthographicFront"/>
            <a:lightRig rig="threePt" dir="t"/>
          </a:scene3d>
          <a:sp3d extrusionH="190500"/>
        </p:spPr>
        <p:txBody>
          <a:bodyPr anchor="ctr"/>
          <a:lstStyle/>
          <a:p>
            <a:pPr algn="ctr"/>
            <a:r>
              <a:rPr lang="ko-KR" altLang="en-US" sz="1200" dirty="0" err="1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국가재난성</a:t>
            </a:r>
            <a:r>
              <a:rPr lang="ko-KR" altLang="en-US" sz="1200" dirty="0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 국제  </a:t>
            </a:r>
            <a:r>
              <a:rPr lang="ko-KR" altLang="en-US" sz="1200" dirty="0" err="1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감염병</a:t>
            </a:r>
            <a:r>
              <a:rPr lang="ko-KR" altLang="en-US" sz="1200" dirty="0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 발생  현황</a:t>
            </a:r>
            <a:endParaRPr lang="en-US" sz="1200" dirty="0">
              <a:solidFill>
                <a:schemeClr val="bg1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1289686" y="425943"/>
            <a:ext cx="6788598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국가재난성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24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國家災難性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24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신종감염병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대응</a:t>
            </a:r>
            <a:endParaRPr lang="en-US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pSp>
        <p:nvGrpSpPr>
          <p:cNvPr id="68" name="Group 71"/>
          <p:cNvGrpSpPr>
            <a:grpSpLocks/>
          </p:cNvGrpSpPr>
          <p:nvPr/>
        </p:nvGrpSpPr>
        <p:grpSpPr bwMode="auto">
          <a:xfrm>
            <a:off x="1060857" y="2095643"/>
            <a:ext cx="262233" cy="330669"/>
            <a:chOff x="4212399" y="2500313"/>
            <a:chExt cx="975551" cy="1435364"/>
          </a:xfrm>
        </p:grpSpPr>
        <p:grpSp>
          <p:nvGrpSpPr>
            <p:cNvPr id="69" name="Group 72"/>
            <p:cNvGrpSpPr>
              <a:grpSpLocks/>
            </p:cNvGrpSpPr>
            <p:nvPr/>
          </p:nvGrpSpPr>
          <p:grpSpPr bwMode="auto">
            <a:xfrm>
              <a:off x="4212399" y="3437110"/>
              <a:ext cx="498086" cy="498567"/>
              <a:chOff x="5627209" y="1515183"/>
              <a:chExt cx="498086" cy="498567"/>
            </a:xfrm>
          </p:grpSpPr>
          <p:sp>
            <p:nvSpPr>
              <p:cNvPr id="74" name="Oval 199"/>
              <p:cNvSpPr>
                <a:spLocks noChangeArrowheads="1"/>
              </p:cNvSpPr>
              <p:nvPr/>
            </p:nvSpPr>
            <p:spPr bwMode="auto">
              <a:xfrm>
                <a:off x="5627209" y="1515183"/>
                <a:ext cx="498086" cy="498567"/>
              </a:xfrm>
              <a:prstGeom prst="ellipse">
                <a:avLst/>
              </a:prstGeom>
              <a:gradFill rotWithShape="0">
                <a:gsLst>
                  <a:gs pos="0">
                    <a:schemeClr val="bg1"/>
                  </a:gs>
                  <a:gs pos="100000">
                    <a:srgbClr val="D9D9D9"/>
                  </a:gs>
                </a:gsLst>
                <a:lin ang="5400000"/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  <a:effectLst>
                <a:outerShdw blurRad="63500" sx="102000" sy="102000" algn="ctr" rotWithShape="0">
                  <a:srgbClr val="000000">
                    <a:alpha val="39999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nb-NO">
                  <a:solidFill>
                    <a:srgbClr val="FFFFFF"/>
                  </a:solidFill>
                  <a:latin typeface="Calibri" charset="0"/>
                </a:endParaRPr>
              </a:p>
            </p:txBody>
          </p:sp>
          <p:sp>
            <p:nvSpPr>
              <p:cNvPr id="75" name="Oval 200"/>
              <p:cNvSpPr/>
              <p:nvPr/>
            </p:nvSpPr>
            <p:spPr>
              <a:xfrm>
                <a:off x="5765213" y="1650145"/>
                <a:ext cx="228422" cy="228642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</p:grpSp>
        <p:sp>
          <p:nvSpPr>
            <p:cNvPr id="70" name="Freeform 57"/>
            <p:cNvSpPr>
              <a:spLocks/>
            </p:cNvSpPr>
            <p:nvPr/>
          </p:nvSpPr>
          <p:spPr bwMode="auto">
            <a:xfrm rot="15813706" flipH="1" flipV="1">
              <a:off x="4658809" y="3157252"/>
              <a:ext cx="255634" cy="802649"/>
            </a:xfrm>
            <a:custGeom>
              <a:avLst/>
              <a:gdLst/>
              <a:ahLst/>
              <a:cxnLst>
                <a:cxn ang="0">
                  <a:pos x="1431" y="75"/>
                </a:cxn>
                <a:cxn ang="0">
                  <a:pos x="1720" y="15"/>
                </a:cxn>
                <a:cxn ang="0">
                  <a:pos x="2010" y="0"/>
                </a:cxn>
                <a:cxn ang="0">
                  <a:pos x="2296" y="27"/>
                </a:cxn>
                <a:cxn ang="0">
                  <a:pos x="2573" y="93"/>
                </a:cxn>
                <a:cxn ang="0">
                  <a:pos x="2838" y="199"/>
                </a:cxn>
                <a:cxn ang="0">
                  <a:pos x="3086" y="341"/>
                </a:cxn>
                <a:cxn ang="0">
                  <a:pos x="3310" y="517"/>
                </a:cxn>
                <a:cxn ang="0">
                  <a:pos x="3509" y="727"/>
                </a:cxn>
                <a:cxn ang="0">
                  <a:pos x="3677" y="968"/>
                </a:cxn>
                <a:cxn ang="0">
                  <a:pos x="3811" y="1239"/>
                </a:cxn>
                <a:cxn ang="0">
                  <a:pos x="3856" y="1364"/>
                </a:cxn>
                <a:cxn ang="0">
                  <a:pos x="3893" y="1490"/>
                </a:cxn>
                <a:cxn ang="0">
                  <a:pos x="3920" y="1617"/>
                </a:cxn>
                <a:cxn ang="0">
                  <a:pos x="3940" y="1744"/>
                </a:cxn>
                <a:cxn ang="0">
                  <a:pos x="3950" y="1871"/>
                </a:cxn>
                <a:cxn ang="0">
                  <a:pos x="3953" y="1998"/>
                </a:cxn>
                <a:cxn ang="0">
                  <a:pos x="3947" y="2123"/>
                </a:cxn>
                <a:cxn ang="0">
                  <a:pos x="3933" y="2249"/>
                </a:cxn>
                <a:cxn ang="0">
                  <a:pos x="3912" y="2372"/>
                </a:cxn>
                <a:cxn ang="0">
                  <a:pos x="3882" y="2494"/>
                </a:cxn>
                <a:cxn ang="0">
                  <a:pos x="3809" y="2742"/>
                </a:cxn>
                <a:cxn ang="0">
                  <a:pos x="3693" y="3249"/>
                </a:cxn>
                <a:cxn ang="0">
                  <a:pos x="3626" y="3756"/>
                </a:cxn>
                <a:cxn ang="0">
                  <a:pos x="3605" y="4264"/>
                </a:cxn>
                <a:cxn ang="0">
                  <a:pos x="3623" y="4770"/>
                </a:cxn>
                <a:cxn ang="0">
                  <a:pos x="3675" y="5276"/>
                </a:cxn>
                <a:cxn ang="0">
                  <a:pos x="3758" y="5780"/>
                </a:cxn>
                <a:cxn ang="0">
                  <a:pos x="3864" y="6282"/>
                </a:cxn>
                <a:cxn ang="0">
                  <a:pos x="3991" y="6781"/>
                </a:cxn>
                <a:cxn ang="0">
                  <a:pos x="4130" y="7278"/>
                </a:cxn>
                <a:cxn ang="0">
                  <a:pos x="4279" y="7771"/>
                </a:cxn>
                <a:cxn ang="0">
                  <a:pos x="4318" y="7913"/>
                </a:cxn>
                <a:cxn ang="0">
                  <a:pos x="4192" y="7656"/>
                </a:cxn>
                <a:cxn ang="0">
                  <a:pos x="3944" y="7179"/>
                </a:cxn>
                <a:cxn ang="0">
                  <a:pos x="3689" y="6718"/>
                </a:cxn>
                <a:cxn ang="0">
                  <a:pos x="3382" y="6202"/>
                </a:cxn>
                <a:cxn ang="0">
                  <a:pos x="3034" y="5663"/>
                </a:cxn>
                <a:cxn ang="0">
                  <a:pos x="2648" y="5130"/>
                </a:cxn>
                <a:cxn ang="0">
                  <a:pos x="2235" y="4634"/>
                </a:cxn>
                <a:cxn ang="0">
                  <a:pos x="1800" y="4206"/>
                </a:cxn>
                <a:cxn ang="0">
                  <a:pos x="1352" y="3875"/>
                </a:cxn>
                <a:cxn ang="0">
                  <a:pos x="1117" y="3749"/>
                </a:cxn>
                <a:cxn ang="0">
                  <a:pos x="993" y="3677"/>
                </a:cxn>
                <a:cxn ang="0">
                  <a:pos x="873" y="3600"/>
                </a:cxn>
                <a:cxn ang="0">
                  <a:pos x="758" y="3514"/>
                </a:cxn>
                <a:cxn ang="0">
                  <a:pos x="648" y="3422"/>
                </a:cxn>
                <a:cxn ang="0">
                  <a:pos x="544" y="3323"/>
                </a:cxn>
                <a:cxn ang="0">
                  <a:pos x="447" y="3217"/>
                </a:cxn>
                <a:cxn ang="0">
                  <a:pos x="357" y="3103"/>
                </a:cxn>
                <a:cxn ang="0">
                  <a:pos x="276" y="2980"/>
                </a:cxn>
                <a:cxn ang="0">
                  <a:pos x="204" y="2851"/>
                </a:cxn>
                <a:cxn ang="0">
                  <a:pos x="142" y="2713"/>
                </a:cxn>
                <a:cxn ang="0">
                  <a:pos x="51" y="2425"/>
                </a:cxn>
                <a:cxn ang="0">
                  <a:pos x="6" y="2136"/>
                </a:cxn>
                <a:cxn ang="0">
                  <a:pos x="4" y="1846"/>
                </a:cxn>
                <a:cxn ang="0">
                  <a:pos x="45" y="1562"/>
                </a:cxn>
                <a:cxn ang="0">
                  <a:pos x="124" y="1289"/>
                </a:cxn>
                <a:cxn ang="0">
                  <a:pos x="243" y="1029"/>
                </a:cxn>
                <a:cxn ang="0">
                  <a:pos x="397" y="790"/>
                </a:cxn>
                <a:cxn ang="0">
                  <a:pos x="585" y="572"/>
                </a:cxn>
                <a:cxn ang="0">
                  <a:pos x="805" y="384"/>
                </a:cxn>
                <a:cxn ang="0">
                  <a:pos x="1056" y="227"/>
                </a:cxn>
              </a:cxnLst>
              <a:rect l="0" t="0" r="r" b="b"/>
              <a:pathLst>
                <a:path w="4330" h="7934">
                  <a:moveTo>
                    <a:pt x="1240" y="142"/>
                  </a:moveTo>
                  <a:lnTo>
                    <a:pt x="1335" y="106"/>
                  </a:lnTo>
                  <a:lnTo>
                    <a:pt x="1431" y="75"/>
                  </a:lnTo>
                  <a:lnTo>
                    <a:pt x="1526" y="51"/>
                  </a:lnTo>
                  <a:lnTo>
                    <a:pt x="1623" y="31"/>
                  </a:lnTo>
                  <a:lnTo>
                    <a:pt x="1720" y="15"/>
                  </a:lnTo>
                  <a:lnTo>
                    <a:pt x="1817" y="5"/>
                  </a:lnTo>
                  <a:lnTo>
                    <a:pt x="1914" y="0"/>
                  </a:lnTo>
                  <a:lnTo>
                    <a:pt x="2010" y="0"/>
                  </a:lnTo>
                  <a:lnTo>
                    <a:pt x="2106" y="4"/>
                  </a:lnTo>
                  <a:lnTo>
                    <a:pt x="2202" y="13"/>
                  </a:lnTo>
                  <a:lnTo>
                    <a:pt x="2296" y="27"/>
                  </a:lnTo>
                  <a:lnTo>
                    <a:pt x="2390" y="44"/>
                  </a:lnTo>
                  <a:lnTo>
                    <a:pt x="2483" y="66"/>
                  </a:lnTo>
                  <a:lnTo>
                    <a:pt x="2573" y="93"/>
                  </a:lnTo>
                  <a:lnTo>
                    <a:pt x="2663" y="124"/>
                  </a:lnTo>
                  <a:lnTo>
                    <a:pt x="2752" y="159"/>
                  </a:lnTo>
                  <a:lnTo>
                    <a:pt x="2838" y="199"/>
                  </a:lnTo>
                  <a:lnTo>
                    <a:pt x="2922" y="242"/>
                  </a:lnTo>
                  <a:lnTo>
                    <a:pt x="3005" y="290"/>
                  </a:lnTo>
                  <a:lnTo>
                    <a:pt x="3086" y="341"/>
                  </a:lnTo>
                  <a:lnTo>
                    <a:pt x="3163" y="396"/>
                  </a:lnTo>
                  <a:lnTo>
                    <a:pt x="3238" y="455"/>
                  </a:lnTo>
                  <a:lnTo>
                    <a:pt x="3310" y="517"/>
                  </a:lnTo>
                  <a:lnTo>
                    <a:pt x="3379" y="585"/>
                  </a:lnTo>
                  <a:lnTo>
                    <a:pt x="3446" y="654"/>
                  </a:lnTo>
                  <a:lnTo>
                    <a:pt x="3509" y="727"/>
                  </a:lnTo>
                  <a:lnTo>
                    <a:pt x="3569" y="805"/>
                  </a:lnTo>
                  <a:lnTo>
                    <a:pt x="3625" y="885"/>
                  </a:lnTo>
                  <a:lnTo>
                    <a:pt x="3677" y="968"/>
                  </a:lnTo>
                  <a:lnTo>
                    <a:pt x="3726" y="1056"/>
                  </a:lnTo>
                  <a:lnTo>
                    <a:pt x="3770" y="1146"/>
                  </a:lnTo>
                  <a:lnTo>
                    <a:pt x="3811" y="1239"/>
                  </a:lnTo>
                  <a:lnTo>
                    <a:pt x="3826" y="1280"/>
                  </a:lnTo>
                  <a:lnTo>
                    <a:pt x="3842" y="1322"/>
                  </a:lnTo>
                  <a:lnTo>
                    <a:pt x="3856" y="1364"/>
                  </a:lnTo>
                  <a:lnTo>
                    <a:pt x="3869" y="1406"/>
                  </a:lnTo>
                  <a:lnTo>
                    <a:pt x="3881" y="1448"/>
                  </a:lnTo>
                  <a:lnTo>
                    <a:pt x="3893" y="1490"/>
                  </a:lnTo>
                  <a:lnTo>
                    <a:pt x="3903" y="1533"/>
                  </a:lnTo>
                  <a:lnTo>
                    <a:pt x="3912" y="1574"/>
                  </a:lnTo>
                  <a:lnTo>
                    <a:pt x="3920" y="1617"/>
                  </a:lnTo>
                  <a:lnTo>
                    <a:pt x="3927" y="1659"/>
                  </a:lnTo>
                  <a:lnTo>
                    <a:pt x="3935" y="1702"/>
                  </a:lnTo>
                  <a:lnTo>
                    <a:pt x="3940" y="1744"/>
                  </a:lnTo>
                  <a:lnTo>
                    <a:pt x="3944" y="1787"/>
                  </a:lnTo>
                  <a:lnTo>
                    <a:pt x="3948" y="1828"/>
                  </a:lnTo>
                  <a:lnTo>
                    <a:pt x="3950" y="1871"/>
                  </a:lnTo>
                  <a:lnTo>
                    <a:pt x="3952" y="1913"/>
                  </a:lnTo>
                  <a:lnTo>
                    <a:pt x="3953" y="1956"/>
                  </a:lnTo>
                  <a:lnTo>
                    <a:pt x="3953" y="1998"/>
                  </a:lnTo>
                  <a:lnTo>
                    <a:pt x="3952" y="2040"/>
                  </a:lnTo>
                  <a:lnTo>
                    <a:pt x="3950" y="2081"/>
                  </a:lnTo>
                  <a:lnTo>
                    <a:pt x="3947" y="2123"/>
                  </a:lnTo>
                  <a:lnTo>
                    <a:pt x="3944" y="2165"/>
                  </a:lnTo>
                  <a:lnTo>
                    <a:pt x="3939" y="2207"/>
                  </a:lnTo>
                  <a:lnTo>
                    <a:pt x="3933" y="2249"/>
                  </a:lnTo>
                  <a:lnTo>
                    <a:pt x="3927" y="2290"/>
                  </a:lnTo>
                  <a:lnTo>
                    <a:pt x="3920" y="2331"/>
                  </a:lnTo>
                  <a:lnTo>
                    <a:pt x="3912" y="2372"/>
                  </a:lnTo>
                  <a:lnTo>
                    <a:pt x="3903" y="2413"/>
                  </a:lnTo>
                  <a:lnTo>
                    <a:pt x="3894" y="2453"/>
                  </a:lnTo>
                  <a:lnTo>
                    <a:pt x="3882" y="2494"/>
                  </a:lnTo>
                  <a:lnTo>
                    <a:pt x="3871" y="2533"/>
                  </a:lnTo>
                  <a:lnTo>
                    <a:pt x="3859" y="2573"/>
                  </a:lnTo>
                  <a:lnTo>
                    <a:pt x="3809" y="2742"/>
                  </a:lnTo>
                  <a:lnTo>
                    <a:pt x="3764" y="2911"/>
                  </a:lnTo>
                  <a:lnTo>
                    <a:pt x="3725" y="3080"/>
                  </a:lnTo>
                  <a:lnTo>
                    <a:pt x="3693" y="3249"/>
                  </a:lnTo>
                  <a:lnTo>
                    <a:pt x="3665" y="3418"/>
                  </a:lnTo>
                  <a:lnTo>
                    <a:pt x="3644" y="3587"/>
                  </a:lnTo>
                  <a:lnTo>
                    <a:pt x="3626" y="3756"/>
                  </a:lnTo>
                  <a:lnTo>
                    <a:pt x="3614" y="3925"/>
                  </a:lnTo>
                  <a:lnTo>
                    <a:pt x="3607" y="4095"/>
                  </a:lnTo>
                  <a:lnTo>
                    <a:pt x="3605" y="4264"/>
                  </a:lnTo>
                  <a:lnTo>
                    <a:pt x="3607" y="4432"/>
                  </a:lnTo>
                  <a:lnTo>
                    <a:pt x="3613" y="4602"/>
                  </a:lnTo>
                  <a:lnTo>
                    <a:pt x="3623" y="4770"/>
                  </a:lnTo>
                  <a:lnTo>
                    <a:pt x="3637" y="4939"/>
                  </a:lnTo>
                  <a:lnTo>
                    <a:pt x="3655" y="5108"/>
                  </a:lnTo>
                  <a:lnTo>
                    <a:pt x="3675" y="5276"/>
                  </a:lnTo>
                  <a:lnTo>
                    <a:pt x="3700" y="5444"/>
                  </a:lnTo>
                  <a:lnTo>
                    <a:pt x="3727" y="5613"/>
                  </a:lnTo>
                  <a:lnTo>
                    <a:pt x="3758" y="5780"/>
                  </a:lnTo>
                  <a:lnTo>
                    <a:pt x="3791" y="5947"/>
                  </a:lnTo>
                  <a:lnTo>
                    <a:pt x="3826" y="6115"/>
                  </a:lnTo>
                  <a:lnTo>
                    <a:pt x="3864" y="6282"/>
                  </a:lnTo>
                  <a:lnTo>
                    <a:pt x="3905" y="6448"/>
                  </a:lnTo>
                  <a:lnTo>
                    <a:pt x="3947" y="6616"/>
                  </a:lnTo>
                  <a:lnTo>
                    <a:pt x="3991" y="6781"/>
                  </a:lnTo>
                  <a:lnTo>
                    <a:pt x="4036" y="6947"/>
                  </a:lnTo>
                  <a:lnTo>
                    <a:pt x="4082" y="7113"/>
                  </a:lnTo>
                  <a:lnTo>
                    <a:pt x="4130" y="7278"/>
                  </a:lnTo>
                  <a:lnTo>
                    <a:pt x="4179" y="7442"/>
                  </a:lnTo>
                  <a:lnTo>
                    <a:pt x="4229" y="7606"/>
                  </a:lnTo>
                  <a:lnTo>
                    <a:pt x="4279" y="7771"/>
                  </a:lnTo>
                  <a:lnTo>
                    <a:pt x="4330" y="7934"/>
                  </a:lnTo>
                  <a:lnTo>
                    <a:pt x="4329" y="7933"/>
                  </a:lnTo>
                  <a:lnTo>
                    <a:pt x="4318" y="7913"/>
                  </a:lnTo>
                  <a:lnTo>
                    <a:pt x="4299" y="7873"/>
                  </a:lnTo>
                  <a:lnTo>
                    <a:pt x="4271" y="7817"/>
                  </a:lnTo>
                  <a:lnTo>
                    <a:pt x="4192" y="7656"/>
                  </a:lnTo>
                  <a:lnTo>
                    <a:pt x="4081" y="7441"/>
                  </a:lnTo>
                  <a:lnTo>
                    <a:pt x="4016" y="7316"/>
                  </a:lnTo>
                  <a:lnTo>
                    <a:pt x="3944" y="7179"/>
                  </a:lnTo>
                  <a:lnTo>
                    <a:pt x="3864" y="7033"/>
                  </a:lnTo>
                  <a:lnTo>
                    <a:pt x="3779" y="6879"/>
                  </a:lnTo>
                  <a:lnTo>
                    <a:pt x="3689" y="6718"/>
                  </a:lnTo>
                  <a:lnTo>
                    <a:pt x="3592" y="6550"/>
                  </a:lnTo>
                  <a:lnTo>
                    <a:pt x="3490" y="6378"/>
                  </a:lnTo>
                  <a:lnTo>
                    <a:pt x="3382" y="6202"/>
                  </a:lnTo>
                  <a:lnTo>
                    <a:pt x="3270" y="6024"/>
                  </a:lnTo>
                  <a:lnTo>
                    <a:pt x="3154" y="5843"/>
                  </a:lnTo>
                  <a:lnTo>
                    <a:pt x="3034" y="5663"/>
                  </a:lnTo>
                  <a:lnTo>
                    <a:pt x="2908" y="5483"/>
                  </a:lnTo>
                  <a:lnTo>
                    <a:pt x="2780" y="5305"/>
                  </a:lnTo>
                  <a:lnTo>
                    <a:pt x="2648" y="5130"/>
                  </a:lnTo>
                  <a:lnTo>
                    <a:pt x="2513" y="4960"/>
                  </a:lnTo>
                  <a:lnTo>
                    <a:pt x="2375" y="4793"/>
                  </a:lnTo>
                  <a:lnTo>
                    <a:pt x="2235" y="4634"/>
                  </a:lnTo>
                  <a:lnTo>
                    <a:pt x="2092" y="4482"/>
                  </a:lnTo>
                  <a:lnTo>
                    <a:pt x="1947" y="4339"/>
                  </a:lnTo>
                  <a:lnTo>
                    <a:pt x="1800" y="4206"/>
                  </a:lnTo>
                  <a:lnTo>
                    <a:pt x="1652" y="4083"/>
                  </a:lnTo>
                  <a:lnTo>
                    <a:pt x="1503" y="3973"/>
                  </a:lnTo>
                  <a:lnTo>
                    <a:pt x="1352" y="3875"/>
                  </a:lnTo>
                  <a:lnTo>
                    <a:pt x="1201" y="3792"/>
                  </a:lnTo>
                  <a:lnTo>
                    <a:pt x="1159" y="3771"/>
                  </a:lnTo>
                  <a:lnTo>
                    <a:pt x="1117" y="3749"/>
                  </a:lnTo>
                  <a:lnTo>
                    <a:pt x="1075" y="3725"/>
                  </a:lnTo>
                  <a:lnTo>
                    <a:pt x="1034" y="3702"/>
                  </a:lnTo>
                  <a:lnTo>
                    <a:pt x="993" y="3677"/>
                  </a:lnTo>
                  <a:lnTo>
                    <a:pt x="953" y="3652"/>
                  </a:lnTo>
                  <a:lnTo>
                    <a:pt x="912" y="3626"/>
                  </a:lnTo>
                  <a:lnTo>
                    <a:pt x="873" y="3600"/>
                  </a:lnTo>
                  <a:lnTo>
                    <a:pt x="834" y="3572"/>
                  </a:lnTo>
                  <a:lnTo>
                    <a:pt x="796" y="3544"/>
                  </a:lnTo>
                  <a:lnTo>
                    <a:pt x="758" y="3514"/>
                  </a:lnTo>
                  <a:lnTo>
                    <a:pt x="720" y="3484"/>
                  </a:lnTo>
                  <a:lnTo>
                    <a:pt x="684" y="3454"/>
                  </a:lnTo>
                  <a:lnTo>
                    <a:pt x="648" y="3422"/>
                  </a:lnTo>
                  <a:lnTo>
                    <a:pt x="612" y="3390"/>
                  </a:lnTo>
                  <a:lnTo>
                    <a:pt x="577" y="3357"/>
                  </a:lnTo>
                  <a:lnTo>
                    <a:pt x="544" y="3323"/>
                  </a:lnTo>
                  <a:lnTo>
                    <a:pt x="511" y="3288"/>
                  </a:lnTo>
                  <a:lnTo>
                    <a:pt x="479" y="3253"/>
                  </a:lnTo>
                  <a:lnTo>
                    <a:pt x="447" y="3217"/>
                  </a:lnTo>
                  <a:lnTo>
                    <a:pt x="416" y="3179"/>
                  </a:lnTo>
                  <a:lnTo>
                    <a:pt x="387" y="3142"/>
                  </a:lnTo>
                  <a:lnTo>
                    <a:pt x="357" y="3103"/>
                  </a:lnTo>
                  <a:lnTo>
                    <a:pt x="330" y="3063"/>
                  </a:lnTo>
                  <a:lnTo>
                    <a:pt x="302" y="3022"/>
                  </a:lnTo>
                  <a:lnTo>
                    <a:pt x="276" y="2980"/>
                  </a:lnTo>
                  <a:lnTo>
                    <a:pt x="251" y="2938"/>
                  </a:lnTo>
                  <a:lnTo>
                    <a:pt x="227" y="2895"/>
                  </a:lnTo>
                  <a:lnTo>
                    <a:pt x="204" y="2851"/>
                  </a:lnTo>
                  <a:lnTo>
                    <a:pt x="183" y="2806"/>
                  </a:lnTo>
                  <a:lnTo>
                    <a:pt x="162" y="2760"/>
                  </a:lnTo>
                  <a:lnTo>
                    <a:pt x="142" y="2713"/>
                  </a:lnTo>
                  <a:lnTo>
                    <a:pt x="107" y="2618"/>
                  </a:lnTo>
                  <a:lnTo>
                    <a:pt x="76" y="2522"/>
                  </a:lnTo>
                  <a:lnTo>
                    <a:pt x="51" y="2425"/>
                  </a:lnTo>
                  <a:lnTo>
                    <a:pt x="32" y="2329"/>
                  </a:lnTo>
                  <a:lnTo>
                    <a:pt x="16" y="2232"/>
                  </a:lnTo>
                  <a:lnTo>
                    <a:pt x="6" y="2136"/>
                  </a:lnTo>
                  <a:lnTo>
                    <a:pt x="1" y="2039"/>
                  </a:lnTo>
                  <a:lnTo>
                    <a:pt x="0" y="1942"/>
                  </a:lnTo>
                  <a:lnTo>
                    <a:pt x="4" y="1846"/>
                  </a:lnTo>
                  <a:lnTo>
                    <a:pt x="13" y="1751"/>
                  </a:lnTo>
                  <a:lnTo>
                    <a:pt x="26" y="1656"/>
                  </a:lnTo>
                  <a:lnTo>
                    <a:pt x="45" y="1562"/>
                  </a:lnTo>
                  <a:lnTo>
                    <a:pt x="67" y="1470"/>
                  </a:lnTo>
                  <a:lnTo>
                    <a:pt x="94" y="1378"/>
                  </a:lnTo>
                  <a:lnTo>
                    <a:pt x="124" y="1289"/>
                  </a:lnTo>
                  <a:lnTo>
                    <a:pt x="160" y="1201"/>
                  </a:lnTo>
                  <a:lnTo>
                    <a:pt x="199" y="1114"/>
                  </a:lnTo>
                  <a:lnTo>
                    <a:pt x="243" y="1029"/>
                  </a:lnTo>
                  <a:lnTo>
                    <a:pt x="290" y="947"/>
                  </a:lnTo>
                  <a:lnTo>
                    <a:pt x="341" y="867"/>
                  </a:lnTo>
                  <a:lnTo>
                    <a:pt x="397" y="790"/>
                  </a:lnTo>
                  <a:lnTo>
                    <a:pt x="455" y="714"/>
                  </a:lnTo>
                  <a:lnTo>
                    <a:pt x="518" y="642"/>
                  </a:lnTo>
                  <a:lnTo>
                    <a:pt x="585" y="572"/>
                  </a:lnTo>
                  <a:lnTo>
                    <a:pt x="655" y="506"/>
                  </a:lnTo>
                  <a:lnTo>
                    <a:pt x="728" y="443"/>
                  </a:lnTo>
                  <a:lnTo>
                    <a:pt x="805" y="384"/>
                  </a:lnTo>
                  <a:lnTo>
                    <a:pt x="886" y="328"/>
                  </a:lnTo>
                  <a:lnTo>
                    <a:pt x="969" y="274"/>
                  </a:lnTo>
                  <a:lnTo>
                    <a:pt x="1056" y="227"/>
                  </a:lnTo>
                  <a:lnTo>
                    <a:pt x="1146" y="182"/>
                  </a:lnTo>
                  <a:lnTo>
                    <a:pt x="1240" y="142"/>
                  </a:lnTo>
                  <a:close/>
                </a:path>
              </a:pathLst>
            </a:custGeom>
            <a:solidFill>
              <a:schemeClr val="bg1">
                <a:lumMod val="50000"/>
                <a:alpha val="2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nb-NO">
                <a:latin typeface="Calibri" charset="0"/>
              </a:endParaRPr>
            </a:p>
          </p:txBody>
        </p:sp>
        <p:sp>
          <p:nvSpPr>
            <p:cNvPr id="72" name="Freeform 57"/>
            <p:cNvSpPr>
              <a:spLocks/>
            </p:cNvSpPr>
            <p:nvPr/>
          </p:nvSpPr>
          <p:spPr bwMode="auto">
            <a:xfrm flipH="1">
              <a:off x="4436062" y="2500313"/>
              <a:ext cx="650368" cy="1241652"/>
            </a:xfrm>
            <a:custGeom>
              <a:avLst/>
              <a:gdLst/>
              <a:ahLst/>
              <a:cxnLst>
                <a:cxn ang="0">
                  <a:pos x="1431" y="75"/>
                </a:cxn>
                <a:cxn ang="0">
                  <a:pos x="1720" y="15"/>
                </a:cxn>
                <a:cxn ang="0">
                  <a:pos x="2010" y="0"/>
                </a:cxn>
                <a:cxn ang="0">
                  <a:pos x="2296" y="27"/>
                </a:cxn>
                <a:cxn ang="0">
                  <a:pos x="2573" y="93"/>
                </a:cxn>
                <a:cxn ang="0">
                  <a:pos x="2838" y="199"/>
                </a:cxn>
                <a:cxn ang="0">
                  <a:pos x="3086" y="341"/>
                </a:cxn>
                <a:cxn ang="0">
                  <a:pos x="3310" y="517"/>
                </a:cxn>
                <a:cxn ang="0">
                  <a:pos x="3509" y="727"/>
                </a:cxn>
                <a:cxn ang="0">
                  <a:pos x="3677" y="968"/>
                </a:cxn>
                <a:cxn ang="0">
                  <a:pos x="3811" y="1239"/>
                </a:cxn>
                <a:cxn ang="0">
                  <a:pos x="3856" y="1364"/>
                </a:cxn>
                <a:cxn ang="0">
                  <a:pos x="3893" y="1490"/>
                </a:cxn>
                <a:cxn ang="0">
                  <a:pos x="3920" y="1617"/>
                </a:cxn>
                <a:cxn ang="0">
                  <a:pos x="3940" y="1744"/>
                </a:cxn>
                <a:cxn ang="0">
                  <a:pos x="3950" y="1871"/>
                </a:cxn>
                <a:cxn ang="0">
                  <a:pos x="3953" y="1998"/>
                </a:cxn>
                <a:cxn ang="0">
                  <a:pos x="3947" y="2123"/>
                </a:cxn>
                <a:cxn ang="0">
                  <a:pos x="3933" y="2249"/>
                </a:cxn>
                <a:cxn ang="0">
                  <a:pos x="3912" y="2372"/>
                </a:cxn>
                <a:cxn ang="0">
                  <a:pos x="3882" y="2494"/>
                </a:cxn>
                <a:cxn ang="0">
                  <a:pos x="3809" y="2742"/>
                </a:cxn>
                <a:cxn ang="0">
                  <a:pos x="3693" y="3249"/>
                </a:cxn>
                <a:cxn ang="0">
                  <a:pos x="3626" y="3756"/>
                </a:cxn>
                <a:cxn ang="0">
                  <a:pos x="3605" y="4264"/>
                </a:cxn>
                <a:cxn ang="0">
                  <a:pos x="3623" y="4770"/>
                </a:cxn>
                <a:cxn ang="0">
                  <a:pos x="3675" y="5276"/>
                </a:cxn>
                <a:cxn ang="0">
                  <a:pos x="3758" y="5780"/>
                </a:cxn>
                <a:cxn ang="0">
                  <a:pos x="3864" y="6282"/>
                </a:cxn>
                <a:cxn ang="0">
                  <a:pos x="3991" y="6781"/>
                </a:cxn>
                <a:cxn ang="0">
                  <a:pos x="4130" y="7278"/>
                </a:cxn>
                <a:cxn ang="0">
                  <a:pos x="4279" y="7771"/>
                </a:cxn>
                <a:cxn ang="0">
                  <a:pos x="4318" y="7913"/>
                </a:cxn>
                <a:cxn ang="0">
                  <a:pos x="4192" y="7656"/>
                </a:cxn>
                <a:cxn ang="0">
                  <a:pos x="3944" y="7179"/>
                </a:cxn>
                <a:cxn ang="0">
                  <a:pos x="3689" y="6718"/>
                </a:cxn>
                <a:cxn ang="0">
                  <a:pos x="3382" y="6202"/>
                </a:cxn>
                <a:cxn ang="0">
                  <a:pos x="3034" y="5663"/>
                </a:cxn>
                <a:cxn ang="0">
                  <a:pos x="2648" y="5130"/>
                </a:cxn>
                <a:cxn ang="0">
                  <a:pos x="2235" y="4634"/>
                </a:cxn>
                <a:cxn ang="0">
                  <a:pos x="1800" y="4206"/>
                </a:cxn>
                <a:cxn ang="0">
                  <a:pos x="1352" y="3875"/>
                </a:cxn>
                <a:cxn ang="0">
                  <a:pos x="1117" y="3749"/>
                </a:cxn>
                <a:cxn ang="0">
                  <a:pos x="993" y="3677"/>
                </a:cxn>
                <a:cxn ang="0">
                  <a:pos x="873" y="3600"/>
                </a:cxn>
                <a:cxn ang="0">
                  <a:pos x="758" y="3514"/>
                </a:cxn>
                <a:cxn ang="0">
                  <a:pos x="648" y="3422"/>
                </a:cxn>
                <a:cxn ang="0">
                  <a:pos x="544" y="3323"/>
                </a:cxn>
                <a:cxn ang="0">
                  <a:pos x="447" y="3217"/>
                </a:cxn>
                <a:cxn ang="0">
                  <a:pos x="357" y="3103"/>
                </a:cxn>
                <a:cxn ang="0">
                  <a:pos x="276" y="2980"/>
                </a:cxn>
                <a:cxn ang="0">
                  <a:pos x="204" y="2851"/>
                </a:cxn>
                <a:cxn ang="0">
                  <a:pos x="142" y="2713"/>
                </a:cxn>
                <a:cxn ang="0">
                  <a:pos x="51" y="2425"/>
                </a:cxn>
                <a:cxn ang="0">
                  <a:pos x="6" y="2136"/>
                </a:cxn>
                <a:cxn ang="0">
                  <a:pos x="4" y="1846"/>
                </a:cxn>
                <a:cxn ang="0">
                  <a:pos x="45" y="1562"/>
                </a:cxn>
                <a:cxn ang="0">
                  <a:pos x="124" y="1289"/>
                </a:cxn>
                <a:cxn ang="0">
                  <a:pos x="243" y="1029"/>
                </a:cxn>
                <a:cxn ang="0">
                  <a:pos x="397" y="790"/>
                </a:cxn>
                <a:cxn ang="0">
                  <a:pos x="585" y="572"/>
                </a:cxn>
                <a:cxn ang="0">
                  <a:pos x="805" y="384"/>
                </a:cxn>
                <a:cxn ang="0">
                  <a:pos x="1056" y="227"/>
                </a:cxn>
              </a:cxnLst>
              <a:rect l="0" t="0" r="r" b="b"/>
              <a:pathLst>
                <a:path w="4330" h="7934">
                  <a:moveTo>
                    <a:pt x="1240" y="142"/>
                  </a:moveTo>
                  <a:lnTo>
                    <a:pt x="1335" y="106"/>
                  </a:lnTo>
                  <a:lnTo>
                    <a:pt x="1431" y="75"/>
                  </a:lnTo>
                  <a:lnTo>
                    <a:pt x="1526" y="51"/>
                  </a:lnTo>
                  <a:lnTo>
                    <a:pt x="1623" y="31"/>
                  </a:lnTo>
                  <a:lnTo>
                    <a:pt x="1720" y="15"/>
                  </a:lnTo>
                  <a:lnTo>
                    <a:pt x="1817" y="5"/>
                  </a:lnTo>
                  <a:lnTo>
                    <a:pt x="1914" y="0"/>
                  </a:lnTo>
                  <a:lnTo>
                    <a:pt x="2010" y="0"/>
                  </a:lnTo>
                  <a:lnTo>
                    <a:pt x="2106" y="4"/>
                  </a:lnTo>
                  <a:lnTo>
                    <a:pt x="2202" y="13"/>
                  </a:lnTo>
                  <a:lnTo>
                    <a:pt x="2296" y="27"/>
                  </a:lnTo>
                  <a:lnTo>
                    <a:pt x="2390" y="44"/>
                  </a:lnTo>
                  <a:lnTo>
                    <a:pt x="2483" y="66"/>
                  </a:lnTo>
                  <a:lnTo>
                    <a:pt x="2573" y="93"/>
                  </a:lnTo>
                  <a:lnTo>
                    <a:pt x="2663" y="124"/>
                  </a:lnTo>
                  <a:lnTo>
                    <a:pt x="2752" y="159"/>
                  </a:lnTo>
                  <a:lnTo>
                    <a:pt x="2838" y="199"/>
                  </a:lnTo>
                  <a:lnTo>
                    <a:pt x="2922" y="242"/>
                  </a:lnTo>
                  <a:lnTo>
                    <a:pt x="3005" y="290"/>
                  </a:lnTo>
                  <a:lnTo>
                    <a:pt x="3086" y="341"/>
                  </a:lnTo>
                  <a:lnTo>
                    <a:pt x="3163" y="396"/>
                  </a:lnTo>
                  <a:lnTo>
                    <a:pt x="3238" y="455"/>
                  </a:lnTo>
                  <a:lnTo>
                    <a:pt x="3310" y="517"/>
                  </a:lnTo>
                  <a:lnTo>
                    <a:pt x="3379" y="585"/>
                  </a:lnTo>
                  <a:lnTo>
                    <a:pt x="3446" y="654"/>
                  </a:lnTo>
                  <a:lnTo>
                    <a:pt x="3509" y="727"/>
                  </a:lnTo>
                  <a:lnTo>
                    <a:pt x="3569" y="805"/>
                  </a:lnTo>
                  <a:lnTo>
                    <a:pt x="3625" y="885"/>
                  </a:lnTo>
                  <a:lnTo>
                    <a:pt x="3677" y="968"/>
                  </a:lnTo>
                  <a:lnTo>
                    <a:pt x="3726" y="1056"/>
                  </a:lnTo>
                  <a:lnTo>
                    <a:pt x="3770" y="1146"/>
                  </a:lnTo>
                  <a:lnTo>
                    <a:pt x="3811" y="1239"/>
                  </a:lnTo>
                  <a:lnTo>
                    <a:pt x="3826" y="1280"/>
                  </a:lnTo>
                  <a:lnTo>
                    <a:pt x="3842" y="1322"/>
                  </a:lnTo>
                  <a:lnTo>
                    <a:pt x="3856" y="1364"/>
                  </a:lnTo>
                  <a:lnTo>
                    <a:pt x="3869" y="1406"/>
                  </a:lnTo>
                  <a:lnTo>
                    <a:pt x="3881" y="1448"/>
                  </a:lnTo>
                  <a:lnTo>
                    <a:pt x="3893" y="1490"/>
                  </a:lnTo>
                  <a:lnTo>
                    <a:pt x="3903" y="1533"/>
                  </a:lnTo>
                  <a:lnTo>
                    <a:pt x="3912" y="1574"/>
                  </a:lnTo>
                  <a:lnTo>
                    <a:pt x="3920" y="1617"/>
                  </a:lnTo>
                  <a:lnTo>
                    <a:pt x="3927" y="1659"/>
                  </a:lnTo>
                  <a:lnTo>
                    <a:pt x="3935" y="1702"/>
                  </a:lnTo>
                  <a:lnTo>
                    <a:pt x="3940" y="1744"/>
                  </a:lnTo>
                  <a:lnTo>
                    <a:pt x="3944" y="1787"/>
                  </a:lnTo>
                  <a:lnTo>
                    <a:pt x="3948" y="1828"/>
                  </a:lnTo>
                  <a:lnTo>
                    <a:pt x="3950" y="1871"/>
                  </a:lnTo>
                  <a:lnTo>
                    <a:pt x="3952" y="1913"/>
                  </a:lnTo>
                  <a:lnTo>
                    <a:pt x="3953" y="1956"/>
                  </a:lnTo>
                  <a:lnTo>
                    <a:pt x="3953" y="1998"/>
                  </a:lnTo>
                  <a:lnTo>
                    <a:pt x="3952" y="2040"/>
                  </a:lnTo>
                  <a:lnTo>
                    <a:pt x="3950" y="2081"/>
                  </a:lnTo>
                  <a:lnTo>
                    <a:pt x="3947" y="2123"/>
                  </a:lnTo>
                  <a:lnTo>
                    <a:pt x="3944" y="2165"/>
                  </a:lnTo>
                  <a:lnTo>
                    <a:pt x="3939" y="2207"/>
                  </a:lnTo>
                  <a:lnTo>
                    <a:pt x="3933" y="2249"/>
                  </a:lnTo>
                  <a:lnTo>
                    <a:pt x="3927" y="2290"/>
                  </a:lnTo>
                  <a:lnTo>
                    <a:pt x="3920" y="2331"/>
                  </a:lnTo>
                  <a:lnTo>
                    <a:pt x="3912" y="2372"/>
                  </a:lnTo>
                  <a:lnTo>
                    <a:pt x="3903" y="2413"/>
                  </a:lnTo>
                  <a:lnTo>
                    <a:pt x="3894" y="2453"/>
                  </a:lnTo>
                  <a:lnTo>
                    <a:pt x="3882" y="2494"/>
                  </a:lnTo>
                  <a:lnTo>
                    <a:pt x="3871" y="2533"/>
                  </a:lnTo>
                  <a:lnTo>
                    <a:pt x="3859" y="2573"/>
                  </a:lnTo>
                  <a:lnTo>
                    <a:pt x="3809" y="2742"/>
                  </a:lnTo>
                  <a:lnTo>
                    <a:pt x="3764" y="2911"/>
                  </a:lnTo>
                  <a:lnTo>
                    <a:pt x="3725" y="3080"/>
                  </a:lnTo>
                  <a:lnTo>
                    <a:pt x="3693" y="3249"/>
                  </a:lnTo>
                  <a:lnTo>
                    <a:pt x="3665" y="3418"/>
                  </a:lnTo>
                  <a:lnTo>
                    <a:pt x="3644" y="3587"/>
                  </a:lnTo>
                  <a:lnTo>
                    <a:pt x="3626" y="3756"/>
                  </a:lnTo>
                  <a:lnTo>
                    <a:pt x="3614" y="3925"/>
                  </a:lnTo>
                  <a:lnTo>
                    <a:pt x="3607" y="4095"/>
                  </a:lnTo>
                  <a:lnTo>
                    <a:pt x="3605" y="4264"/>
                  </a:lnTo>
                  <a:lnTo>
                    <a:pt x="3607" y="4432"/>
                  </a:lnTo>
                  <a:lnTo>
                    <a:pt x="3613" y="4602"/>
                  </a:lnTo>
                  <a:lnTo>
                    <a:pt x="3623" y="4770"/>
                  </a:lnTo>
                  <a:lnTo>
                    <a:pt x="3637" y="4939"/>
                  </a:lnTo>
                  <a:lnTo>
                    <a:pt x="3655" y="5108"/>
                  </a:lnTo>
                  <a:lnTo>
                    <a:pt x="3675" y="5276"/>
                  </a:lnTo>
                  <a:lnTo>
                    <a:pt x="3700" y="5444"/>
                  </a:lnTo>
                  <a:lnTo>
                    <a:pt x="3727" y="5613"/>
                  </a:lnTo>
                  <a:lnTo>
                    <a:pt x="3758" y="5780"/>
                  </a:lnTo>
                  <a:lnTo>
                    <a:pt x="3791" y="5947"/>
                  </a:lnTo>
                  <a:lnTo>
                    <a:pt x="3826" y="6115"/>
                  </a:lnTo>
                  <a:lnTo>
                    <a:pt x="3864" y="6282"/>
                  </a:lnTo>
                  <a:lnTo>
                    <a:pt x="3905" y="6448"/>
                  </a:lnTo>
                  <a:lnTo>
                    <a:pt x="3947" y="6616"/>
                  </a:lnTo>
                  <a:lnTo>
                    <a:pt x="3991" y="6781"/>
                  </a:lnTo>
                  <a:lnTo>
                    <a:pt x="4036" y="6947"/>
                  </a:lnTo>
                  <a:lnTo>
                    <a:pt x="4082" y="7113"/>
                  </a:lnTo>
                  <a:lnTo>
                    <a:pt x="4130" y="7278"/>
                  </a:lnTo>
                  <a:lnTo>
                    <a:pt x="4179" y="7442"/>
                  </a:lnTo>
                  <a:lnTo>
                    <a:pt x="4229" y="7606"/>
                  </a:lnTo>
                  <a:lnTo>
                    <a:pt x="4279" y="7771"/>
                  </a:lnTo>
                  <a:lnTo>
                    <a:pt x="4330" y="7934"/>
                  </a:lnTo>
                  <a:lnTo>
                    <a:pt x="4329" y="7933"/>
                  </a:lnTo>
                  <a:lnTo>
                    <a:pt x="4318" y="7913"/>
                  </a:lnTo>
                  <a:lnTo>
                    <a:pt x="4299" y="7873"/>
                  </a:lnTo>
                  <a:lnTo>
                    <a:pt x="4271" y="7817"/>
                  </a:lnTo>
                  <a:lnTo>
                    <a:pt x="4192" y="7656"/>
                  </a:lnTo>
                  <a:lnTo>
                    <a:pt x="4081" y="7441"/>
                  </a:lnTo>
                  <a:lnTo>
                    <a:pt x="4016" y="7316"/>
                  </a:lnTo>
                  <a:lnTo>
                    <a:pt x="3944" y="7179"/>
                  </a:lnTo>
                  <a:lnTo>
                    <a:pt x="3864" y="7033"/>
                  </a:lnTo>
                  <a:lnTo>
                    <a:pt x="3779" y="6879"/>
                  </a:lnTo>
                  <a:lnTo>
                    <a:pt x="3689" y="6718"/>
                  </a:lnTo>
                  <a:lnTo>
                    <a:pt x="3592" y="6550"/>
                  </a:lnTo>
                  <a:lnTo>
                    <a:pt x="3490" y="6378"/>
                  </a:lnTo>
                  <a:lnTo>
                    <a:pt x="3382" y="6202"/>
                  </a:lnTo>
                  <a:lnTo>
                    <a:pt x="3270" y="6024"/>
                  </a:lnTo>
                  <a:lnTo>
                    <a:pt x="3154" y="5843"/>
                  </a:lnTo>
                  <a:lnTo>
                    <a:pt x="3034" y="5663"/>
                  </a:lnTo>
                  <a:lnTo>
                    <a:pt x="2908" y="5483"/>
                  </a:lnTo>
                  <a:lnTo>
                    <a:pt x="2780" y="5305"/>
                  </a:lnTo>
                  <a:lnTo>
                    <a:pt x="2648" y="5130"/>
                  </a:lnTo>
                  <a:lnTo>
                    <a:pt x="2513" y="4960"/>
                  </a:lnTo>
                  <a:lnTo>
                    <a:pt x="2375" y="4793"/>
                  </a:lnTo>
                  <a:lnTo>
                    <a:pt x="2235" y="4634"/>
                  </a:lnTo>
                  <a:lnTo>
                    <a:pt x="2092" y="4482"/>
                  </a:lnTo>
                  <a:lnTo>
                    <a:pt x="1947" y="4339"/>
                  </a:lnTo>
                  <a:lnTo>
                    <a:pt x="1800" y="4206"/>
                  </a:lnTo>
                  <a:lnTo>
                    <a:pt x="1652" y="4083"/>
                  </a:lnTo>
                  <a:lnTo>
                    <a:pt x="1503" y="3973"/>
                  </a:lnTo>
                  <a:lnTo>
                    <a:pt x="1352" y="3875"/>
                  </a:lnTo>
                  <a:lnTo>
                    <a:pt x="1201" y="3792"/>
                  </a:lnTo>
                  <a:lnTo>
                    <a:pt x="1159" y="3771"/>
                  </a:lnTo>
                  <a:lnTo>
                    <a:pt x="1117" y="3749"/>
                  </a:lnTo>
                  <a:lnTo>
                    <a:pt x="1075" y="3725"/>
                  </a:lnTo>
                  <a:lnTo>
                    <a:pt x="1034" y="3702"/>
                  </a:lnTo>
                  <a:lnTo>
                    <a:pt x="993" y="3677"/>
                  </a:lnTo>
                  <a:lnTo>
                    <a:pt x="953" y="3652"/>
                  </a:lnTo>
                  <a:lnTo>
                    <a:pt x="912" y="3626"/>
                  </a:lnTo>
                  <a:lnTo>
                    <a:pt x="873" y="3600"/>
                  </a:lnTo>
                  <a:lnTo>
                    <a:pt x="834" y="3572"/>
                  </a:lnTo>
                  <a:lnTo>
                    <a:pt x="796" y="3544"/>
                  </a:lnTo>
                  <a:lnTo>
                    <a:pt x="758" y="3514"/>
                  </a:lnTo>
                  <a:lnTo>
                    <a:pt x="720" y="3484"/>
                  </a:lnTo>
                  <a:lnTo>
                    <a:pt x="684" y="3454"/>
                  </a:lnTo>
                  <a:lnTo>
                    <a:pt x="648" y="3422"/>
                  </a:lnTo>
                  <a:lnTo>
                    <a:pt x="612" y="3390"/>
                  </a:lnTo>
                  <a:lnTo>
                    <a:pt x="577" y="3357"/>
                  </a:lnTo>
                  <a:lnTo>
                    <a:pt x="544" y="3323"/>
                  </a:lnTo>
                  <a:lnTo>
                    <a:pt x="511" y="3288"/>
                  </a:lnTo>
                  <a:lnTo>
                    <a:pt x="479" y="3253"/>
                  </a:lnTo>
                  <a:lnTo>
                    <a:pt x="447" y="3217"/>
                  </a:lnTo>
                  <a:lnTo>
                    <a:pt x="416" y="3179"/>
                  </a:lnTo>
                  <a:lnTo>
                    <a:pt x="387" y="3142"/>
                  </a:lnTo>
                  <a:lnTo>
                    <a:pt x="357" y="3103"/>
                  </a:lnTo>
                  <a:lnTo>
                    <a:pt x="330" y="3063"/>
                  </a:lnTo>
                  <a:lnTo>
                    <a:pt x="302" y="3022"/>
                  </a:lnTo>
                  <a:lnTo>
                    <a:pt x="276" y="2980"/>
                  </a:lnTo>
                  <a:lnTo>
                    <a:pt x="251" y="2938"/>
                  </a:lnTo>
                  <a:lnTo>
                    <a:pt x="227" y="2895"/>
                  </a:lnTo>
                  <a:lnTo>
                    <a:pt x="204" y="2851"/>
                  </a:lnTo>
                  <a:lnTo>
                    <a:pt x="183" y="2806"/>
                  </a:lnTo>
                  <a:lnTo>
                    <a:pt x="162" y="2760"/>
                  </a:lnTo>
                  <a:lnTo>
                    <a:pt x="142" y="2713"/>
                  </a:lnTo>
                  <a:lnTo>
                    <a:pt x="107" y="2618"/>
                  </a:lnTo>
                  <a:lnTo>
                    <a:pt x="76" y="2522"/>
                  </a:lnTo>
                  <a:lnTo>
                    <a:pt x="51" y="2425"/>
                  </a:lnTo>
                  <a:lnTo>
                    <a:pt x="32" y="2329"/>
                  </a:lnTo>
                  <a:lnTo>
                    <a:pt x="16" y="2232"/>
                  </a:lnTo>
                  <a:lnTo>
                    <a:pt x="6" y="2136"/>
                  </a:lnTo>
                  <a:lnTo>
                    <a:pt x="1" y="2039"/>
                  </a:lnTo>
                  <a:lnTo>
                    <a:pt x="0" y="1942"/>
                  </a:lnTo>
                  <a:lnTo>
                    <a:pt x="4" y="1846"/>
                  </a:lnTo>
                  <a:lnTo>
                    <a:pt x="13" y="1751"/>
                  </a:lnTo>
                  <a:lnTo>
                    <a:pt x="26" y="1656"/>
                  </a:lnTo>
                  <a:lnTo>
                    <a:pt x="45" y="1562"/>
                  </a:lnTo>
                  <a:lnTo>
                    <a:pt x="67" y="1470"/>
                  </a:lnTo>
                  <a:lnTo>
                    <a:pt x="94" y="1378"/>
                  </a:lnTo>
                  <a:lnTo>
                    <a:pt x="124" y="1289"/>
                  </a:lnTo>
                  <a:lnTo>
                    <a:pt x="160" y="1201"/>
                  </a:lnTo>
                  <a:lnTo>
                    <a:pt x="199" y="1114"/>
                  </a:lnTo>
                  <a:lnTo>
                    <a:pt x="243" y="1029"/>
                  </a:lnTo>
                  <a:lnTo>
                    <a:pt x="290" y="947"/>
                  </a:lnTo>
                  <a:lnTo>
                    <a:pt x="341" y="867"/>
                  </a:lnTo>
                  <a:lnTo>
                    <a:pt x="397" y="790"/>
                  </a:lnTo>
                  <a:lnTo>
                    <a:pt x="455" y="714"/>
                  </a:lnTo>
                  <a:lnTo>
                    <a:pt x="518" y="642"/>
                  </a:lnTo>
                  <a:lnTo>
                    <a:pt x="585" y="572"/>
                  </a:lnTo>
                  <a:lnTo>
                    <a:pt x="655" y="506"/>
                  </a:lnTo>
                  <a:lnTo>
                    <a:pt x="728" y="443"/>
                  </a:lnTo>
                  <a:lnTo>
                    <a:pt x="805" y="384"/>
                  </a:lnTo>
                  <a:lnTo>
                    <a:pt x="886" y="328"/>
                  </a:lnTo>
                  <a:lnTo>
                    <a:pt x="969" y="274"/>
                  </a:lnTo>
                  <a:lnTo>
                    <a:pt x="1056" y="227"/>
                  </a:lnTo>
                  <a:lnTo>
                    <a:pt x="1146" y="182"/>
                  </a:lnTo>
                  <a:lnTo>
                    <a:pt x="1240" y="142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</p:grpSp>
      <p:sp>
        <p:nvSpPr>
          <p:cNvPr id="94" name="TextBox 93"/>
          <p:cNvSpPr txBox="1"/>
          <p:nvPr>
            <p:custDataLst>
              <p:tags r:id="rId3"/>
            </p:custDataLst>
          </p:nvPr>
        </p:nvSpPr>
        <p:spPr>
          <a:xfrm>
            <a:off x="4634645" y="2482674"/>
            <a:ext cx="38650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중동호흡기증후군</a:t>
            </a:r>
            <a:r>
              <a:rPr lang="en-US" altLang="ko-KR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(2012) 853</a:t>
            </a: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명 감염</a:t>
            </a:r>
            <a:r>
              <a:rPr lang="en-US" altLang="ko-KR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330</a:t>
            </a: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명 사망</a:t>
            </a:r>
            <a:endParaRPr lang="en-US" sz="12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pSp>
        <p:nvGrpSpPr>
          <p:cNvPr id="96" name="Group 71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4221003" y="2022120"/>
            <a:ext cx="228117" cy="224394"/>
            <a:chOff x="4212399" y="2500313"/>
            <a:chExt cx="975551" cy="1435364"/>
          </a:xfrm>
        </p:grpSpPr>
        <p:grpSp>
          <p:nvGrpSpPr>
            <p:cNvPr id="98" name="Group 72"/>
            <p:cNvGrpSpPr>
              <a:grpSpLocks/>
            </p:cNvGrpSpPr>
            <p:nvPr/>
          </p:nvGrpSpPr>
          <p:grpSpPr bwMode="auto">
            <a:xfrm>
              <a:off x="4212399" y="3437110"/>
              <a:ext cx="498086" cy="498567"/>
              <a:chOff x="5627209" y="1515183"/>
              <a:chExt cx="498086" cy="498567"/>
            </a:xfrm>
          </p:grpSpPr>
          <p:sp>
            <p:nvSpPr>
              <p:cNvPr id="101" name="Oval 273"/>
              <p:cNvSpPr>
                <a:spLocks noChangeArrowheads="1"/>
              </p:cNvSpPr>
              <p:nvPr/>
            </p:nvSpPr>
            <p:spPr bwMode="auto">
              <a:xfrm>
                <a:off x="5627209" y="1515183"/>
                <a:ext cx="498086" cy="498567"/>
              </a:xfrm>
              <a:prstGeom prst="ellipse">
                <a:avLst/>
              </a:prstGeom>
              <a:gradFill rotWithShape="0">
                <a:gsLst>
                  <a:gs pos="0">
                    <a:schemeClr val="bg1"/>
                  </a:gs>
                  <a:gs pos="100000">
                    <a:srgbClr val="D9D9D9"/>
                  </a:gs>
                </a:gsLst>
                <a:lin ang="5400000"/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  <a:effectLst>
                <a:outerShdw blurRad="63500" sx="102000" sy="102000" algn="ctr" rotWithShape="0">
                  <a:srgbClr val="000000">
                    <a:alpha val="39999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nb-NO" sz="1600">
                  <a:solidFill>
                    <a:srgbClr val="FFFFFF"/>
                  </a:solidFill>
                  <a:latin typeface="Calibri" charset="0"/>
                </a:endParaRPr>
              </a:p>
            </p:txBody>
          </p:sp>
          <p:sp>
            <p:nvSpPr>
              <p:cNvPr id="102" name="Oval 274"/>
              <p:cNvSpPr/>
              <p:nvPr/>
            </p:nvSpPr>
            <p:spPr>
              <a:xfrm>
                <a:off x="5765213" y="1650145"/>
                <a:ext cx="228422" cy="228642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1600"/>
              </a:p>
            </p:txBody>
          </p:sp>
        </p:grpSp>
        <p:sp>
          <p:nvSpPr>
            <p:cNvPr id="99" name="Freeform 57"/>
            <p:cNvSpPr>
              <a:spLocks/>
            </p:cNvSpPr>
            <p:nvPr/>
          </p:nvSpPr>
          <p:spPr bwMode="auto">
            <a:xfrm rot="15813706" flipH="1" flipV="1">
              <a:off x="4658809" y="3157252"/>
              <a:ext cx="255634" cy="802649"/>
            </a:xfrm>
            <a:custGeom>
              <a:avLst/>
              <a:gdLst/>
              <a:ahLst/>
              <a:cxnLst>
                <a:cxn ang="0">
                  <a:pos x="1431" y="75"/>
                </a:cxn>
                <a:cxn ang="0">
                  <a:pos x="1720" y="15"/>
                </a:cxn>
                <a:cxn ang="0">
                  <a:pos x="2010" y="0"/>
                </a:cxn>
                <a:cxn ang="0">
                  <a:pos x="2296" y="27"/>
                </a:cxn>
                <a:cxn ang="0">
                  <a:pos x="2573" y="93"/>
                </a:cxn>
                <a:cxn ang="0">
                  <a:pos x="2838" y="199"/>
                </a:cxn>
                <a:cxn ang="0">
                  <a:pos x="3086" y="341"/>
                </a:cxn>
                <a:cxn ang="0">
                  <a:pos x="3310" y="517"/>
                </a:cxn>
                <a:cxn ang="0">
                  <a:pos x="3509" y="727"/>
                </a:cxn>
                <a:cxn ang="0">
                  <a:pos x="3677" y="968"/>
                </a:cxn>
                <a:cxn ang="0">
                  <a:pos x="3811" y="1239"/>
                </a:cxn>
                <a:cxn ang="0">
                  <a:pos x="3856" y="1364"/>
                </a:cxn>
                <a:cxn ang="0">
                  <a:pos x="3893" y="1490"/>
                </a:cxn>
                <a:cxn ang="0">
                  <a:pos x="3920" y="1617"/>
                </a:cxn>
                <a:cxn ang="0">
                  <a:pos x="3940" y="1744"/>
                </a:cxn>
                <a:cxn ang="0">
                  <a:pos x="3950" y="1871"/>
                </a:cxn>
                <a:cxn ang="0">
                  <a:pos x="3953" y="1998"/>
                </a:cxn>
                <a:cxn ang="0">
                  <a:pos x="3947" y="2123"/>
                </a:cxn>
                <a:cxn ang="0">
                  <a:pos x="3933" y="2249"/>
                </a:cxn>
                <a:cxn ang="0">
                  <a:pos x="3912" y="2372"/>
                </a:cxn>
                <a:cxn ang="0">
                  <a:pos x="3882" y="2494"/>
                </a:cxn>
                <a:cxn ang="0">
                  <a:pos x="3809" y="2742"/>
                </a:cxn>
                <a:cxn ang="0">
                  <a:pos x="3693" y="3249"/>
                </a:cxn>
                <a:cxn ang="0">
                  <a:pos x="3626" y="3756"/>
                </a:cxn>
                <a:cxn ang="0">
                  <a:pos x="3605" y="4264"/>
                </a:cxn>
                <a:cxn ang="0">
                  <a:pos x="3623" y="4770"/>
                </a:cxn>
                <a:cxn ang="0">
                  <a:pos x="3675" y="5276"/>
                </a:cxn>
                <a:cxn ang="0">
                  <a:pos x="3758" y="5780"/>
                </a:cxn>
                <a:cxn ang="0">
                  <a:pos x="3864" y="6282"/>
                </a:cxn>
                <a:cxn ang="0">
                  <a:pos x="3991" y="6781"/>
                </a:cxn>
                <a:cxn ang="0">
                  <a:pos x="4130" y="7278"/>
                </a:cxn>
                <a:cxn ang="0">
                  <a:pos x="4279" y="7771"/>
                </a:cxn>
                <a:cxn ang="0">
                  <a:pos x="4318" y="7913"/>
                </a:cxn>
                <a:cxn ang="0">
                  <a:pos x="4192" y="7656"/>
                </a:cxn>
                <a:cxn ang="0">
                  <a:pos x="3944" y="7179"/>
                </a:cxn>
                <a:cxn ang="0">
                  <a:pos x="3689" y="6718"/>
                </a:cxn>
                <a:cxn ang="0">
                  <a:pos x="3382" y="6202"/>
                </a:cxn>
                <a:cxn ang="0">
                  <a:pos x="3034" y="5663"/>
                </a:cxn>
                <a:cxn ang="0">
                  <a:pos x="2648" y="5130"/>
                </a:cxn>
                <a:cxn ang="0">
                  <a:pos x="2235" y="4634"/>
                </a:cxn>
                <a:cxn ang="0">
                  <a:pos x="1800" y="4206"/>
                </a:cxn>
                <a:cxn ang="0">
                  <a:pos x="1352" y="3875"/>
                </a:cxn>
                <a:cxn ang="0">
                  <a:pos x="1117" y="3749"/>
                </a:cxn>
                <a:cxn ang="0">
                  <a:pos x="993" y="3677"/>
                </a:cxn>
                <a:cxn ang="0">
                  <a:pos x="873" y="3600"/>
                </a:cxn>
                <a:cxn ang="0">
                  <a:pos x="758" y="3514"/>
                </a:cxn>
                <a:cxn ang="0">
                  <a:pos x="648" y="3422"/>
                </a:cxn>
                <a:cxn ang="0">
                  <a:pos x="544" y="3323"/>
                </a:cxn>
                <a:cxn ang="0">
                  <a:pos x="447" y="3217"/>
                </a:cxn>
                <a:cxn ang="0">
                  <a:pos x="357" y="3103"/>
                </a:cxn>
                <a:cxn ang="0">
                  <a:pos x="276" y="2980"/>
                </a:cxn>
                <a:cxn ang="0">
                  <a:pos x="204" y="2851"/>
                </a:cxn>
                <a:cxn ang="0">
                  <a:pos x="142" y="2713"/>
                </a:cxn>
                <a:cxn ang="0">
                  <a:pos x="51" y="2425"/>
                </a:cxn>
                <a:cxn ang="0">
                  <a:pos x="6" y="2136"/>
                </a:cxn>
                <a:cxn ang="0">
                  <a:pos x="4" y="1846"/>
                </a:cxn>
                <a:cxn ang="0">
                  <a:pos x="45" y="1562"/>
                </a:cxn>
                <a:cxn ang="0">
                  <a:pos x="124" y="1289"/>
                </a:cxn>
                <a:cxn ang="0">
                  <a:pos x="243" y="1029"/>
                </a:cxn>
                <a:cxn ang="0">
                  <a:pos x="397" y="790"/>
                </a:cxn>
                <a:cxn ang="0">
                  <a:pos x="585" y="572"/>
                </a:cxn>
                <a:cxn ang="0">
                  <a:pos x="805" y="384"/>
                </a:cxn>
                <a:cxn ang="0">
                  <a:pos x="1056" y="227"/>
                </a:cxn>
              </a:cxnLst>
              <a:rect l="0" t="0" r="r" b="b"/>
              <a:pathLst>
                <a:path w="4330" h="7934">
                  <a:moveTo>
                    <a:pt x="1240" y="142"/>
                  </a:moveTo>
                  <a:lnTo>
                    <a:pt x="1335" y="106"/>
                  </a:lnTo>
                  <a:lnTo>
                    <a:pt x="1431" y="75"/>
                  </a:lnTo>
                  <a:lnTo>
                    <a:pt x="1526" y="51"/>
                  </a:lnTo>
                  <a:lnTo>
                    <a:pt x="1623" y="31"/>
                  </a:lnTo>
                  <a:lnTo>
                    <a:pt x="1720" y="15"/>
                  </a:lnTo>
                  <a:lnTo>
                    <a:pt x="1817" y="5"/>
                  </a:lnTo>
                  <a:lnTo>
                    <a:pt x="1914" y="0"/>
                  </a:lnTo>
                  <a:lnTo>
                    <a:pt x="2010" y="0"/>
                  </a:lnTo>
                  <a:lnTo>
                    <a:pt x="2106" y="4"/>
                  </a:lnTo>
                  <a:lnTo>
                    <a:pt x="2202" y="13"/>
                  </a:lnTo>
                  <a:lnTo>
                    <a:pt x="2296" y="27"/>
                  </a:lnTo>
                  <a:lnTo>
                    <a:pt x="2390" y="44"/>
                  </a:lnTo>
                  <a:lnTo>
                    <a:pt x="2483" y="66"/>
                  </a:lnTo>
                  <a:lnTo>
                    <a:pt x="2573" y="93"/>
                  </a:lnTo>
                  <a:lnTo>
                    <a:pt x="2663" y="124"/>
                  </a:lnTo>
                  <a:lnTo>
                    <a:pt x="2752" y="159"/>
                  </a:lnTo>
                  <a:lnTo>
                    <a:pt x="2838" y="199"/>
                  </a:lnTo>
                  <a:lnTo>
                    <a:pt x="2922" y="242"/>
                  </a:lnTo>
                  <a:lnTo>
                    <a:pt x="3005" y="290"/>
                  </a:lnTo>
                  <a:lnTo>
                    <a:pt x="3086" y="341"/>
                  </a:lnTo>
                  <a:lnTo>
                    <a:pt x="3163" y="396"/>
                  </a:lnTo>
                  <a:lnTo>
                    <a:pt x="3238" y="455"/>
                  </a:lnTo>
                  <a:lnTo>
                    <a:pt x="3310" y="517"/>
                  </a:lnTo>
                  <a:lnTo>
                    <a:pt x="3379" y="585"/>
                  </a:lnTo>
                  <a:lnTo>
                    <a:pt x="3446" y="654"/>
                  </a:lnTo>
                  <a:lnTo>
                    <a:pt x="3509" y="727"/>
                  </a:lnTo>
                  <a:lnTo>
                    <a:pt x="3569" y="805"/>
                  </a:lnTo>
                  <a:lnTo>
                    <a:pt x="3625" y="885"/>
                  </a:lnTo>
                  <a:lnTo>
                    <a:pt x="3677" y="968"/>
                  </a:lnTo>
                  <a:lnTo>
                    <a:pt x="3726" y="1056"/>
                  </a:lnTo>
                  <a:lnTo>
                    <a:pt x="3770" y="1146"/>
                  </a:lnTo>
                  <a:lnTo>
                    <a:pt x="3811" y="1239"/>
                  </a:lnTo>
                  <a:lnTo>
                    <a:pt x="3826" y="1280"/>
                  </a:lnTo>
                  <a:lnTo>
                    <a:pt x="3842" y="1322"/>
                  </a:lnTo>
                  <a:lnTo>
                    <a:pt x="3856" y="1364"/>
                  </a:lnTo>
                  <a:lnTo>
                    <a:pt x="3869" y="1406"/>
                  </a:lnTo>
                  <a:lnTo>
                    <a:pt x="3881" y="1448"/>
                  </a:lnTo>
                  <a:lnTo>
                    <a:pt x="3893" y="1490"/>
                  </a:lnTo>
                  <a:lnTo>
                    <a:pt x="3903" y="1533"/>
                  </a:lnTo>
                  <a:lnTo>
                    <a:pt x="3912" y="1574"/>
                  </a:lnTo>
                  <a:lnTo>
                    <a:pt x="3920" y="1617"/>
                  </a:lnTo>
                  <a:lnTo>
                    <a:pt x="3927" y="1659"/>
                  </a:lnTo>
                  <a:lnTo>
                    <a:pt x="3935" y="1702"/>
                  </a:lnTo>
                  <a:lnTo>
                    <a:pt x="3940" y="1744"/>
                  </a:lnTo>
                  <a:lnTo>
                    <a:pt x="3944" y="1787"/>
                  </a:lnTo>
                  <a:lnTo>
                    <a:pt x="3948" y="1828"/>
                  </a:lnTo>
                  <a:lnTo>
                    <a:pt x="3950" y="1871"/>
                  </a:lnTo>
                  <a:lnTo>
                    <a:pt x="3952" y="1913"/>
                  </a:lnTo>
                  <a:lnTo>
                    <a:pt x="3953" y="1956"/>
                  </a:lnTo>
                  <a:lnTo>
                    <a:pt x="3953" y="1998"/>
                  </a:lnTo>
                  <a:lnTo>
                    <a:pt x="3952" y="2040"/>
                  </a:lnTo>
                  <a:lnTo>
                    <a:pt x="3950" y="2081"/>
                  </a:lnTo>
                  <a:lnTo>
                    <a:pt x="3947" y="2123"/>
                  </a:lnTo>
                  <a:lnTo>
                    <a:pt x="3944" y="2165"/>
                  </a:lnTo>
                  <a:lnTo>
                    <a:pt x="3939" y="2207"/>
                  </a:lnTo>
                  <a:lnTo>
                    <a:pt x="3933" y="2249"/>
                  </a:lnTo>
                  <a:lnTo>
                    <a:pt x="3927" y="2290"/>
                  </a:lnTo>
                  <a:lnTo>
                    <a:pt x="3920" y="2331"/>
                  </a:lnTo>
                  <a:lnTo>
                    <a:pt x="3912" y="2372"/>
                  </a:lnTo>
                  <a:lnTo>
                    <a:pt x="3903" y="2413"/>
                  </a:lnTo>
                  <a:lnTo>
                    <a:pt x="3894" y="2453"/>
                  </a:lnTo>
                  <a:lnTo>
                    <a:pt x="3882" y="2494"/>
                  </a:lnTo>
                  <a:lnTo>
                    <a:pt x="3871" y="2533"/>
                  </a:lnTo>
                  <a:lnTo>
                    <a:pt x="3859" y="2573"/>
                  </a:lnTo>
                  <a:lnTo>
                    <a:pt x="3809" y="2742"/>
                  </a:lnTo>
                  <a:lnTo>
                    <a:pt x="3764" y="2911"/>
                  </a:lnTo>
                  <a:lnTo>
                    <a:pt x="3725" y="3080"/>
                  </a:lnTo>
                  <a:lnTo>
                    <a:pt x="3693" y="3249"/>
                  </a:lnTo>
                  <a:lnTo>
                    <a:pt x="3665" y="3418"/>
                  </a:lnTo>
                  <a:lnTo>
                    <a:pt x="3644" y="3587"/>
                  </a:lnTo>
                  <a:lnTo>
                    <a:pt x="3626" y="3756"/>
                  </a:lnTo>
                  <a:lnTo>
                    <a:pt x="3614" y="3925"/>
                  </a:lnTo>
                  <a:lnTo>
                    <a:pt x="3607" y="4095"/>
                  </a:lnTo>
                  <a:lnTo>
                    <a:pt x="3605" y="4264"/>
                  </a:lnTo>
                  <a:lnTo>
                    <a:pt x="3607" y="4432"/>
                  </a:lnTo>
                  <a:lnTo>
                    <a:pt x="3613" y="4602"/>
                  </a:lnTo>
                  <a:lnTo>
                    <a:pt x="3623" y="4770"/>
                  </a:lnTo>
                  <a:lnTo>
                    <a:pt x="3637" y="4939"/>
                  </a:lnTo>
                  <a:lnTo>
                    <a:pt x="3655" y="5108"/>
                  </a:lnTo>
                  <a:lnTo>
                    <a:pt x="3675" y="5276"/>
                  </a:lnTo>
                  <a:lnTo>
                    <a:pt x="3700" y="5444"/>
                  </a:lnTo>
                  <a:lnTo>
                    <a:pt x="3727" y="5613"/>
                  </a:lnTo>
                  <a:lnTo>
                    <a:pt x="3758" y="5780"/>
                  </a:lnTo>
                  <a:lnTo>
                    <a:pt x="3791" y="5947"/>
                  </a:lnTo>
                  <a:lnTo>
                    <a:pt x="3826" y="6115"/>
                  </a:lnTo>
                  <a:lnTo>
                    <a:pt x="3864" y="6282"/>
                  </a:lnTo>
                  <a:lnTo>
                    <a:pt x="3905" y="6448"/>
                  </a:lnTo>
                  <a:lnTo>
                    <a:pt x="3947" y="6616"/>
                  </a:lnTo>
                  <a:lnTo>
                    <a:pt x="3991" y="6781"/>
                  </a:lnTo>
                  <a:lnTo>
                    <a:pt x="4036" y="6947"/>
                  </a:lnTo>
                  <a:lnTo>
                    <a:pt x="4082" y="7113"/>
                  </a:lnTo>
                  <a:lnTo>
                    <a:pt x="4130" y="7278"/>
                  </a:lnTo>
                  <a:lnTo>
                    <a:pt x="4179" y="7442"/>
                  </a:lnTo>
                  <a:lnTo>
                    <a:pt x="4229" y="7606"/>
                  </a:lnTo>
                  <a:lnTo>
                    <a:pt x="4279" y="7771"/>
                  </a:lnTo>
                  <a:lnTo>
                    <a:pt x="4330" y="7934"/>
                  </a:lnTo>
                  <a:lnTo>
                    <a:pt x="4329" y="7933"/>
                  </a:lnTo>
                  <a:lnTo>
                    <a:pt x="4318" y="7913"/>
                  </a:lnTo>
                  <a:lnTo>
                    <a:pt x="4299" y="7873"/>
                  </a:lnTo>
                  <a:lnTo>
                    <a:pt x="4271" y="7817"/>
                  </a:lnTo>
                  <a:lnTo>
                    <a:pt x="4192" y="7656"/>
                  </a:lnTo>
                  <a:lnTo>
                    <a:pt x="4081" y="7441"/>
                  </a:lnTo>
                  <a:lnTo>
                    <a:pt x="4016" y="7316"/>
                  </a:lnTo>
                  <a:lnTo>
                    <a:pt x="3944" y="7179"/>
                  </a:lnTo>
                  <a:lnTo>
                    <a:pt x="3864" y="7033"/>
                  </a:lnTo>
                  <a:lnTo>
                    <a:pt x="3779" y="6879"/>
                  </a:lnTo>
                  <a:lnTo>
                    <a:pt x="3689" y="6718"/>
                  </a:lnTo>
                  <a:lnTo>
                    <a:pt x="3592" y="6550"/>
                  </a:lnTo>
                  <a:lnTo>
                    <a:pt x="3490" y="6378"/>
                  </a:lnTo>
                  <a:lnTo>
                    <a:pt x="3382" y="6202"/>
                  </a:lnTo>
                  <a:lnTo>
                    <a:pt x="3270" y="6024"/>
                  </a:lnTo>
                  <a:lnTo>
                    <a:pt x="3154" y="5843"/>
                  </a:lnTo>
                  <a:lnTo>
                    <a:pt x="3034" y="5663"/>
                  </a:lnTo>
                  <a:lnTo>
                    <a:pt x="2908" y="5483"/>
                  </a:lnTo>
                  <a:lnTo>
                    <a:pt x="2780" y="5305"/>
                  </a:lnTo>
                  <a:lnTo>
                    <a:pt x="2648" y="5130"/>
                  </a:lnTo>
                  <a:lnTo>
                    <a:pt x="2513" y="4960"/>
                  </a:lnTo>
                  <a:lnTo>
                    <a:pt x="2375" y="4793"/>
                  </a:lnTo>
                  <a:lnTo>
                    <a:pt x="2235" y="4634"/>
                  </a:lnTo>
                  <a:lnTo>
                    <a:pt x="2092" y="4482"/>
                  </a:lnTo>
                  <a:lnTo>
                    <a:pt x="1947" y="4339"/>
                  </a:lnTo>
                  <a:lnTo>
                    <a:pt x="1800" y="4206"/>
                  </a:lnTo>
                  <a:lnTo>
                    <a:pt x="1652" y="4083"/>
                  </a:lnTo>
                  <a:lnTo>
                    <a:pt x="1503" y="3973"/>
                  </a:lnTo>
                  <a:lnTo>
                    <a:pt x="1352" y="3875"/>
                  </a:lnTo>
                  <a:lnTo>
                    <a:pt x="1201" y="3792"/>
                  </a:lnTo>
                  <a:lnTo>
                    <a:pt x="1159" y="3771"/>
                  </a:lnTo>
                  <a:lnTo>
                    <a:pt x="1117" y="3749"/>
                  </a:lnTo>
                  <a:lnTo>
                    <a:pt x="1075" y="3725"/>
                  </a:lnTo>
                  <a:lnTo>
                    <a:pt x="1034" y="3702"/>
                  </a:lnTo>
                  <a:lnTo>
                    <a:pt x="993" y="3677"/>
                  </a:lnTo>
                  <a:lnTo>
                    <a:pt x="953" y="3652"/>
                  </a:lnTo>
                  <a:lnTo>
                    <a:pt x="912" y="3626"/>
                  </a:lnTo>
                  <a:lnTo>
                    <a:pt x="873" y="3600"/>
                  </a:lnTo>
                  <a:lnTo>
                    <a:pt x="834" y="3572"/>
                  </a:lnTo>
                  <a:lnTo>
                    <a:pt x="796" y="3544"/>
                  </a:lnTo>
                  <a:lnTo>
                    <a:pt x="758" y="3514"/>
                  </a:lnTo>
                  <a:lnTo>
                    <a:pt x="720" y="3484"/>
                  </a:lnTo>
                  <a:lnTo>
                    <a:pt x="684" y="3454"/>
                  </a:lnTo>
                  <a:lnTo>
                    <a:pt x="648" y="3422"/>
                  </a:lnTo>
                  <a:lnTo>
                    <a:pt x="612" y="3390"/>
                  </a:lnTo>
                  <a:lnTo>
                    <a:pt x="577" y="3357"/>
                  </a:lnTo>
                  <a:lnTo>
                    <a:pt x="544" y="3323"/>
                  </a:lnTo>
                  <a:lnTo>
                    <a:pt x="511" y="3288"/>
                  </a:lnTo>
                  <a:lnTo>
                    <a:pt x="479" y="3253"/>
                  </a:lnTo>
                  <a:lnTo>
                    <a:pt x="447" y="3217"/>
                  </a:lnTo>
                  <a:lnTo>
                    <a:pt x="416" y="3179"/>
                  </a:lnTo>
                  <a:lnTo>
                    <a:pt x="387" y="3142"/>
                  </a:lnTo>
                  <a:lnTo>
                    <a:pt x="357" y="3103"/>
                  </a:lnTo>
                  <a:lnTo>
                    <a:pt x="330" y="3063"/>
                  </a:lnTo>
                  <a:lnTo>
                    <a:pt x="302" y="3022"/>
                  </a:lnTo>
                  <a:lnTo>
                    <a:pt x="276" y="2980"/>
                  </a:lnTo>
                  <a:lnTo>
                    <a:pt x="251" y="2938"/>
                  </a:lnTo>
                  <a:lnTo>
                    <a:pt x="227" y="2895"/>
                  </a:lnTo>
                  <a:lnTo>
                    <a:pt x="204" y="2851"/>
                  </a:lnTo>
                  <a:lnTo>
                    <a:pt x="183" y="2806"/>
                  </a:lnTo>
                  <a:lnTo>
                    <a:pt x="162" y="2760"/>
                  </a:lnTo>
                  <a:lnTo>
                    <a:pt x="142" y="2713"/>
                  </a:lnTo>
                  <a:lnTo>
                    <a:pt x="107" y="2618"/>
                  </a:lnTo>
                  <a:lnTo>
                    <a:pt x="76" y="2522"/>
                  </a:lnTo>
                  <a:lnTo>
                    <a:pt x="51" y="2425"/>
                  </a:lnTo>
                  <a:lnTo>
                    <a:pt x="32" y="2329"/>
                  </a:lnTo>
                  <a:lnTo>
                    <a:pt x="16" y="2232"/>
                  </a:lnTo>
                  <a:lnTo>
                    <a:pt x="6" y="2136"/>
                  </a:lnTo>
                  <a:lnTo>
                    <a:pt x="1" y="2039"/>
                  </a:lnTo>
                  <a:lnTo>
                    <a:pt x="0" y="1942"/>
                  </a:lnTo>
                  <a:lnTo>
                    <a:pt x="4" y="1846"/>
                  </a:lnTo>
                  <a:lnTo>
                    <a:pt x="13" y="1751"/>
                  </a:lnTo>
                  <a:lnTo>
                    <a:pt x="26" y="1656"/>
                  </a:lnTo>
                  <a:lnTo>
                    <a:pt x="45" y="1562"/>
                  </a:lnTo>
                  <a:lnTo>
                    <a:pt x="67" y="1470"/>
                  </a:lnTo>
                  <a:lnTo>
                    <a:pt x="94" y="1378"/>
                  </a:lnTo>
                  <a:lnTo>
                    <a:pt x="124" y="1289"/>
                  </a:lnTo>
                  <a:lnTo>
                    <a:pt x="160" y="1201"/>
                  </a:lnTo>
                  <a:lnTo>
                    <a:pt x="199" y="1114"/>
                  </a:lnTo>
                  <a:lnTo>
                    <a:pt x="243" y="1029"/>
                  </a:lnTo>
                  <a:lnTo>
                    <a:pt x="290" y="947"/>
                  </a:lnTo>
                  <a:lnTo>
                    <a:pt x="341" y="867"/>
                  </a:lnTo>
                  <a:lnTo>
                    <a:pt x="397" y="790"/>
                  </a:lnTo>
                  <a:lnTo>
                    <a:pt x="455" y="714"/>
                  </a:lnTo>
                  <a:lnTo>
                    <a:pt x="518" y="642"/>
                  </a:lnTo>
                  <a:lnTo>
                    <a:pt x="585" y="572"/>
                  </a:lnTo>
                  <a:lnTo>
                    <a:pt x="655" y="506"/>
                  </a:lnTo>
                  <a:lnTo>
                    <a:pt x="728" y="443"/>
                  </a:lnTo>
                  <a:lnTo>
                    <a:pt x="805" y="384"/>
                  </a:lnTo>
                  <a:lnTo>
                    <a:pt x="886" y="328"/>
                  </a:lnTo>
                  <a:lnTo>
                    <a:pt x="969" y="274"/>
                  </a:lnTo>
                  <a:lnTo>
                    <a:pt x="1056" y="227"/>
                  </a:lnTo>
                  <a:lnTo>
                    <a:pt x="1146" y="182"/>
                  </a:lnTo>
                  <a:lnTo>
                    <a:pt x="1240" y="142"/>
                  </a:lnTo>
                  <a:close/>
                </a:path>
              </a:pathLst>
            </a:custGeom>
            <a:solidFill>
              <a:schemeClr val="bg1">
                <a:lumMod val="50000"/>
                <a:alpha val="2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nb-NO" sz="1600">
                <a:latin typeface="Calibri" charset="0"/>
              </a:endParaRPr>
            </a:p>
          </p:txBody>
        </p:sp>
        <p:sp>
          <p:nvSpPr>
            <p:cNvPr id="100" name="Freeform 57"/>
            <p:cNvSpPr>
              <a:spLocks/>
            </p:cNvSpPr>
            <p:nvPr/>
          </p:nvSpPr>
          <p:spPr bwMode="auto">
            <a:xfrm flipH="1">
              <a:off x="4436062" y="2500313"/>
              <a:ext cx="650367" cy="1241655"/>
            </a:xfrm>
            <a:custGeom>
              <a:avLst/>
              <a:gdLst/>
              <a:ahLst/>
              <a:cxnLst>
                <a:cxn ang="0">
                  <a:pos x="1431" y="75"/>
                </a:cxn>
                <a:cxn ang="0">
                  <a:pos x="1720" y="15"/>
                </a:cxn>
                <a:cxn ang="0">
                  <a:pos x="2010" y="0"/>
                </a:cxn>
                <a:cxn ang="0">
                  <a:pos x="2296" y="27"/>
                </a:cxn>
                <a:cxn ang="0">
                  <a:pos x="2573" y="93"/>
                </a:cxn>
                <a:cxn ang="0">
                  <a:pos x="2838" y="199"/>
                </a:cxn>
                <a:cxn ang="0">
                  <a:pos x="3086" y="341"/>
                </a:cxn>
                <a:cxn ang="0">
                  <a:pos x="3310" y="517"/>
                </a:cxn>
                <a:cxn ang="0">
                  <a:pos x="3509" y="727"/>
                </a:cxn>
                <a:cxn ang="0">
                  <a:pos x="3677" y="968"/>
                </a:cxn>
                <a:cxn ang="0">
                  <a:pos x="3811" y="1239"/>
                </a:cxn>
                <a:cxn ang="0">
                  <a:pos x="3856" y="1364"/>
                </a:cxn>
                <a:cxn ang="0">
                  <a:pos x="3893" y="1490"/>
                </a:cxn>
                <a:cxn ang="0">
                  <a:pos x="3920" y="1617"/>
                </a:cxn>
                <a:cxn ang="0">
                  <a:pos x="3940" y="1744"/>
                </a:cxn>
                <a:cxn ang="0">
                  <a:pos x="3950" y="1871"/>
                </a:cxn>
                <a:cxn ang="0">
                  <a:pos x="3953" y="1998"/>
                </a:cxn>
                <a:cxn ang="0">
                  <a:pos x="3947" y="2123"/>
                </a:cxn>
                <a:cxn ang="0">
                  <a:pos x="3933" y="2249"/>
                </a:cxn>
                <a:cxn ang="0">
                  <a:pos x="3912" y="2372"/>
                </a:cxn>
                <a:cxn ang="0">
                  <a:pos x="3882" y="2494"/>
                </a:cxn>
                <a:cxn ang="0">
                  <a:pos x="3809" y="2742"/>
                </a:cxn>
                <a:cxn ang="0">
                  <a:pos x="3693" y="3249"/>
                </a:cxn>
                <a:cxn ang="0">
                  <a:pos x="3626" y="3756"/>
                </a:cxn>
                <a:cxn ang="0">
                  <a:pos x="3605" y="4264"/>
                </a:cxn>
                <a:cxn ang="0">
                  <a:pos x="3623" y="4770"/>
                </a:cxn>
                <a:cxn ang="0">
                  <a:pos x="3675" y="5276"/>
                </a:cxn>
                <a:cxn ang="0">
                  <a:pos x="3758" y="5780"/>
                </a:cxn>
                <a:cxn ang="0">
                  <a:pos x="3864" y="6282"/>
                </a:cxn>
                <a:cxn ang="0">
                  <a:pos x="3991" y="6781"/>
                </a:cxn>
                <a:cxn ang="0">
                  <a:pos x="4130" y="7278"/>
                </a:cxn>
                <a:cxn ang="0">
                  <a:pos x="4279" y="7771"/>
                </a:cxn>
                <a:cxn ang="0">
                  <a:pos x="4318" y="7913"/>
                </a:cxn>
                <a:cxn ang="0">
                  <a:pos x="4192" y="7656"/>
                </a:cxn>
                <a:cxn ang="0">
                  <a:pos x="3944" y="7179"/>
                </a:cxn>
                <a:cxn ang="0">
                  <a:pos x="3689" y="6718"/>
                </a:cxn>
                <a:cxn ang="0">
                  <a:pos x="3382" y="6202"/>
                </a:cxn>
                <a:cxn ang="0">
                  <a:pos x="3034" y="5663"/>
                </a:cxn>
                <a:cxn ang="0">
                  <a:pos x="2648" y="5130"/>
                </a:cxn>
                <a:cxn ang="0">
                  <a:pos x="2235" y="4634"/>
                </a:cxn>
                <a:cxn ang="0">
                  <a:pos x="1800" y="4206"/>
                </a:cxn>
                <a:cxn ang="0">
                  <a:pos x="1352" y="3875"/>
                </a:cxn>
                <a:cxn ang="0">
                  <a:pos x="1117" y="3749"/>
                </a:cxn>
                <a:cxn ang="0">
                  <a:pos x="993" y="3677"/>
                </a:cxn>
                <a:cxn ang="0">
                  <a:pos x="873" y="3600"/>
                </a:cxn>
                <a:cxn ang="0">
                  <a:pos x="758" y="3514"/>
                </a:cxn>
                <a:cxn ang="0">
                  <a:pos x="648" y="3422"/>
                </a:cxn>
                <a:cxn ang="0">
                  <a:pos x="544" y="3323"/>
                </a:cxn>
                <a:cxn ang="0">
                  <a:pos x="447" y="3217"/>
                </a:cxn>
                <a:cxn ang="0">
                  <a:pos x="357" y="3103"/>
                </a:cxn>
                <a:cxn ang="0">
                  <a:pos x="276" y="2980"/>
                </a:cxn>
                <a:cxn ang="0">
                  <a:pos x="204" y="2851"/>
                </a:cxn>
                <a:cxn ang="0">
                  <a:pos x="142" y="2713"/>
                </a:cxn>
                <a:cxn ang="0">
                  <a:pos x="51" y="2425"/>
                </a:cxn>
                <a:cxn ang="0">
                  <a:pos x="6" y="2136"/>
                </a:cxn>
                <a:cxn ang="0">
                  <a:pos x="4" y="1846"/>
                </a:cxn>
                <a:cxn ang="0">
                  <a:pos x="45" y="1562"/>
                </a:cxn>
                <a:cxn ang="0">
                  <a:pos x="124" y="1289"/>
                </a:cxn>
                <a:cxn ang="0">
                  <a:pos x="243" y="1029"/>
                </a:cxn>
                <a:cxn ang="0">
                  <a:pos x="397" y="790"/>
                </a:cxn>
                <a:cxn ang="0">
                  <a:pos x="585" y="572"/>
                </a:cxn>
                <a:cxn ang="0">
                  <a:pos x="805" y="384"/>
                </a:cxn>
                <a:cxn ang="0">
                  <a:pos x="1056" y="227"/>
                </a:cxn>
              </a:cxnLst>
              <a:rect l="0" t="0" r="r" b="b"/>
              <a:pathLst>
                <a:path w="4330" h="7934">
                  <a:moveTo>
                    <a:pt x="1240" y="142"/>
                  </a:moveTo>
                  <a:lnTo>
                    <a:pt x="1335" y="106"/>
                  </a:lnTo>
                  <a:lnTo>
                    <a:pt x="1431" y="75"/>
                  </a:lnTo>
                  <a:lnTo>
                    <a:pt x="1526" y="51"/>
                  </a:lnTo>
                  <a:lnTo>
                    <a:pt x="1623" y="31"/>
                  </a:lnTo>
                  <a:lnTo>
                    <a:pt x="1720" y="15"/>
                  </a:lnTo>
                  <a:lnTo>
                    <a:pt x="1817" y="5"/>
                  </a:lnTo>
                  <a:lnTo>
                    <a:pt x="1914" y="0"/>
                  </a:lnTo>
                  <a:lnTo>
                    <a:pt x="2010" y="0"/>
                  </a:lnTo>
                  <a:lnTo>
                    <a:pt x="2106" y="4"/>
                  </a:lnTo>
                  <a:lnTo>
                    <a:pt x="2202" y="13"/>
                  </a:lnTo>
                  <a:lnTo>
                    <a:pt x="2296" y="27"/>
                  </a:lnTo>
                  <a:lnTo>
                    <a:pt x="2390" y="44"/>
                  </a:lnTo>
                  <a:lnTo>
                    <a:pt x="2483" y="66"/>
                  </a:lnTo>
                  <a:lnTo>
                    <a:pt x="2573" y="93"/>
                  </a:lnTo>
                  <a:lnTo>
                    <a:pt x="2663" y="124"/>
                  </a:lnTo>
                  <a:lnTo>
                    <a:pt x="2752" y="159"/>
                  </a:lnTo>
                  <a:lnTo>
                    <a:pt x="2838" y="199"/>
                  </a:lnTo>
                  <a:lnTo>
                    <a:pt x="2922" y="242"/>
                  </a:lnTo>
                  <a:lnTo>
                    <a:pt x="3005" y="290"/>
                  </a:lnTo>
                  <a:lnTo>
                    <a:pt x="3086" y="341"/>
                  </a:lnTo>
                  <a:lnTo>
                    <a:pt x="3163" y="396"/>
                  </a:lnTo>
                  <a:lnTo>
                    <a:pt x="3238" y="455"/>
                  </a:lnTo>
                  <a:lnTo>
                    <a:pt x="3310" y="517"/>
                  </a:lnTo>
                  <a:lnTo>
                    <a:pt x="3379" y="585"/>
                  </a:lnTo>
                  <a:lnTo>
                    <a:pt x="3446" y="654"/>
                  </a:lnTo>
                  <a:lnTo>
                    <a:pt x="3509" y="727"/>
                  </a:lnTo>
                  <a:lnTo>
                    <a:pt x="3569" y="805"/>
                  </a:lnTo>
                  <a:lnTo>
                    <a:pt x="3625" y="885"/>
                  </a:lnTo>
                  <a:lnTo>
                    <a:pt x="3677" y="968"/>
                  </a:lnTo>
                  <a:lnTo>
                    <a:pt x="3726" y="1056"/>
                  </a:lnTo>
                  <a:lnTo>
                    <a:pt x="3770" y="1146"/>
                  </a:lnTo>
                  <a:lnTo>
                    <a:pt x="3811" y="1239"/>
                  </a:lnTo>
                  <a:lnTo>
                    <a:pt x="3826" y="1280"/>
                  </a:lnTo>
                  <a:lnTo>
                    <a:pt x="3842" y="1322"/>
                  </a:lnTo>
                  <a:lnTo>
                    <a:pt x="3856" y="1364"/>
                  </a:lnTo>
                  <a:lnTo>
                    <a:pt x="3869" y="1406"/>
                  </a:lnTo>
                  <a:lnTo>
                    <a:pt x="3881" y="1448"/>
                  </a:lnTo>
                  <a:lnTo>
                    <a:pt x="3893" y="1490"/>
                  </a:lnTo>
                  <a:lnTo>
                    <a:pt x="3903" y="1533"/>
                  </a:lnTo>
                  <a:lnTo>
                    <a:pt x="3912" y="1574"/>
                  </a:lnTo>
                  <a:lnTo>
                    <a:pt x="3920" y="1617"/>
                  </a:lnTo>
                  <a:lnTo>
                    <a:pt x="3927" y="1659"/>
                  </a:lnTo>
                  <a:lnTo>
                    <a:pt x="3935" y="1702"/>
                  </a:lnTo>
                  <a:lnTo>
                    <a:pt x="3940" y="1744"/>
                  </a:lnTo>
                  <a:lnTo>
                    <a:pt x="3944" y="1787"/>
                  </a:lnTo>
                  <a:lnTo>
                    <a:pt x="3948" y="1828"/>
                  </a:lnTo>
                  <a:lnTo>
                    <a:pt x="3950" y="1871"/>
                  </a:lnTo>
                  <a:lnTo>
                    <a:pt x="3952" y="1913"/>
                  </a:lnTo>
                  <a:lnTo>
                    <a:pt x="3953" y="1956"/>
                  </a:lnTo>
                  <a:lnTo>
                    <a:pt x="3953" y="1998"/>
                  </a:lnTo>
                  <a:lnTo>
                    <a:pt x="3952" y="2040"/>
                  </a:lnTo>
                  <a:lnTo>
                    <a:pt x="3950" y="2081"/>
                  </a:lnTo>
                  <a:lnTo>
                    <a:pt x="3947" y="2123"/>
                  </a:lnTo>
                  <a:lnTo>
                    <a:pt x="3944" y="2165"/>
                  </a:lnTo>
                  <a:lnTo>
                    <a:pt x="3939" y="2207"/>
                  </a:lnTo>
                  <a:lnTo>
                    <a:pt x="3933" y="2249"/>
                  </a:lnTo>
                  <a:lnTo>
                    <a:pt x="3927" y="2290"/>
                  </a:lnTo>
                  <a:lnTo>
                    <a:pt x="3920" y="2331"/>
                  </a:lnTo>
                  <a:lnTo>
                    <a:pt x="3912" y="2372"/>
                  </a:lnTo>
                  <a:lnTo>
                    <a:pt x="3903" y="2413"/>
                  </a:lnTo>
                  <a:lnTo>
                    <a:pt x="3894" y="2453"/>
                  </a:lnTo>
                  <a:lnTo>
                    <a:pt x="3882" y="2494"/>
                  </a:lnTo>
                  <a:lnTo>
                    <a:pt x="3871" y="2533"/>
                  </a:lnTo>
                  <a:lnTo>
                    <a:pt x="3859" y="2573"/>
                  </a:lnTo>
                  <a:lnTo>
                    <a:pt x="3809" y="2742"/>
                  </a:lnTo>
                  <a:lnTo>
                    <a:pt x="3764" y="2911"/>
                  </a:lnTo>
                  <a:lnTo>
                    <a:pt x="3725" y="3080"/>
                  </a:lnTo>
                  <a:lnTo>
                    <a:pt x="3693" y="3249"/>
                  </a:lnTo>
                  <a:lnTo>
                    <a:pt x="3665" y="3418"/>
                  </a:lnTo>
                  <a:lnTo>
                    <a:pt x="3644" y="3587"/>
                  </a:lnTo>
                  <a:lnTo>
                    <a:pt x="3626" y="3756"/>
                  </a:lnTo>
                  <a:lnTo>
                    <a:pt x="3614" y="3925"/>
                  </a:lnTo>
                  <a:lnTo>
                    <a:pt x="3607" y="4095"/>
                  </a:lnTo>
                  <a:lnTo>
                    <a:pt x="3605" y="4264"/>
                  </a:lnTo>
                  <a:lnTo>
                    <a:pt x="3607" y="4432"/>
                  </a:lnTo>
                  <a:lnTo>
                    <a:pt x="3613" y="4602"/>
                  </a:lnTo>
                  <a:lnTo>
                    <a:pt x="3623" y="4770"/>
                  </a:lnTo>
                  <a:lnTo>
                    <a:pt x="3637" y="4939"/>
                  </a:lnTo>
                  <a:lnTo>
                    <a:pt x="3655" y="5108"/>
                  </a:lnTo>
                  <a:lnTo>
                    <a:pt x="3675" y="5276"/>
                  </a:lnTo>
                  <a:lnTo>
                    <a:pt x="3700" y="5444"/>
                  </a:lnTo>
                  <a:lnTo>
                    <a:pt x="3727" y="5613"/>
                  </a:lnTo>
                  <a:lnTo>
                    <a:pt x="3758" y="5780"/>
                  </a:lnTo>
                  <a:lnTo>
                    <a:pt x="3791" y="5947"/>
                  </a:lnTo>
                  <a:lnTo>
                    <a:pt x="3826" y="6115"/>
                  </a:lnTo>
                  <a:lnTo>
                    <a:pt x="3864" y="6282"/>
                  </a:lnTo>
                  <a:lnTo>
                    <a:pt x="3905" y="6448"/>
                  </a:lnTo>
                  <a:lnTo>
                    <a:pt x="3947" y="6616"/>
                  </a:lnTo>
                  <a:lnTo>
                    <a:pt x="3991" y="6781"/>
                  </a:lnTo>
                  <a:lnTo>
                    <a:pt x="4036" y="6947"/>
                  </a:lnTo>
                  <a:lnTo>
                    <a:pt x="4082" y="7113"/>
                  </a:lnTo>
                  <a:lnTo>
                    <a:pt x="4130" y="7278"/>
                  </a:lnTo>
                  <a:lnTo>
                    <a:pt x="4179" y="7442"/>
                  </a:lnTo>
                  <a:lnTo>
                    <a:pt x="4229" y="7606"/>
                  </a:lnTo>
                  <a:lnTo>
                    <a:pt x="4279" y="7771"/>
                  </a:lnTo>
                  <a:lnTo>
                    <a:pt x="4330" y="7934"/>
                  </a:lnTo>
                  <a:lnTo>
                    <a:pt x="4329" y="7933"/>
                  </a:lnTo>
                  <a:lnTo>
                    <a:pt x="4318" y="7913"/>
                  </a:lnTo>
                  <a:lnTo>
                    <a:pt x="4299" y="7873"/>
                  </a:lnTo>
                  <a:lnTo>
                    <a:pt x="4271" y="7817"/>
                  </a:lnTo>
                  <a:lnTo>
                    <a:pt x="4192" y="7656"/>
                  </a:lnTo>
                  <a:lnTo>
                    <a:pt x="4081" y="7441"/>
                  </a:lnTo>
                  <a:lnTo>
                    <a:pt x="4016" y="7316"/>
                  </a:lnTo>
                  <a:lnTo>
                    <a:pt x="3944" y="7179"/>
                  </a:lnTo>
                  <a:lnTo>
                    <a:pt x="3864" y="7033"/>
                  </a:lnTo>
                  <a:lnTo>
                    <a:pt x="3779" y="6879"/>
                  </a:lnTo>
                  <a:lnTo>
                    <a:pt x="3689" y="6718"/>
                  </a:lnTo>
                  <a:lnTo>
                    <a:pt x="3592" y="6550"/>
                  </a:lnTo>
                  <a:lnTo>
                    <a:pt x="3490" y="6378"/>
                  </a:lnTo>
                  <a:lnTo>
                    <a:pt x="3382" y="6202"/>
                  </a:lnTo>
                  <a:lnTo>
                    <a:pt x="3270" y="6024"/>
                  </a:lnTo>
                  <a:lnTo>
                    <a:pt x="3154" y="5843"/>
                  </a:lnTo>
                  <a:lnTo>
                    <a:pt x="3034" y="5663"/>
                  </a:lnTo>
                  <a:lnTo>
                    <a:pt x="2908" y="5483"/>
                  </a:lnTo>
                  <a:lnTo>
                    <a:pt x="2780" y="5305"/>
                  </a:lnTo>
                  <a:lnTo>
                    <a:pt x="2648" y="5130"/>
                  </a:lnTo>
                  <a:lnTo>
                    <a:pt x="2513" y="4960"/>
                  </a:lnTo>
                  <a:lnTo>
                    <a:pt x="2375" y="4793"/>
                  </a:lnTo>
                  <a:lnTo>
                    <a:pt x="2235" y="4634"/>
                  </a:lnTo>
                  <a:lnTo>
                    <a:pt x="2092" y="4482"/>
                  </a:lnTo>
                  <a:lnTo>
                    <a:pt x="1947" y="4339"/>
                  </a:lnTo>
                  <a:lnTo>
                    <a:pt x="1800" y="4206"/>
                  </a:lnTo>
                  <a:lnTo>
                    <a:pt x="1652" y="4083"/>
                  </a:lnTo>
                  <a:lnTo>
                    <a:pt x="1503" y="3973"/>
                  </a:lnTo>
                  <a:lnTo>
                    <a:pt x="1352" y="3875"/>
                  </a:lnTo>
                  <a:lnTo>
                    <a:pt x="1201" y="3792"/>
                  </a:lnTo>
                  <a:lnTo>
                    <a:pt x="1159" y="3771"/>
                  </a:lnTo>
                  <a:lnTo>
                    <a:pt x="1117" y="3749"/>
                  </a:lnTo>
                  <a:lnTo>
                    <a:pt x="1075" y="3725"/>
                  </a:lnTo>
                  <a:lnTo>
                    <a:pt x="1034" y="3702"/>
                  </a:lnTo>
                  <a:lnTo>
                    <a:pt x="993" y="3677"/>
                  </a:lnTo>
                  <a:lnTo>
                    <a:pt x="953" y="3652"/>
                  </a:lnTo>
                  <a:lnTo>
                    <a:pt x="912" y="3626"/>
                  </a:lnTo>
                  <a:lnTo>
                    <a:pt x="873" y="3600"/>
                  </a:lnTo>
                  <a:lnTo>
                    <a:pt x="834" y="3572"/>
                  </a:lnTo>
                  <a:lnTo>
                    <a:pt x="796" y="3544"/>
                  </a:lnTo>
                  <a:lnTo>
                    <a:pt x="758" y="3514"/>
                  </a:lnTo>
                  <a:lnTo>
                    <a:pt x="720" y="3484"/>
                  </a:lnTo>
                  <a:lnTo>
                    <a:pt x="684" y="3454"/>
                  </a:lnTo>
                  <a:lnTo>
                    <a:pt x="648" y="3422"/>
                  </a:lnTo>
                  <a:lnTo>
                    <a:pt x="612" y="3390"/>
                  </a:lnTo>
                  <a:lnTo>
                    <a:pt x="577" y="3357"/>
                  </a:lnTo>
                  <a:lnTo>
                    <a:pt x="544" y="3323"/>
                  </a:lnTo>
                  <a:lnTo>
                    <a:pt x="511" y="3288"/>
                  </a:lnTo>
                  <a:lnTo>
                    <a:pt x="479" y="3253"/>
                  </a:lnTo>
                  <a:lnTo>
                    <a:pt x="447" y="3217"/>
                  </a:lnTo>
                  <a:lnTo>
                    <a:pt x="416" y="3179"/>
                  </a:lnTo>
                  <a:lnTo>
                    <a:pt x="387" y="3142"/>
                  </a:lnTo>
                  <a:lnTo>
                    <a:pt x="357" y="3103"/>
                  </a:lnTo>
                  <a:lnTo>
                    <a:pt x="330" y="3063"/>
                  </a:lnTo>
                  <a:lnTo>
                    <a:pt x="302" y="3022"/>
                  </a:lnTo>
                  <a:lnTo>
                    <a:pt x="276" y="2980"/>
                  </a:lnTo>
                  <a:lnTo>
                    <a:pt x="251" y="2938"/>
                  </a:lnTo>
                  <a:lnTo>
                    <a:pt x="227" y="2895"/>
                  </a:lnTo>
                  <a:lnTo>
                    <a:pt x="204" y="2851"/>
                  </a:lnTo>
                  <a:lnTo>
                    <a:pt x="183" y="2806"/>
                  </a:lnTo>
                  <a:lnTo>
                    <a:pt x="162" y="2760"/>
                  </a:lnTo>
                  <a:lnTo>
                    <a:pt x="142" y="2713"/>
                  </a:lnTo>
                  <a:lnTo>
                    <a:pt x="107" y="2618"/>
                  </a:lnTo>
                  <a:lnTo>
                    <a:pt x="76" y="2522"/>
                  </a:lnTo>
                  <a:lnTo>
                    <a:pt x="51" y="2425"/>
                  </a:lnTo>
                  <a:lnTo>
                    <a:pt x="32" y="2329"/>
                  </a:lnTo>
                  <a:lnTo>
                    <a:pt x="16" y="2232"/>
                  </a:lnTo>
                  <a:lnTo>
                    <a:pt x="6" y="2136"/>
                  </a:lnTo>
                  <a:lnTo>
                    <a:pt x="1" y="2039"/>
                  </a:lnTo>
                  <a:lnTo>
                    <a:pt x="0" y="1942"/>
                  </a:lnTo>
                  <a:lnTo>
                    <a:pt x="4" y="1846"/>
                  </a:lnTo>
                  <a:lnTo>
                    <a:pt x="13" y="1751"/>
                  </a:lnTo>
                  <a:lnTo>
                    <a:pt x="26" y="1656"/>
                  </a:lnTo>
                  <a:lnTo>
                    <a:pt x="45" y="1562"/>
                  </a:lnTo>
                  <a:lnTo>
                    <a:pt x="67" y="1470"/>
                  </a:lnTo>
                  <a:lnTo>
                    <a:pt x="94" y="1378"/>
                  </a:lnTo>
                  <a:lnTo>
                    <a:pt x="124" y="1289"/>
                  </a:lnTo>
                  <a:lnTo>
                    <a:pt x="160" y="1201"/>
                  </a:lnTo>
                  <a:lnTo>
                    <a:pt x="199" y="1114"/>
                  </a:lnTo>
                  <a:lnTo>
                    <a:pt x="243" y="1029"/>
                  </a:lnTo>
                  <a:lnTo>
                    <a:pt x="290" y="947"/>
                  </a:lnTo>
                  <a:lnTo>
                    <a:pt x="341" y="867"/>
                  </a:lnTo>
                  <a:lnTo>
                    <a:pt x="397" y="790"/>
                  </a:lnTo>
                  <a:lnTo>
                    <a:pt x="455" y="714"/>
                  </a:lnTo>
                  <a:lnTo>
                    <a:pt x="518" y="642"/>
                  </a:lnTo>
                  <a:lnTo>
                    <a:pt x="585" y="572"/>
                  </a:lnTo>
                  <a:lnTo>
                    <a:pt x="655" y="506"/>
                  </a:lnTo>
                  <a:lnTo>
                    <a:pt x="728" y="443"/>
                  </a:lnTo>
                  <a:lnTo>
                    <a:pt x="805" y="384"/>
                  </a:lnTo>
                  <a:lnTo>
                    <a:pt x="886" y="328"/>
                  </a:lnTo>
                  <a:lnTo>
                    <a:pt x="969" y="274"/>
                  </a:lnTo>
                  <a:lnTo>
                    <a:pt x="1056" y="227"/>
                  </a:lnTo>
                  <a:lnTo>
                    <a:pt x="1146" y="182"/>
                  </a:lnTo>
                  <a:lnTo>
                    <a:pt x="1240" y="142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sz="1600"/>
            </a:p>
          </p:txBody>
        </p:sp>
      </p:grpSp>
      <p:sp>
        <p:nvSpPr>
          <p:cNvPr id="103" name="Oval 272"/>
          <p:cNvSpPr/>
          <p:nvPr/>
        </p:nvSpPr>
        <p:spPr bwMode="auto">
          <a:xfrm flipH="1" flipV="1">
            <a:off x="4303115" y="2028972"/>
            <a:ext cx="104622" cy="66009"/>
          </a:xfrm>
          <a:prstGeom prst="ellipse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30000"/>
                </a:schemeClr>
              </a:gs>
              <a:gs pos="100000">
                <a:schemeClr val="accent1">
                  <a:tint val="23500"/>
                  <a:satMod val="160000"/>
                  <a:alpha val="41000"/>
                </a:schemeClr>
              </a:gs>
              <a:gs pos="100000">
                <a:schemeClr val="accent1">
                  <a:tint val="23500"/>
                  <a:satMod val="160000"/>
                  <a:alpha val="0"/>
                </a:schemeClr>
              </a:gs>
            </a:gsLst>
            <a:lin ang="5400000" scaled="1"/>
          </a:gradFill>
          <a:ln>
            <a:noFill/>
          </a:ln>
          <a:effectLst>
            <a:outerShdw blurRad="114300" sx="104000" sy="104000" algn="ct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nb-NO" sz="160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04" name="TextBox 103"/>
          <p:cNvSpPr txBox="1"/>
          <p:nvPr>
            <p:custDataLst>
              <p:tags r:id="rId5"/>
            </p:custDataLst>
          </p:nvPr>
        </p:nvSpPr>
        <p:spPr>
          <a:xfrm>
            <a:off x="4634645" y="2061019"/>
            <a:ext cx="400929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신종인플루엔자</a:t>
            </a:r>
            <a:r>
              <a:rPr lang="en-US" altLang="ko-KR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(2009) 18,500</a:t>
            </a: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명 사망</a:t>
            </a:r>
            <a:r>
              <a:rPr lang="en-US" altLang="ko-KR" sz="1200" dirty="0" smtClean="0">
                <a:solidFill>
                  <a:srgbClr val="FF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1200" dirty="0" smtClean="0">
                <a:solidFill>
                  <a:srgbClr val="FF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국내 </a:t>
            </a:r>
            <a:r>
              <a:rPr lang="en-US" altLang="ko-KR" sz="1200" dirty="0" smtClean="0">
                <a:solidFill>
                  <a:srgbClr val="FF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270</a:t>
            </a:r>
            <a:r>
              <a:rPr lang="ko-KR" altLang="en-US" sz="1200" dirty="0" smtClean="0">
                <a:solidFill>
                  <a:srgbClr val="FF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명 사망</a:t>
            </a:r>
            <a:r>
              <a:rPr lang="en-US" altLang="ko-KR" sz="1200" dirty="0" smtClean="0">
                <a:solidFill>
                  <a:srgbClr val="FF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endParaRPr lang="en-US" sz="1200" dirty="0">
              <a:solidFill>
                <a:srgbClr val="FF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05" name="TextBox 104"/>
          <p:cNvSpPr txBox="1"/>
          <p:nvPr>
            <p:custDataLst>
              <p:tags r:id="rId6"/>
            </p:custDataLst>
          </p:nvPr>
        </p:nvSpPr>
        <p:spPr>
          <a:xfrm>
            <a:off x="4633515" y="2870175"/>
            <a:ext cx="4009292" cy="5109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2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에볼라출혈열</a:t>
            </a:r>
            <a:r>
              <a:rPr lang="en-US" altLang="ko-KR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(2014) 7,178</a:t>
            </a: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명 감염</a:t>
            </a:r>
            <a:r>
              <a:rPr lang="en-US" altLang="ko-KR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3,338</a:t>
            </a: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명 사망</a:t>
            </a:r>
            <a:endParaRPr lang="en-US" altLang="ko-KR" sz="12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(10/1</a:t>
            </a: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일 발표</a:t>
            </a:r>
            <a:r>
              <a:rPr lang="en-US" altLang="ko-KR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endParaRPr lang="en-US" sz="12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06" name="직사각형 105"/>
          <p:cNvSpPr/>
          <p:nvPr/>
        </p:nvSpPr>
        <p:spPr>
          <a:xfrm>
            <a:off x="869430" y="2914750"/>
            <a:ext cx="2852063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200" dirty="0">
                <a:latin typeface="HY견고딕" panose="02030600000101010101" pitchFamily="18" charset="-127"/>
                <a:ea typeface="HY견고딕" panose="02030600000101010101" pitchFamily="18" charset="-127"/>
              </a:rPr>
              <a:t>▶</a:t>
            </a: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 국가적 이슈화 및 대국민 불안 가중</a:t>
            </a:r>
            <a:endParaRPr lang="en-US" altLang="ko-KR" sz="12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▶ 「특정지역 존폐</a:t>
            </a:r>
            <a:r>
              <a:rPr lang="en-US" altLang="ko-KR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存廢</a:t>
            </a:r>
            <a:r>
              <a:rPr lang="en-US" altLang="ko-KR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시대」 종료</a:t>
            </a:r>
            <a:endParaRPr lang="ko-KR" altLang="en-US" sz="12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721381" y="3933056"/>
            <a:ext cx="782426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증상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유입경로 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不明상태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현안질병 위주의 연구와 사후대응으로 일관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국가비축 의약품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백신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수급 불안정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올 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2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월 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타미플루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부족 사태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노출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감염병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위기대응 유관기관 간의 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범부처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보건재난 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안전망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’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부실 상태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1043507" y="5518662"/>
            <a:ext cx="75993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예방적 대응책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비축의약품 확대 등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20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범부처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긴급협조체제」</a:t>
            </a:r>
            <a:endParaRPr lang="en-US" altLang="ko-KR" sz="2000" dirty="0" smtClean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사전 시스템 구</a:t>
            </a:r>
            <a:r>
              <a:rPr lang="ko-KR" altLang="en-US" sz="2000" dirty="0">
                <a:latin typeface="HY견고딕" panose="02030600000101010101" pitchFamily="18" charset="-127"/>
                <a:ea typeface="HY견고딕" panose="02030600000101010101" pitchFamily="18" charset="-127"/>
              </a:rPr>
              <a:t>축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강</a:t>
            </a:r>
            <a:r>
              <a:rPr lang="ko-KR" altLang="en-US" sz="2000" dirty="0">
                <a:latin typeface="HY견고딕" panose="02030600000101010101" pitchFamily="18" charset="-127"/>
                <a:ea typeface="HY견고딕" panose="02030600000101010101" pitchFamily="18" charset="-127"/>
              </a:rPr>
              <a:t>화</a:t>
            </a:r>
          </a:p>
        </p:txBody>
      </p:sp>
      <p:grpSp>
        <p:nvGrpSpPr>
          <p:cNvPr id="83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84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85" name="TextBox 84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12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12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86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8" name="그림 87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82" name="오른쪽 화살표 81"/>
          <p:cNvSpPr/>
          <p:nvPr/>
        </p:nvSpPr>
        <p:spPr>
          <a:xfrm>
            <a:off x="614449" y="5661248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15488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그림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3688" y="3536183"/>
            <a:ext cx="4703049" cy="2640943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944684" y="472875"/>
            <a:ext cx="7585412" cy="4370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8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요양병원 실태 및 사고재발 대책」 </a:t>
            </a:r>
            <a:r>
              <a:rPr lang="ko-KR" altLang="en-US" sz="28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sz="28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76230" y="1171939"/>
            <a:ext cx="832630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지난 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5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월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장성요양병원 화재참사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예견된 재앙」이자 「인재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人災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사고」</a:t>
            </a:r>
            <a:endParaRPr lang="en-US" altLang="ko-KR" sz="1400" b="1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화재 및 대피의 취약성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인력배치의 위법성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근로기준법 위반 등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총체적 부실</a:t>
            </a:r>
            <a:endParaRPr lang="en-US" altLang="ko-KR" sz="1600" b="1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보건복지부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요양병원 관리업무는 지방 위임사무 이유로 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실태점검 소홀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’</a:t>
            </a:r>
          </a:p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전국 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1,265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개 요양병원 대상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死後藥方文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’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격 전수조사</a:t>
            </a:r>
            <a:r>
              <a:rPr lang="en-US" altLang="ko-KR" sz="14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400" b="1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소방방재청</a:t>
            </a:r>
            <a:r>
              <a:rPr lang="ko-KR" altLang="en-US" sz="14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합동</a:t>
            </a:r>
            <a:r>
              <a:rPr lang="en-US" altLang="ko-KR" sz="14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결과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’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14.8)</a:t>
            </a:r>
          </a:p>
          <a:p>
            <a:pPr>
              <a:lnSpc>
                <a:spcPct val="150000"/>
              </a:lnSpc>
            </a:pP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① 소방</a:t>
            </a: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971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건</a:t>
            </a: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) 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및 건축</a:t>
            </a: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276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건</a:t>
            </a: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), 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의료법</a:t>
            </a: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198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건</a:t>
            </a: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) 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등 총 </a:t>
            </a: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1600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여건의 위반사실 지적</a:t>
            </a:r>
            <a:endParaRPr lang="en-US" altLang="ko-KR" sz="14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② 안전점검결과</a:t>
            </a: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50%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에 달하는 </a:t>
            </a:r>
            <a:r>
              <a:rPr lang="en-US" altLang="ko-KR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619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개의 요양병원이 부적합 판정 받아</a:t>
            </a:r>
            <a:endParaRPr lang="en-US" altLang="ko-KR" sz="14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95145" y="5614719"/>
            <a:ext cx="832630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시설기준 등 안전관련  규제  강화」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는 당연하나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</a:p>
          <a:p>
            <a:pPr>
              <a:lnSpc>
                <a:spcPct val="150000"/>
              </a:lnSpc>
            </a:pP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 정부와 자치단체의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평상시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관리  철저와  </a:t>
            </a:r>
            <a:r>
              <a:rPr lang="ko-KR" altLang="en-US" sz="20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지원시스템」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구축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시급</a:t>
            </a:r>
            <a:endParaRPr lang="ko-KR" altLang="en-US" sz="2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0842" y="3789040"/>
            <a:ext cx="4131518" cy="2298520"/>
          </a:xfrm>
          <a:prstGeom prst="rect">
            <a:avLst/>
          </a:prstGeom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0186" y="3573016"/>
            <a:ext cx="2520280" cy="19294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6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17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12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12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19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1" name="그림 2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22" name="오른쪽 화살표 21"/>
          <p:cNvSpPr/>
          <p:nvPr/>
        </p:nvSpPr>
        <p:spPr>
          <a:xfrm>
            <a:off x="4115212" y="137549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오른쪽 화살표 22"/>
          <p:cNvSpPr/>
          <p:nvPr/>
        </p:nvSpPr>
        <p:spPr>
          <a:xfrm>
            <a:off x="7020272" y="171460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오른쪽 화살표 23"/>
          <p:cNvSpPr/>
          <p:nvPr/>
        </p:nvSpPr>
        <p:spPr>
          <a:xfrm>
            <a:off x="306663" y="5764075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77210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1141486" y="488310"/>
            <a:ext cx="7242754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『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사랑보다 먼저 찾아온 이별 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-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해외입양아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』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93065" y="1195169"/>
            <a:ext cx="803937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전쟁 고아 방지와 가난 때문에 시작한‘해외입양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’</a:t>
            </a:r>
            <a:r>
              <a:rPr lang="ko-KR" altLang="en-US" sz="16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약 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5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만여 명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‘12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 기준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국내는‘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저출산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저입양의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늪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’</a:t>
            </a:r>
            <a:r>
              <a:rPr lang="ko-KR" altLang="en-US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OECD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국가 유일‘해외입양 수출국’ 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정부차원의 과거‘약소국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빈곤국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’시절의 상처회복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치유사업 </a:t>
            </a:r>
            <a:r>
              <a:rPr lang="ko-KR" altLang="en-US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태부족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부실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916835" y="5946772"/>
            <a:ext cx="817197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해외입양아</a:t>
            </a:r>
            <a:r>
              <a:rPr lang="en-US" altLang="ko-KR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정책 재정립 및 모국방문 등 뿌리 찾기 사업 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확대</a:t>
            </a:r>
            <a:endParaRPr lang="ko-KR" altLang="en-US" sz="22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064" y="2780928"/>
            <a:ext cx="2657095" cy="2952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직사각형 2"/>
          <p:cNvSpPr/>
          <p:nvPr/>
        </p:nvSpPr>
        <p:spPr>
          <a:xfrm>
            <a:off x="5004048" y="3030922"/>
            <a:ext cx="3621377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ko-KR" altLang="en-US" sz="1200" dirty="0">
                <a:latin typeface="+mj-ea"/>
                <a:ea typeface="+mj-ea"/>
              </a:rPr>
              <a:t>“그들이 나를 버린 데에는 이유가 있었을 것이다</a:t>
            </a:r>
            <a:r>
              <a:rPr lang="en-US" altLang="ko-KR" sz="1200" dirty="0">
                <a:latin typeface="+mj-ea"/>
                <a:ea typeface="+mj-ea"/>
              </a:rPr>
              <a:t>. </a:t>
            </a:r>
            <a:r>
              <a:rPr lang="ko-KR" altLang="en-US" sz="1200" dirty="0">
                <a:latin typeface="+mj-ea"/>
                <a:ea typeface="+mj-ea"/>
              </a:rPr>
              <a:t>그리고 그것이 나를 버릴 만큼 큰 이유라면 굳이 찾아가서 물어보고 싶은 생각이 없다</a:t>
            </a:r>
            <a:r>
              <a:rPr lang="en-US" altLang="ko-KR" sz="1200" dirty="0">
                <a:latin typeface="+mj-ea"/>
                <a:ea typeface="+mj-ea"/>
              </a:rPr>
              <a:t>. </a:t>
            </a:r>
            <a:endParaRPr lang="en-US" altLang="ko-KR" sz="1200" dirty="0" smtClean="0">
              <a:latin typeface="+mj-ea"/>
              <a:ea typeface="+mj-ea"/>
            </a:endParaRPr>
          </a:p>
          <a:p>
            <a:pPr fontAlgn="base"/>
            <a:endParaRPr lang="en-US" altLang="ko-KR" sz="1200" dirty="0">
              <a:latin typeface="+mj-ea"/>
              <a:ea typeface="+mj-ea"/>
            </a:endParaRPr>
          </a:p>
          <a:p>
            <a:pPr fontAlgn="base"/>
            <a:r>
              <a:rPr lang="ko-KR" altLang="en-US" sz="1200" dirty="0" smtClean="0">
                <a:latin typeface="+mj-ea"/>
                <a:ea typeface="+mj-ea"/>
              </a:rPr>
              <a:t>또 </a:t>
            </a:r>
            <a:r>
              <a:rPr lang="ko-KR" altLang="en-US" sz="1200" dirty="0">
                <a:latin typeface="+mj-ea"/>
                <a:ea typeface="+mj-ea"/>
              </a:rPr>
              <a:t>나의 엄마가 미혼모였을 가능성이 크기 때문에</a:t>
            </a:r>
            <a:r>
              <a:rPr lang="en-US" altLang="ko-KR" sz="1200" dirty="0">
                <a:latin typeface="+mj-ea"/>
                <a:ea typeface="+mj-ea"/>
              </a:rPr>
              <a:t>, </a:t>
            </a:r>
            <a:r>
              <a:rPr lang="ko-KR" altLang="en-US" sz="1200" dirty="0">
                <a:latin typeface="+mj-ea"/>
                <a:ea typeface="+mj-ea"/>
              </a:rPr>
              <a:t>내가 찾아간다 해도 그녀에게 상처만 줄 것이다</a:t>
            </a:r>
            <a:r>
              <a:rPr lang="en-US" altLang="ko-KR" sz="1200" dirty="0">
                <a:latin typeface="+mj-ea"/>
                <a:ea typeface="+mj-ea"/>
              </a:rPr>
              <a:t>. </a:t>
            </a:r>
            <a:r>
              <a:rPr lang="ko-KR" altLang="en-US" sz="1200" dirty="0">
                <a:latin typeface="+mj-ea"/>
                <a:ea typeface="+mj-ea"/>
              </a:rPr>
              <a:t>그래서 찾고 싶지 않다</a:t>
            </a:r>
            <a:r>
              <a:rPr lang="en-US" altLang="ko-KR" sz="1200" dirty="0">
                <a:latin typeface="+mj-ea"/>
                <a:ea typeface="+mj-ea"/>
              </a:rPr>
              <a:t>. </a:t>
            </a:r>
            <a:endParaRPr lang="en-US" altLang="ko-KR" sz="1200" dirty="0" smtClean="0">
              <a:latin typeface="+mj-ea"/>
              <a:ea typeface="+mj-ea"/>
            </a:endParaRPr>
          </a:p>
          <a:p>
            <a:pPr fontAlgn="base"/>
            <a:endParaRPr lang="en-US" altLang="ko-KR" sz="1200" dirty="0">
              <a:latin typeface="+mj-ea"/>
              <a:ea typeface="+mj-ea"/>
            </a:endParaRPr>
          </a:p>
          <a:p>
            <a:pPr fontAlgn="base"/>
            <a:r>
              <a:rPr lang="ko-KR" altLang="en-US" sz="1200" dirty="0" smtClean="0">
                <a:latin typeface="+mj-ea"/>
                <a:ea typeface="+mj-ea"/>
              </a:rPr>
              <a:t>그러나</a:t>
            </a:r>
            <a:r>
              <a:rPr lang="en-US" altLang="ko-KR" sz="1200" dirty="0">
                <a:latin typeface="+mj-ea"/>
                <a:ea typeface="+mj-ea"/>
              </a:rPr>
              <a:t>, </a:t>
            </a:r>
            <a:r>
              <a:rPr lang="ko-KR" altLang="en-US" sz="1200" dirty="0">
                <a:latin typeface="+mj-ea"/>
                <a:ea typeface="+mj-ea"/>
              </a:rPr>
              <a:t>한국과 엄마에 대한 그리움과 쓸쓸함은 항상 간직하고 있다”</a:t>
            </a:r>
          </a:p>
          <a:p>
            <a:pPr fontAlgn="base"/>
            <a:endParaRPr lang="en-US" altLang="ko-KR" sz="1200" dirty="0" smtClean="0">
              <a:latin typeface="+mj-ea"/>
              <a:ea typeface="+mj-ea"/>
            </a:endParaRPr>
          </a:p>
          <a:p>
            <a:pPr fontAlgn="base"/>
            <a:r>
              <a:rPr lang="en-US" altLang="ko-KR" sz="1200" b="1" dirty="0" smtClean="0">
                <a:latin typeface="+mj-ea"/>
                <a:ea typeface="+mj-ea"/>
              </a:rPr>
              <a:t>&lt;</a:t>
            </a:r>
            <a:r>
              <a:rPr lang="ko-KR" altLang="en-US" sz="1200" b="1" dirty="0" smtClean="0">
                <a:latin typeface="+mj-ea"/>
                <a:ea typeface="+mj-ea"/>
              </a:rPr>
              <a:t>노르웨이 </a:t>
            </a:r>
            <a:r>
              <a:rPr lang="ko-KR" altLang="en-US" sz="1200" b="1" dirty="0">
                <a:latin typeface="+mj-ea"/>
                <a:ea typeface="+mj-ea"/>
              </a:rPr>
              <a:t>입양아 인터뷰 중에서</a:t>
            </a:r>
            <a:r>
              <a:rPr lang="en-US" altLang="ko-KR" sz="1200" b="1" dirty="0">
                <a:latin typeface="+mj-ea"/>
                <a:ea typeface="+mj-ea"/>
              </a:rPr>
              <a:t>&gt; </a:t>
            </a:r>
            <a:endParaRPr lang="ko-KR" altLang="en-US" sz="1200" b="1" dirty="0">
              <a:latin typeface="+mj-ea"/>
              <a:ea typeface="+mj-ea"/>
            </a:endParaRPr>
          </a:p>
        </p:txBody>
      </p:sp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9996" y="2924944"/>
            <a:ext cx="1623093" cy="2520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16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12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12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18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그림 1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21" name="오른쪽 화살표 20"/>
          <p:cNvSpPr/>
          <p:nvPr/>
        </p:nvSpPr>
        <p:spPr>
          <a:xfrm>
            <a:off x="5713026" y="137549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오른쪽 화살표 21"/>
          <p:cNvSpPr/>
          <p:nvPr/>
        </p:nvSpPr>
        <p:spPr>
          <a:xfrm>
            <a:off x="3846905" y="175922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오른쪽 화살표 22"/>
          <p:cNvSpPr/>
          <p:nvPr/>
        </p:nvSpPr>
        <p:spPr>
          <a:xfrm>
            <a:off x="6859119" y="212707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직사각형 1"/>
          <p:cNvSpPr/>
          <p:nvPr/>
        </p:nvSpPr>
        <p:spPr>
          <a:xfrm>
            <a:off x="1043608" y="3861048"/>
            <a:ext cx="2016224" cy="21602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오른쪽 화살표 23"/>
          <p:cNvSpPr/>
          <p:nvPr/>
        </p:nvSpPr>
        <p:spPr>
          <a:xfrm>
            <a:off x="466915" y="6103258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7146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1235050" y="394860"/>
            <a:ext cx="7256214" cy="4124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altLang="ko-KR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『</a:t>
            </a:r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봉사와 기여</a:t>
            </a:r>
            <a:r>
              <a:rPr lang="en-US" altLang="ko-KR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나눔과 기부 문화  확산</a:t>
            </a:r>
            <a:r>
              <a:rPr lang="en-US" altLang="ko-KR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』 </a:t>
            </a:r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sz="26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82111" y="1056521"/>
            <a:ext cx="803937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최근「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나눔규모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」크게 증가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생활 속 정착은 미흡 </a:t>
            </a:r>
            <a:r>
              <a:rPr lang="ko-KR" altLang="en-US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세계 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45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위 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‘12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「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나눔문화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」확산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정착 위한「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나눔기본법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」보유 </a:t>
            </a:r>
            <a:r>
              <a:rPr lang="ko-KR" altLang="en-US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선진국가의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척도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- 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①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노블레스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오블리주의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진정성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사회적 인정에 인색한 국민여론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- 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②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기부금 모집단체와 기부금 사용의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객관성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투명성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부족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신뢰 저하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427638" y="5773179"/>
            <a:ext cx="850589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관련법 「</a:t>
            </a:r>
            <a:r>
              <a:rPr lang="ko-KR" altLang="en-US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사회복지공동모금회법</a:t>
            </a:r>
            <a:r>
              <a:rPr lang="en-US" altLang="ko-KR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자원봉사활동기본법」의 사전 조율 통한</a:t>
            </a:r>
            <a:endParaRPr lang="en-US" altLang="ko-KR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 『</a:t>
            </a:r>
            <a:r>
              <a:rPr lang="ko-KR" altLang="en-US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나눔기본법</a:t>
            </a:r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』 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제정 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및 </a:t>
            </a:r>
            <a:r>
              <a:rPr lang="ko-KR" altLang="en-US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나눔기부문화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활성화 위한 종합대책 추진</a:t>
            </a:r>
            <a:endParaRPr lang="ko-KR" alt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" name="모서리가 둥근 직사각형 1"/>
          <p:cNvSpPr/>
          <p:nvPr/>
        </p:nvSpPr>
        <p:spPr>
          <a:xfrm>
            <a:off x="2134175" y="3201542"/>
            <a:ext cx="1440160" cy="16947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altLang="ko-KR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60</a:t>
            </a:r>
            <a:endParaRPr lang="ko-KR" altLang="en-US" sz="1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5" name="모서리가 둥근 직사각형 14"/>
          <p:cNvSpPr/>
          <p:nvPr/>
        </p:nvSpPr>
        <p:spPr>
          <a:xfrm>
            <a:off x="2134175" y="2907012"/>
            <a:ext cx="1440160" cy="16947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altLang="ko-KR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60</a:t>
            </a:r>
            <a:endParaRPr lang="ko-KR" altLang="en-US" sz="1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6" name="모서리가 둥근 직사각형 15"/>
          <p:cNvSpPr/>
          <p:nvPr/>
        </p:nvSpPr>
        <p:spPr>
          <a:xfrm>
            <a:off x="2134175" y="3474485"/>
            <a:ext cx="1337794" cy="16947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altLang="ko-KR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58</a:t>
            </a:r>
            <a:endParaRPr lang="ko-KR" altLang="en-US" sz="1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7" name="모서리가 둥근 직사각형 16"/>
          <p:cNvSpPr/>
          <p:nvPr/>
        </p:nvSpPr>
        <p:spPr>
          <a:xfrm>
            <a:off x="2134175" y="3740666"/>
            <a:ext cx="1337794" cy="16947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altLang="ko-KR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57</a:t>
            </a:r>
            <a:endParaRPr lang="ko-KR" altLang="en-US" sz="1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8" name="모서리가 둥근 직사각형 17"/>
          <p:cNvSpPr/>
          <p:nvPr/>
        </p:nvSpPr>
        <p:spPr>
          <a:xfrm>
            <a:off x="2134175" y="4027037"/>
            <a:ext cx="1337794" cy="16947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altLang="ko-KR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57</a:t>
            </a:r>
            <a:endParaRPr lang="ko-KR" altLang="en-US" sz="1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9" name="모서리가 둥근 직사각형 18"/>
          <p:cNvSpPr/>
          <p:nvPr/>
        </p:nvSpPr>
        <p:spPr>
          <a:xfrm>
            <a:off x="2134175" y="4287528"/>
            <a:ext cx="1157605" cy="16947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altLang="ko-KR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53</a:t>
            </a:r>
            <a:endParaRPr lang="ko-KR" altLang="en-US" sz="1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0" name="모서리가 둥근 직사각형 19"/>
          <p:cNvSpPr/>
          <p:nvPr/>
        </p:nvSpPr>
        <p:spPr>
          <a:xfrm>
            <a:off x="2134175" y="4568164"/>
            <a:ext cx="1085598" cy="16947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altLang="ko-KR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52</a:t>
            </a:r>
            <a:endParaRPr lang="ko-KR" altLang="en-US" sz="1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1" name="모서리가 둥근 직사각형 20"/>
          <p:cNvSpPr/>
          <p:nvPr/>
        </p:nvSpPr>
        <p:spPr>
          <a:xfrm>
            <a:off x="2134175" y="4844183"/>
            <a:ext cx="1013589" cy="16947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altLang="ko-KR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51</a:t>
            </a:r>
            <a:endParaRPr lang="ko-KR" altLang="en-US" sz="1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2" name="모서리가 둥근 직사각형 21"/>
          <p:cNvSpPr/>
          <p:nvPr/>
        </p:nvSpPr>
        <p:spPr>
          <a:xfrm>
            <a:off x="2134175" y="5116233"/>
            <a:ext cx="947058" cy="16947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altLang="ko-KR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50</a:t>
            </a:r>
            <a:endParaRPr lang="ko-KR" altLang="en-US" sz="1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3" name="모서리가 둥근 직사각형 22"/>
          <p:cNvSpPr/>
          <p:nvPr/>
        </p:nvSpPr>
        <p:spPr>
          <a:xfrm>
            <a:off x="2134173" y="5387926"/>
            <a:ext cx="869573" cy="16947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altLang="ko-KR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49</a:t>
            </a:r>
            <a:endParaRPr lang="ko-KR" altLang="en-US" sz="1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4" name="모서리가 둥근 직사각형 23"/>
          <p:cNvSpPr/>
          <p:nvPr/>
        </p:nvSpPr>
        <p:spPr>
          <a:xfrm>
            <a:off x="5570382" y="2907011"/>
            <a:ext cx="800727" cy="196751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altLang="ko-KR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47</a:t>
            </a:r>
            <a:endParaRPr lang="ko-KR" altLang="en-US" sz="1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5" name="모서리가 둥근 직사각형 24"/>
          <p:cNvSpPr/>
          <p:nvPr/>
        </p:nvSpPr>
        <p:spPr>
          <a:xfrm>
            <a:off x="5570382" y="3201542"/>
            <a:ext cx="717444" cy="197156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altLang="ko-KR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45</a:t>
            </a:r>
            <a:endParaRPr lang="ko-KR" altLang="en-US" sz="1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6" name="모서리가 둥근 직사각형 25"/>
          <p:cNvSpPr/>
          <p:nvPr/>
        </p:nvSpPr>
        <p:spPr>
          <a:xfrm>
            <a:off x="5570382" y="3480591"/>
            <a:ext cx="717444" cy="185571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altLang="ko-KR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44</a:t>
            </a:r>
            <a:endParaRPr lang="ko-KR" altLang="en-US" sz="1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7" name="모서리가 둥근 직사각형 26"/>
          <p:cNvSpPr/>
          <p:nvPr/>
        </p:nvSpPr>
        <p:spPr>
          <a:xfrm>
            <a:off x="5570382" y="3740665"/>
            <a:ext cx="603225" cy="19715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altLang="ko-KR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42</a:t>
            </a:r>
            <a:endParaRPr lang="ko-KR" altLang="en-US" sz="1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8" name="모서리가 둥근 직사각형 27"/>
          <p:cNvSpPr/>
          <p:nvPr/>
        </p:nvSpPr>
        <p:spPr>
          <a:xfrm>
            <a:off x="5570382" y="4026911"/>
            <a:ext cx="496563" cy="19715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altLang="ko-KR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40</a:t>
            </a:r>
            <a:endParaRPr lang="ko-KR" altLang="en-US" sz="1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9" name="모서리가 둥근 직사각형 28"/>
          <p:cNvSpPr/>
          <p:nvPr/>
        </p:nvSpPr>
        <p:spPr>
          <a:xfrm>
            <a:off x="5570382" y="4287528"/>
            <a:ext cx="395507" cy="19715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altLang="ko-KR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38</a:t>
            </a:r>
            <a:endParaRPr lang="ko-KR" altLang="en-US" sz="1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0" name="모서리가 둥근 직사각형 29"/>
          <p:cNvSpPr/>
          <p:nvPr/>
        </p:nvSpPr>
        <p:spPr>
          <a:xfrm>
            <a:off x="5570381" y="4567254"/>
            <a:ext cx="395507" cy="191823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altLang="ko-KR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37</a:t>
            </a:r>
            <a:endParaRPr lang="ko-KR" altLang="en-US" sz="1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80893" y="2807500"/>
            <a:ext cx="1217586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호주 </a:t>
            </a:r>
            <a:r>
              <a:rPr lang="en-US" altLang="ko-KR" sz="1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1</a:t>
            </a:r>
          </a:p>
          <a:p>
            <a:pPr algn="r">
              <a:lnSpc>
                <a:spcPct val="150000"/>
              </a:lnSpc>
            </a:pP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아일랜드 </a:t>
            </a:r>
            <a:r>
              <a:rPr lang="en-US" altLang="ko-KR" sz="1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2</a:t>
            </a:r>
          </a:p>
          <a:p>
            <a:pPr algn="r">
              <a:lnSpc>
                <a:spcPct val="150000"/>
              </a:lnSpc>
            </a:pP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캐나다 </a:t>
            </a:r>
            <a:r>
              <a:rPr lang="en-US" altLang="ko-KR" sz="1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3</a:t>
            </a:r>
          </a:p>
          <a:p>
            <a:pPr algn="r">
              <a:lnSpc>
                <a:spcPct val="150000"/>
              </a:lnSpc>
            </a:pP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뉴질랜드 </a:t>
            </a:r>
            <a:r>
              <a:rPr lang="en-US" altLang="ko-KR" sz="1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4</a:t>
            </a:r>
          </a:p>
          <a:p>
            <a:pPr algn="r">
              <a:lnSpc>
                <a:spcPct val="150000"/>
              </a:lnSpc>
            </a:pP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미국 </a:t>
            </a:r>
            <a:r>
              <a:rPr lang="en-US" altLang="ko-KR" sz="1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5</a:t>
            </a:r>
          </a:p>
          <a:p>
            <a:pPr algn="r">
              <a:lnSpc>
                <a:spcPct val="150000"/>
              </a:lnSpc>
            </a:pP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네덜란드 </a:t>
            </a:r>
            <a:r>
              <a:rPr lang="en-US" altLang="ko-KR" sz="1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6</a:t>
            </a:r>
          </a:p>
          <a:p>
            <a:pPr algn="r">
              <a:lnSpc>
                <a:spcPct val="150000"/>
              </a:lnSpc>
            </a:pP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인도네시아 </a:t>
            </a:r>
            <a:r>
              <a:rPr lang="en-US" altLang="ko-KR" sz="1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7</a:t>
            </a:r>
          </a:p>
          <a:p>
            <a:pPr algn="r">
              <a:lnSpc>
                <a:spcPct val="150000"/>
              </a:lnSpc>
            </a:pP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영국 </a:t>
            </a:r>
            <a:r>
              <a:rPr lang="en-US" altLang="ko-KR" sz="1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8</a:t>
            </a:r>
          </a:p>
          <a:p>
            <a:pPr algn="r">
              <a:lnSpc>
                <a:spcPct val="150000"/>
              </a:lnSpc>
            </a:pP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파라과이 </a:t>
            </a:r>
            <a:r>
              <a:rPr lang="en-US" altLang="ko-KR" sz="1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9</a:t>
            </a:r>
          </a:p>
          <a:p>
            <a:pPr algn="r">
              <a:lnSpc>
                <a:spcPct val="150000"/>
              </a:lnSpc>
            </a:pP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덴마크 </a:t>
            </a:r>
            <a:r>
              <a:rPr lang="en-US" altLang="ko-KR" sz="1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10</a:t>
            </a:r>
            <a:r>
              <a:rPr lang="ko-KR" altLang="en-US" sz="1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endParaRPr lang="ko-KR" altLang="en-US" sz="12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028709" y="2807500"/>
            <a:ext cx="1217586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스리랑카 </a:t>
            </a:r>
            <a:r>
              <a:rPr lang="en-US" altLang="ko-KR" sz="1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15</a:t>
            </a:r>
          </a:p>
          <a:p>
            <a:pPr algn="r">
              <a:lnSpc>
                <a:spcPct val="150000"/>
              </a:lnSpc>
            </a:pP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필리핀 </a:t>
            </a:r>
            <a:r>
              <a:rPr lang="en-US" altLang="ko-KR" sz="1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17</a:t>
            </a:r>
            <a:r>
              <a:rPr lang="en-US" altLang="ko-KR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/>
            </a:r>
            <a:br>
              <a:rPr lang="en-US" altLang="ko-KR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</a:b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홍콩 </a:t>
            </a:r>
            <a:r>
              <a:rPr lang="en-US" altLang="ko-KR" sz="1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19</a:t>
            </a:r>
          </a:p>
          <a:p>
            <a:pPr algn="r">
              <a:lnSpc>
                <a:spcPct val="150000"/>
              </a:lnSpc>
            </a:pP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태국 </a:t>
            </a:r>
            <a:r>
              <a:rPr lang="en-US" altLang="ko-KR" sz="1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26</a:t>
            </a:r>
          </a:p>
          <a:p>
            <a:pPr algn="r">
              <a:lnSpc>
                <a:spcPct val="150000"/>
              </a:lnSpc>
            </a:pP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앙골라 </a:t>
            </a:r>
            <a:r>
              <a:rPr lang="en-US" altLang="ko-KR" sz="1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30</a:t>
            </a:r>
          </a:p>
          <a:p>
            <a:pPr algn="r">
              <a:lnSpc>
                <a:spcPct val="150000"/>
              </a:lnSpc>
            </a:pPr>
            <a:r>
              <a:rPr lang="ko-KR" altLang="en-US" sz="12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잠비아</a:t>
            </a: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1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37</a:t>
            </a:r>
          </a:p>
          <a:p>
            <a:pPr algn="r">
              <a:lnSpc>
                <a:spcPct val="150000"/>
              </a:lnSpc>
            </a:pP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캄보디아 </a:t>
            </a:r>
            <a:r>
              <a:rPr lang="en-US" altLang="ko-KR" sz="1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40</a:t>
            </a:r>
          </a:p>
          <a:p>
            <a:pPr algn="r">
              <a:lnSpc>
                <a:spcPct val="150000"/>
              </a:lnSpc>
            </a:pP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수단 </a:t>
            </a:r>
            <a:r>
              <a:rPr lang="en-US" altLang="ko-KR" sz="1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43</a:t>
            </a:r>
          </a:p>
          <a:p>
            <a:pPr algn="r">
              <a:lnSpc>
                <a:spcPct val="150000"/>
              </a:lnSpc>
            </a:pP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가나 </a:t>
            </a:r>
            <a:r>
              <a:rPr lang="en-US" altLang="ko-KR" sz="1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44</a:t>
            </a:r>
          </a:p>
          <a:p>
            <a:pPr algn="r">
              <a:lnSpc>
                <a:spcPct val="150000"/>
              </a:lnSpc>
            </a:pP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한국 </a:t>
            </a:r>
            <a:r>
              <a:rPr lang="en-US" altLang="ko-KR" sz="1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45</a:t>
            </a:r>
            <a:endParaRPr lang="ko-KR" altLang="en-US" sz="12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6148" name="Picture 4" descr="flag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2663" y="2907161"/>
            <a:ext cx="225768" cy="169326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0" name="Picture 6" descr="flag">
            <a:hlinkClick r:id="rId5"/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2663" y="3201543"/>
            <a:ext cx="225768" cy="169326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2" name="Picture 8" descr="flag">
            <a:hlinkClick r:id="rId7"/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2664" y="3467137"/>
            <a:ext cx="235764" cy="176823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4" name="Picture 10" descr="flag">
            <a:hlinkClick r:id="rId9"/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2660" y="3750168"/>
            <a:ext cx="225768" cy="169326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6" name="Picture 12" descr="flag">
            <a:hlinkClick r:id="rId11"/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2464" y="4033785"/>
            <a:ext cx="225967" cy="169475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8" name="Picture 14" descr="flag">
            <a:hlinkClick r:id="rId13"/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2464" y="4287529"/>
            <a:ext cx="235131" cy="176348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60" name="Picture 16" descr="flag">
            <a:hlinkClick r:id="rId15"/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2463" y="4568164"/>
            <a:ext cx="225967" cy="169475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62" name="Picture 18" descr="flag">
            <a:hlinkClick r:id="rId17"/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2463" y="4851822"/>
            <a:ext cx="225967" cy="169475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64" name="Picture 20" descr="flag">
            <a:hlinkClick r:id="rId19"/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2664" y="5116233"/>
            <a:ext cx="225967" cy="169475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66" name="Picture 22" descr="flag">
            <a:hlinkClick r:id="rId21"/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3246" y="5387926"/>
            <a:ext cx="225967" cy="169475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68" name="Picture 24" descr="flag">
            <a:hlinkClick r:id="rId23"/>
          </p:cNvPr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6295" y="2906607"/>
            <a:ext cx="262875" cy="197156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70" name="Picture 26" descr="flag">
            <a:hlinkClick r:id="rId25"/>
          </p:cNvPr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6295" y="3201542"/>
            <a:ext cx="262875" cy="197156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71" name="Picture 27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6295" y="3481177"/>
            <a:ext cx="262875" cy="184986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73" name="Picture 29" descr="flag">
            <a:hlinkClick r:id="rId28"/>
          </p:cNvPr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6295" y="3740667"/>
            <a:ext cx="262875" cy="197156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75" name="Picture 31" descr="flag">
            <a:hlinkClick r:id="rId30"/>
          </p:cNvPr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6295" y="4026913"/>
            <a:ext cx="262875" cy="197156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77" name="Picture 33" descr="flag">
            <a:hlinkClick r:id="rId32"/>
          </p:cNvPr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6295" y="4287530"/>
            <a:ext cx="262875" cy="197156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79" name="Picture 35" descr="flag">
            <a:hlinkClick r:id="rId34"/>
          </p:cNvPr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3408" y="4567255"/>
            <a:ext cx="255762" cy="191822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81" name="Picture 37" descr="flag">
            <a:hlinkClick r:id="rId36"/>
          </p:cNvPr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6295" y="4840648"/>
            <a:ext cx="255762" cy="191822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83" name="Picture 39" descr="flag">
            <a:hlinkClick r:id="rId38"/>
          </p:cNvPr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6295" y="5117298"/>
            <a:ext cx="262875" cy="197156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85" name="Picture 41" descr="flag">
            <a:hlinkClick r:id="rId40"/>
          </p:cNvPr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6295" y="5387927"/>
            <a:ext cx="255762" cy="191822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모서리가 둥근 직사각형 55"/>
          <p:cNvSpPr/>
          <p:nvPr/>
        </p:nvSpPr>
        <p:spPr>
          <a:xfrm>
            <a:off x="5563444" y="4844183"/>
            <a:ext cx="365660" cy="18828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altLang="ko-KR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36</a:t>
            </a:r>
            <a:endParaRPr lang="ko-KR" altLang="en-US" sz="1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0" name="모서리가 둥근 직사각형 9"/>
          <p:cNvSpPr/>
          <p:nvPr/>
        </p:nvSpPr>
        <p:spPr>
          <a:xfrm>
            <a:off x="6257925" y="4639575"/>
            <a:ext cx="2233339" cy="899600"/>
          </a:xfrm>
          <a:prstGeom prst="roundRect">
            <a:avLst/>
          </a:prstGeom>
          <a:solidFill>
            <a:schemeClr val="tx2">
              <a:lumMod val="75000"/>
              <a:alpha val="20000"/>
            </a:schemeClr>
          </a:solidFill>
          <a:ln>
            <a:solidFill>
              <a:schemeClr val="accent1">
                <a:shade val="50000"/>
                <a:alpha val="61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349652" y="4735432"/>
            <a:ext cx="202842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2012</a:t>
            </a:r>
            <a:r>
              <a:rPr lang="ko-KR" altLang="en-US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년 세계기부지수</a:t>
            </a:r>
            <a:r>
              <a:rPr lang="en-US" altLang="ko-KR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(WGI)</a:t>
            </a:r>
          </a:p>
          <a:p>
            <a:pPr algn="ctr"/>
            <a:r>
              <a:rPr lang="ko-KR" altLang="en-US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국가별 순위</a:t>
            </a:r>
            <a:endParaRPr lang="en-US" altLang="ko-KR" sz="10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/>
            <a:endParaRPr lang="en-US" altLang="ko-KR" sz="1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/>
            <a:r>
              <a:rPr lang="ko-KR" altLang="en-US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자료</a:t>
            </a:r>
            <a:r>
              <a:rPr lang="en-US" altLang="ko-KR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: </a:t>
            </a:r>
            <a:r>
              <a:rPr lang="ko-KR" altLang="en-US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영국 자산지원재단</a:t>
            </a:r>
            <a:r>
              <a:rPr lang="en-US" altLang="ko-KR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(CAF)</a:t>
            </a:r>
            <a:endParaRPr lang="ko-KR" altLang="en-US" sz="1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4" name="직사각형 33"/>
          <p:cNvSpPr/>
          <p:nvPr/>
        </p:nvSpPr>
        <p:spPr>
          <a:xfrm>
            <a:off x="4601798" y="5340015"/>
            <a:ext cx="1368947" cy="26529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pSp>
        <p:nvGrpSpPr>
          <p:cNvPr id="59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60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1" name="TextBox 60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12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12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62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4" name="그림 63"/>
          <p:cNvPicPr>
            <a:picLocks noChangeAspect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65" name="오른쪽 화살표 64"/>
          <p:cNvSpPr/>
          <p:nvPr/>
        </p:nvSpPr>
        <p:spPr>
          <a:xfrm>
            <a:off x="5709441" y="123041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6" name="오른쪽 화살표 65"/>
          <p:cNvSpPr/>
          <p:nvPr/>
        </p:nvSpPr>
        <p:spPr>
          <a:xfrm>
            <a:off x="5623599" y="160667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7" name="모서리가 둥근 직사각형 66"/>
          <p:cNvSpPr/>
          <p:nvPr/>
        </p:nvSpPr>
        <p:spPr>
          <a:xfrm>
            <a:off x="5566916" y="5117298"/>
            <a:ext cx="365660" cy="18828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altLang="ko-KR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36</a:t>
            </a:r>
            <a:endParaRPr lang="ko-KR" altLang="en-US" sz="1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68" name="모서리가 둥근 직사각형 67"/>
          <p:cNvSpPr/>
          <p:nvPr/>
        </p:nvSpPr>
        <p:spPr>
          <a:xfrm>
            <a:off x="5566916" y="5378519"/>
            <a:ext cx="365660" cy="18828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altLang="ko-KR" sz="1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36</a:t>
            </a:r>
            <a:endParaRPr lang="ko-KR" altLang="en-US" sz="1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69" name="오른쪽 화살표 68"/>
          <p:cNvSpPr/>
          <p:nvPr/>
        </p:nvSpPr>
        <p:spPr>
          <a:xfrm>
            <a:off x="385588" y="5920068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737136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repeatCount="3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944663" y="500292"/>
            <a:ext cx="7333828" cy="3976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『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장애인 정책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』</a:t>
            </a:r>
            <a:r>
              <a:rPr lang="en-US" altLang="ko-KR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각론화</a:t>
            </a:r>
            <a:r>
              <a:rPr lang="en-US" altLang="ko-KR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다양화</a:t>
            </a:r>
            <a:r>
              <a:rPr lang="en-US" altLang="ko-KR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현장중심화</a:t>
            </a:r>
            <a:endParaRPr lang="en-US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63097" y="1118209"/>
            <a:ext cx="876770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대부분의 선진국과 같이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장애인 비율 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–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전체인구의 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10%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시대 곧 도래    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3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3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백만 명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6.2%)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추정</a:t>
            </a:r>
            <a:endParaRPr lang="en-US" altLang="ko-KR" sz="1600" b="1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우리나라 장애인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시설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지역에서의 여전한 학대와 차별 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험난한 장애인 활동 및 생활</a:t>
            </a:r>
            <a:endParaRPr lang="en-US" altLang="ko-KR" sz="1600" b="1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정부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장애인 관련 주요 정책과 추진에 있어 상대적 홀대상황 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법적 선언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총론에 그침</a:t>
            </a:r>
            <a:endParaRPr lang="en-US" altLang="ko-KR" sz="1600" b="1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교육권</a:t>
            </a:r>
            <a:r>
              <a:rPr lang="en-US" altLang="ko-KR" sz="12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2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일부 의무교육화</a:t>
            </a:r>
            <a:r>
              <a:rPr lang="en-US" altLang="ko-KR" sz="12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보호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장애인등급제 개선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맞춤식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도우미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장애인 시설 </a:t>
            </a:r>
            <a:r>
              <a:rPr lang="ko-KR" altLang="en-US" sz="16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점검단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운영 등 시급 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159642" y="6083264"/>
            <a:ext cx="7662909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공공기관부터 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장애인 시설 및 고용확대 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등 종</a:t>
            </a:r>
            <a:r>
              <a:rPr lang="ko-KR" altLang="en-US" sz="2200" dirty="0">
                <a:latin typeface="HY견고딕" panose="02030600000101010101" pitchFamily="18" charset="-127"/>
                <a:ea typeface="HY견고딕" panose="02030600000101010101" pitchFamily="18" charset="-127"/>
              </a:rPr>
              <a:t>합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대책 강화</a:t>
            </a:r>
            <a:endParaRPr lang="ko-KR" altLang="en-US" sz="22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7172" name="Picture 4" descr="Moped Aus Zusatzzeichen Clip Art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7483647" y="-223838"/>
            <a:ext cx="952500" cy="523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4" name="Picture 6" descr="Moped Aus Zusatzzeichen Clip Art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7483647" y="-71438"/>
            <a:ext cx="952500" cy="523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6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87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88" name="TextBox 87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12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12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89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1" name="그림 9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92" name="오른쪽 화살표 91"/>
          <p:cNvSpPr/>
          <p:nvPr/>
        </p:nvSpPr>
        <p:spPr>
          <a:xfrm>
            <a:off x="6660232" y="127614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5" name="오른쪽 화살표 94"/>
          <p:cNvSpPr/>
          <p:nvPr/>
        </p:nvSpPr>
        <p:spPr>
          <a:xfrm>
            <a:off x="5940152" y="202859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6" name="오른쪽 화살표 95"/>
          <p:cNvSpPr/>
          <p:nvPr/>
        </p:nvSpPr>
        <p:spPr>
          <a:xfrm>
            <a:off x="5535183" y="166125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122" y="2780928"/>
            <a:ext cx="2915499" cy="320248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9469" y="3779020"/>
            <a:ext cx="1966707" cy="2160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그림 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2200" y="3871498"/>
            <a:ext cx="2450351" cy="1975283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7091356" y="2611651"/>
            <a:ext cx="18722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barrier – free)</a:t>
            </a:r>
            <a:endParaRPr lang="ko-KR" altLang="en-US" sz="16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21" name="오른쪽 화살표 20"/>
          <p:cNvSpPr/>
          <p:nvPr/>
        </p:nvSpPr>
        <p:spPr>
          <a:xfrm>
            <a:off x="707706" y="6232054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67156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224" y="5085184"/>
            <a:ext cx="2111413" cy="1659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747853" y="492560"/>
            <a:ext cx="8017017" cy="4370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8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통일대비 </a:t>
            </a:r>
            <a:r>
              <a:rPr lang="ko-KR" altLang="en-US" sz="28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보건복지 대응책 강화</a:t>
            </a:r>
            <a:endParaRPr lang="en-US" sz="28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pSp>
        <p:nvGrpSpPr>
          <p:cNvPr id="23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24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12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12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26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8" name="그림 2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53" name="TextBox 52"/>
          <p:cNvSpPr txBox="1"/>
          <p:nvPr/>
        </p:nvSpPr>
        <p:spPr>
          <a:xfrm>
            <a:off x="455945" y="1465580"/>
            <a:ext cx="8580552" cy="42319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북한의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경우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지속적인 경제난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식량난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에너지난 심화로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보건의료복지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분야의 어려움 가중</a:t>
            </a:r>
            <a:endParaRPr lang="en-US" altLang="ko-KR" sz="16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북한권력 세습체계 변화나 백두산 화산 폭발 등의 천재지변 등 불확실성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불안전성 증대</a:t>
            </a:r>
            <a:endParaRPr lang="en-US" altLang="ko-KR" sz="16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300000"/>
              </a:lnSpc>
            </a:pPr>
            <a:r>
              <a:rPr lang="en-US" altLang="ko-KR" sz="16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&lt;</a:t>
            </a:r>
            <a:r>
              <a:rPr lang="ko-KR" altLang="en-US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검토 대책</a:t>
            </a:r>
            <a:r>
              <a:rPr lang="en-US" altLang="ko-KR" sz="16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&gt;</a:t>
            </a:r>
            <a:r>
              <a:rPr lang="en-US" altLang="ko-KR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- 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근본적</a:t>
            </a:r>
            <a:r>
              <a:rPr lang="en-US" altLang="ko-KR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다각적</a:t>
            </a:r>
            <a:r>
              <a:rPr lang="en-US" altLang="ko-KR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종합적 대책 별도 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마련</a:t>
            </a:r>
            <a:endParaRPr lang="en-US" altLang="ko-KR" sz="1600" spc="-15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① 정부의 통일정책 기조 하에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보건복지분야의 통일대응방안 구체화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각론화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※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旣 수립된 통일대비 북한위기상황에 따른 보건복지대응방안의 발전적 보완 필요</a:t>
            </a:r>
            <a:endParaRPr lang="en-US" altLang="ko-KR" sz="14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>
              <a:lnSpc>
                <a:spcPct val="20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② 식량안보 및 질병으로부터의 보호우선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사람중심의 접근과 방법론 모색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20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③ 북한이탈주민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국내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보호와 북한주민의 보건복지로 이원화하되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이탈주민 보호강화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20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④ 대한민국 국민의 신체적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정신적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사회적 건강 보호 우선 및 남북건강 공동체 구현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20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⑤ 국제기구와의 공조 및 국제협력 네트워크 활성화 구축 등</a:t>
            </a:r>
            <a:endParaRPr lang="en-US" altLang="ko-KR" sz="16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85437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530" y="2848017"/>
            <a:ext cx="2059823" cy="3163024"/>
          </a:xfrm>
          <a:prstGeom prst="rect">
            <a:avLst/>
          </a:prstGeom>
        </p:spPr>
      </p:pic>
      <p:sp>
        <p:nvSpPr>
          <p:cNvPr id="4" name="모서리가 둥근 직사각형 3"/>
          <p:cNvSpPr/>
          <p:nvPr/>
        </p:nvSpPr>
        <p:spPr>
          <a:xfrm>
            <a:off x="2059441" y="5336332"/>
            <a:ext cx="1789218" cy="3080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TextBox 10"/>
          <p:cNvSpPr txBox="1"/>
          <p:nvPr/>
        </p:nvSpPr>
        <p:spPr>
          <a:xfrm>
            <a:off x="944663" y="500292"/>
            <a:ext cx="7333828" cy="3976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『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장애인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노인 보조기구 서비스정책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』</a:t>
            </a:r>
            <a:r>
              <a:rPr lang="en-US" altLang="ko-KR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8407" y="1201680"/>
            <a:ext cx="847032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우리나라 장애인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노인 보조기구의 산업구조 </a:t>
            </a:r>
            <a:r>
              <a:rPr lang="ko-KR" altLang="en-US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선진국에 비해 매우 취약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전동휠체어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전동스쿠터 국내제조업체수 각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5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3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 </a:t>
            </a:r>
            <a:r>
              <a:rPr lang="ko-KR" altLang="en-US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중소기업 수준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수입업체는 전동휠체어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8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(3,170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대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),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전동스쿠터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7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(7,067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대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b="1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年수입량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4.2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배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더 큰 문제는 보조기구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A/S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센터업무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지자체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담당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복지부 무관심 </a:t>
            </a:r>
            <a:r>
              <a:rPr lang="ko-KR" altLang="en-US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숫자도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태부족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438407" y="6083264"/>
            <a:ext cx="8767709" cy="4626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선진국형 장애인</a:t>
            </a:r>
            <a:r>
              <a:rPr lang="en-US" altLang="ko-KR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노인 보조기기 생산</a:t>
            </a:r>
            <a:r>
              <a:rPr lang="en-US" altLang="ko-KR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보급 및 사후관리 체계」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조속 추진</a:t>
            </a:r>
            <a:endParaRPr lang="ko-KR" altLang="en-US" sz="19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383648" y="3209413"/>
            <a:ext cx="864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서울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1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23</a:t>
            </a:r>
            <a:endParaRPr lang="ko-KR" altLang="en-US" sz="14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4" name="Oval 29"/>
          <p:cNvSpPr/>
          <p:nvPr/>
        </p:nvSpPr>
        <p:spPr>
          <a:xfrm>
            <a:off x="1715154" y="3564435"/>
            <a:ext cx="98474" cy="68981"/>
          </a:xfrm>
          <a:prstGeom prst="ellipse">
            <a:avLst/>
          </a:prstGeom>
          <a:gradFill flip="none" rotWithShape="1">
            <a:gsLst>
              <a:gs pos="0">
                <a:schemeClr val="tx1">
                  <a:alpha val="47000"/>
                </a:schemeClr>
              </a:gs>
              <a:gs pos="100000">
                <a:schemeClr val="accent1">
                  <a:tint val="50000"/>
                  <a:shade val="100000"/>
                  <a:satMod val="350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5" name="Isosceles Triangle 1"/>
          <p:cNvSpPr/>
          <p:nvPr/>
        </p:nvSpPr>
        <p:spPr>
          <a:xfrm rot="10800000">
            <a:off x="1697138" y="3450877"/>
            <a:ext cx="134506" cy="148048"/>
          </a:xfrm>
          <a:custGeom>
            <a:avLst/>
            <a:gdLst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1118655 w 1296144"/>
              <a:gd name="connsiteY3" fmla="*/ 1368152 h 1368152"/>
              <a:gd name="connsiteX4" fmla="*/ 648072 w 1296144"/>
              <a:gd name="connsiteY4" fmla="*/ 374700 h 1368152"/>
              <a:gd name="connsiteX5" fmla="*/ 0 w 1296144"/>
              <a:gd name="connsiteY5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72 w 1296144"/>
              <a:gd name="connsiteY3" fmla="*/ 374700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1 w 1296144"/>
              <a:gd name="connsiteY3" fmla="*/ 546165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2 w 1296144"/>
              <a:gd name="connsiteY3" fmla="*/ 792628 h 1368152"/>
              <a:gd name="connsiteX4" fmla="*/ 0 w 1296144"/>
              <a:gd name="connsiteY4" fmla="*/ 1368152 h 1368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96144" h="1368152">
                <a:moveTo>
                  <a:pt x="0" y="1368152"/>
                </a:moveTo>
                <a:lnTo>
                  <a:pt x="648072" y="0"/>
                </a:lnTo>
                <a:lnTo>
                  <a:pt x="1296144" y="1368152"/>
                </a:lnTo>
                <a:lnTo>
                  <a:pt x="648082" y="792628"/>
                </a:lnTo>
                <a:lnTo>
                  <a:pt x="0" y="1368152"/>
                </a:lnTo>
                <a:close/>
              </a:path>
            </a:pathLst>
          </a:custGeom>
          <a:solidFill>
            <a:srgbClr val="0D65A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7" name="Oval 29"/>
          <p:cNvSpPr/>
          <p:nvPr/>
        </p:nvSpPr>
        <p:spPr>
          <a:xfrm>
            <a:off x="2547598" y="4893835"/>
            <a:ext cx="98474" cy="68981"/>
          </a:xfrm>
          <a:prstGeom prst="ellipse">
            <a:avLst/>
          </a:prstGeom>
          <a:gradFill flip="none" rotWithShape="1">
            <a:gsLst>
              <a:gs pos="0">
                <a:schemeClr val="tx1">
                  <a:alpha val="47000"/>
                </a:schemeClr>
              </a:gs>
              <a:gs pos="100000">
                <a:schemeClr val="accent1">
                  <a:tint val="50000"/>
                  <a:shade val="100000"/>
                  <a:satMod val="350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8" name="Isosceles Triangle 1"/>
          <p:cNvSpPr/>
          <p:nvPr/>
        </p:nvSpPr>
        <p:spPr>
          <a:xfrm rot="10800000">
            <a:off x="2529582" y="4780277"/>
            <a:ext cx="134506" cy="148048"/>
          </a:xfrm>
          <a:custGeom>
            <a:avLst/>
            <a:gdLst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1118655 w 1296144"/>
              <a:gd name="connsiteY3" fmla="*/ 1368152 h 1368152"/>
              <a:gd name="connsiteX4" fmla="*/ 648072 w 1296144"/>
              <a:gd name="connsiteY4" fmla="*/ 374700 h 1368152"/>
              <a:gd name="connsiteX5" fmla="*/ 0 w 1296144"/>
              <a:gd name="connsiteY5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72 w 1296144"/>
              <a:gd name="connsiteY3" fmla="*/ 374700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1 w 1296144"/>
              <a:gd name="connsiteY3" fmla="*/ 546165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2 w 1296144"/>
              <a:gd name="connsiteY3" fmla="*/ 792628 h 1368152"/>
              <a:gd name="connsiteX4" fmla="*/ 0 w 1296144"/>
              <a:gd name="connsiteY4" fmla="*/ 1368152 h 1368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96144" h="1368152">
                <a:moveTo>
                  <a:pt x="0" y="1368152"/>
                </a:moveTo>
                <a:lnTo>
                  <a:pt x="648072" y="0"/>
                </a:lnTo>
                <a:lnTo>
                  <a:pt x="1296144" y="1368152"/>
                </a:lnTo>
                <a:lnTo>
                  <a:pt x="648082" y="792628"/>
                </a:lnTo>
                <a:lnTo>
                  <a:pt x="0" y="1368152"/>
                </a:lnTo>
                <a:close/>
              </a:path>
            </a:pathLst>
          </a:custGeom>
          <a:solidFill>
            <a:srgbClr val="0D65A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2211168" y="4535039"/>
            <a:ext cx="864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부산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1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2</a:t>
            </a:r>
            <a:endParaRPr lang="ko-KR" altLang="en-US" sz="14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0" name="Oval 29"/>
          <p:cNvSpPr/>
          <p:nvPr/>
        </p:nvSpPr>
        <p:spPr>
          <a:xfrm>
            <a:off x="2273208" y="4500549"/>
            <a:ext cx="98474" cy="68981"/>
          </a:xfrm>
          <a:prstGeom prst="ellipse">
            <a:avLst/>
          </a:prstGeom>
          <a:gradFill flip="none" rotWithShape="1">
            <a:gsLst>
              <a:gs pos="0">
                <a:schemeClr val="tx1">
                  <a:alpha val="47000"/>
                </a:schemeClr>
              </a:gs>
              <a:gs pos="100000">
                <a:schemeClr val="accent1">
                  <a:tint val="50000"/>
                  <a:shade val="100000"/>
                  <a:satMod val="350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3" name="Isosceles Triangle 1"/>
          <p:cNvSpPr/>
          <p:nvPr/>
        </p:nvSpPr>
        <p:spPr>
          <a:xfrm rot="10800000">
            <a:off x="2255192" y="4386991"/>
            <a:ext cx="134506" cy="148048"/>
          </a:xfrm>
          <a:custGeom>
            <a:avLst/>
            <a:gdLst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1118655 w 1296144"/>
              <a:gd name="connsiteY3" fmla="*/ 1368152 h 1368152"/>
              <a:gd name="connsiteX4" fmla="*/ 648072 w 1296144"/>
              <a:gd name="connsiteY4" fmla="*/ 374700 h 1368152"/>
              <a:gd name="connsiteX5" fmla="*/ 0 w 1296144"/>
              <a:gd name="connsiteY5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72 w 1296144"/>
              <a:gd name="connsiteY3" fmla="*/ 374700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1 w 1296144"/>
              <a:gd name="connsiteY3" fmla="*/ 546165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2 w 1296144"/>
              <a:gd name="connsiteY3" fmla="*/ 792628 h 1368152"/>
              <a:gd name="connsiteX4" fmla="*/ 0 w 1296144"/>
              <a:gd name="connsiteY4" fmla="*/ 1368152 h 1368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96144" h="1368152">
                <a:moveTo>
                  <a:pt x="0" y="1368152"/>
                </a:moveTo>
                <a:lnTo>
                  <a:pt x="648072" y="0"/>
                </a:lnTo>
                <a:lnTo>
                  <a:pt x="1296144" y="1368152"/>
                </a:lnTo>
                <a:lnTo>
                  <a:pt x="648082" y="792628"/>
                </a:lnTo>
                <a:lnTo>
                  <a:pt x="0" y="1368152"/>
                </a:lnTo>
                <a:close/>
              </a:path>
            </a:pathLst>
          </a:custGeom>
          <a:solidFill>
            <a:srgbClr val="0D65A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1957650" y="4153238"/>
            <a:ext cx="864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대구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1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16</a:t>
            </a:r>
            <a:endParaRPr lang="ko-KR" altLang="en-US" sz="14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5" name="Oval 29"/>
          <p:cNvSpPr/>
          <p:nvPr/>
        </p:nvSpPr>
        <p:spPr>
          <a:xfrm>
            <a:off x="1467478" y="3490411"/>
            <a:ext cx="98474" cy="68981"/>
          </a:xfrm>
          <a:prstGeom prst="ellipse">
            <a:avLst/>
          </a:prstGeom>
          <a:gradFill flip="none" rotWithShape="1">
            <a:gsLst>
              <a:gs pos="0">
                <a:schemeClr val="tx1">
                  <a:alpha val="47000"/>
                </a:schemeClr>
              </a:gs>
              <a:gs pos="100000">
                <a:schemeClr val="accent1">
                  <a:tint val="50000"/>
                  <a:shade val="100000"/>
                  <a:satMod val="350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6" name="Isosceles Triangle 1"/>
          <p:cNvSpPr/>
          <p:nvPr/>
        </p:nvSpPr>
        <p:spPr>
          <a:xfrm rot="10800000">
            <a:off x="1449462" y="3376853"/>
            <a:ext cx="134506" cy="148048"/>
          </a:xfrm>
          <a:custGeom>
            <a:avLst/>
            <a:gdLst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1118655 w 1296144"/>
              <a:gd name="connsiteY3" fmla="*/ 1368152 h 1368152"/>
              <a:gd name="connsiteX4" fmla="*/ 648072 w 1296144"/>
              <a:gd name="connsiteY4" fmla="*/ 374700 h 1368152"/>
              <a:gd name="connsiteX5" fmla="*/ 0 w 1296144"/>
              <a:gd name="connsiteY5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72 w 1296144"/>
              <a:gd name="connsiteY3" fmla="*/ 374700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1 w 1296144"/>
              <a:gd name="connsiteY3" fmla="*/ 546165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2 w 1296144"/>
              <a:gd name="connsiteY3" fmla="*/ 792628 h 1368152"/>
              <a:gd name="connsiteX4" fmla="*/ 0 w 1296144"/>
              <a:gd name="connsiteY4" fmla="*/ 1368152 h 1368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96144" h="1368152">
                <a:moveTo>
                  <a:pt x="0" y="1368152"/>
                </a:moveTo>
                <a:lnTo>
                  <a:pt x="648072" y="0"/>
                </a:lnTo>
                <a:lnTo>
                  <a:pt x="1296144" y="1368152"/>
                </a:lnTo>
                <a:lnTo>
                  <a:pt x="648082" y="792628"/>
                </a:lnTo>
                <a:lnTo>
                  <a:pt x="0" y="1368152"/>
                </a:lnTo>
                <a:close/>
              </a:path>
            </a:pathLst>
          </a:custGeom>
          <a:solidFill>
            <a:srgbClr val="0D65A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743893" y="3296988"/>
            <a:ext cx="864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인천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1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1</a:t>
            </a:r>
            <a:endParaRPr lang="ko-KR" altLang="en-US" sz="14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8" name="Oval 29"/>
          <p:cNvSpPr/>
          <p:nvPr/>
        </p:nvSpPr>
        <p:spPr>
          <a:xfrm>
            <a:off x="1598664" y="4762210"/>
            <a:ext cx="98474" cy="68981"/>
          </a:xfrm>
          <a:prstGeom prst="ellipse">
            <a:avLst/>
          </a:prstGeom>
          <a:gradFill flip="none" rotWithShape="1">
            <a:gsLst>
              <a:gs pos="0">
                <a:schemeClr val="tx1">
                  <a:alpha val="47000"/>
                </a:schemeClr>
              </a:gs>
              <a:gs pos="100000">
                <a:schemeClr val="accent1">
                  <a:tint val="50000"/>
                  <a:shade val="100000"/>
                  <a:satMod val="350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9" name="Isosceles Triangle 1"/>
          <p:cNvSpPr/>
          <p:nvPr/>
        </p:nvSpPr>
        <p:spPr>
          <a:xfrm rot="10800000">
            <a:off x="1580648" y="4648652"/>
            <a:ext cx="134506" cy="148048"/>
          </a:xfrm>
          <a:custGeom>
            <a:avLst/>
            <a:gdLst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1118655 w 1296144"/>
              <a:gd name="connsiteY3" fmla="*/ 1368152 h 1368152"/>
              <a:gd name="connsiteX4" fmla="*/ 648072 w 1296144"/>
              <a:gd name="connsiteY4" fmla="*/ 374700 h 1368152"/>
              <a:gd name="connsiteX5" fmla="*/ 0 w 1296144"/>
              <a:gd name="connsiteY5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72 w 1296144"/>
              <a:gd name="connsiteY3" fmla="*/ 374700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1 w 1296144"/>
              <a:gd name="connsiteY3" fmla="*/ 546165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2 w 1296144"/>
              <a:gd name="connsiteY3" fmla="*/ 792628 h 1368152"/>
              <a:gd name="connsiteX4" fmla="*/ 0 w 1296144"/>
              <a:gd name="connsiteY4" fmla="*/ 1368152 h 1368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96144" h="1368152">
                <a:moveTo>
                  <a:pt x="0" y="1368152"/>
                </a:moveTo>
                <a:lnTo>
                  <a:pt x="648072" y="0"/>
                </a:lnTo>
                <a:lnTo>
                  <a:pt x="1296144" y="1368152"/>
                </a:lnTo>
                <a:lnTo>
                  <a:pt x="648082" y="792628"/>
                </a:lnTo>
                <a:lnTo>
                  <a:pt x="0" y="1368152"/>
                </a:lnTo>
                <a:close/>
              </a:path>
            </a:pathLst>
          </a:custGeom>
          <a:solidFill>
            <a:srgbClr val="0D65A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833041" y="4565047"/>
            <a:ext cx="864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광주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1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1</a:t>
            </a:r>
            <a:endParaRPr lang="ko-KR" altLang="en-US" sz="14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51" name="Oval 29"/>
          <p:cNvSpPr/>
          <p:nvPr/>
        </p:nvSpPr>
        <p:spPr>
          <a:xfrm>
            <a:off x="1833712" y="4192772"/>
            <a:ext cx="98474" cy="68981"/>
          </a:xfrm>
          <a:prstGeom prst="ellipse">
            <a:avLst/>
          </a:prstGeom>
          <a:gradFill flip="none" rotWithShape="1">
            <a:gsLst>
              <a:gs pos="0">
                <a:schemeClr val="tx1">
                  <a:alpha val="47000"/>
                </a:schemeClr>
              </a:gs>
              <a:gs pos="100000">
                <a:schemeClr val="accent1">
                  <a:tint val="50000"/>
                  <a:shade val="100000"/>
                  <a:satMod val="350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52" name="Isosceles Triangle 1"/>
          <p:cNvSpPr/>
          <p:nvPr/>
        </p:nvSpPr>
        <p:spPr>
          <a:xfrm rot="10800000">
            <a:off x="1815696" y="4079214"/>
            <a:ext cx="134506" cy="148048"/>
          </a:xfrm>
          <a:custGeom>
            <a:avLst/>
            <a:gdLst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1118655 w 1296144"/>
              <a:gd name="connsiteY3" fmla="*/ 1368152 h 1368152"/>
              <a:gd name="connsiteX4" fmla="*/ 648072 w 1296144"/>
              <a:gd name="connsiteY4" fmla="*/ 374700 h 1368152"/>
              <a:gd name="connsiteX5" fmla="*/ 0 w 1296144"/>
              <a:gd name="connsiteY5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72 w 1296144"/>
              <a:gd name="connsiteY3" fmla="*/ 374700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1 w 1296144"/>
              <a:gd name="connsiteY3" fmla="*/ 546165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2 w 1296144"/>
              <a:gd name="connsiteY3" fmla="*/ 792628 h 1368152"/>
              <a:gd name="connsiteX4" fmla="*/ 0 w 1296144"/>
              <a:gd name="connsiteY4" fmla="*/ 1368152 h 1368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96144" h="1368152">
                <a:moveTo>
                  <a:pt x="0" y="1368152"/>
                </a:moveTo>
                <a:lnTo>
                  <a:pt x="648072" y="0"/>
                </a:lnTo>
                <a:lnTo>
                  <a:pt x="1296144" y="1368152"/>
                </a:lnTo>
                <a:lnTo>
                  <a:pt x="648082" y="792628"/>
                </a:lnTo>
                <a:lnTo>
                  <a:pt x="0" y="1368152"/>
                </a:lnTo>
                <a:close/>
              </a:path>
            </a:pathLst>
          </a:custGeom>
          <a:solidFill>
            <a:srgbClr val="0D65A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1507586" y="3845461"/>
            <a:ext cx="864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대전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1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16</a:t>
            </a:r>
            <a:endParaRPr lang="ko-KR" altLang="en-US" sz="14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54" name="Oval 29"/>
          <p:cNvSpPr/>
          <p:nvPr/>
        </p:nvSpPr>
        <p:spPr>
          <a:xfrm>
            <a:off x="2661232" y="4530513"/>
            <a:ext cx="98474" cy="68981"/>
          </a:xfrm>
          <a:prstGeom prst="ellipse">
            <a:avLst/>
          </a:prstGeom>
          <a:gradFill flip="none" rotWithShape="1">
            <a:gsLst>
              <a:gs pos="0">
                <a:schemeClr val="tx1">
                  <a:alpha val="47000"/>
                </a:schemeClr>
              </a:gs>
              <a:gs pos="100000">
                <a:schemeClr val="accent1">
                  <a:tint val="50000"/>
                  <a:shade val="100000"/>
                  <a:satMod val="350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55" name="Isosceles Triangle 1"/>
          <p:cNvSpPr/>
          <p:nvPr/>
        </p:nvSpPr>
        <p:spPr>
          <a:xfrm rot="10800000">
            <a:off x="2643216" y="4416955"/>
            <a:ext cx="134506" cy="148048"/>
          </a:xfrm>
          <a:custGeom>
            <a:avLst/>
            <a:gdLst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1118655 w 1296144"/>
              <a:gd name="connsiteY3" fmla="*/ 1368152 h 1368152"/>
              <a:gd name="connsiteX4" fmla="*/ 648072 w 1296144"/>
              <a:gd name="connsiteY4" fmla="*/ 374700 h 1368152"/>
              <a:gd name="connsiteX5" fmla="*/ 0 w 1296144"/>
              <a:gd name="connsiteY5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72 w 1296144"/>
              <a:gd name="connsiteY3" fmla="*/ 374700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1 w 1296144"/>
              <a:gd name="connsiteY3" fmla="*/ 546165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2 w 1296144"/>
              <a:gd name="connsiteY3" fmla="*/ 792628 h 1368152"/>
              <a:gd name="connsiteX4" fmla="*/ 0 w 1296144"/>
              <a:gd name="connsiteY4" fmla="*/ 1368152 h 1368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96144" h="1368152">
                <a:moveTo>
                  <a:pt x="0" y="1368152"/>
                </a:moveTo>
                <a:lnTo>
                  <a:pt x="648072" y="0"/>
                </a:lnTo>
                <a:lnTo>
                  <a:pt x="1296144" y="1368152"/>
                </a:lnTo>
                <a:lnTo>
                  <a:pt x="648082" y="792628"/>
                </a:lnTo>
                <a:lnTo>
                  <a:pt x="0" y="1368152"/>
                </a:lnTo>
                <a:close/>
              </a:path>
            </a:pathLst>
          </a:custGeom>
          <a:solidFill>
            <a:srgbClr val="0D65A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2630375" y="4315174"/>
            <a:ext cx="864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울산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1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5</a:t>
            </a:r>
            <a:endParaRPr lang="ko-KR" altLang="en-US" sz="14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57" name="Oval 29"/>
          <p:cNvSpPr/>
          <p:nvPr/>
        </p:nvSpPr>
        <p:spPr>
          <a:xfrm>
            <a:off x="1662252" y="3770815"/>
            <a:ext cx="98474" cy="68981"/>
          </a:xfrm>
          <a:prstGeom prst="ellipse">
            <a:avLst/>
          </a:prstGeom>
          <a:gradFill flip="none" rotWithShape="1">
            <a:gsLst>
              <a:gs pos="0">
                <a:schemeClr val="tx1">
                  <a:alpha val="47000"/>
                </a:schemeClr>
              </a:gs>
              <a:gs pos="100000">
                <a:schemeClr val="accent1">
                  <a:tint val="50000"/>
                  <a:shade val="100000"/>
                  <a:satMod val="350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58" name="Isosceles Triangle 1"/>
          <p:cNvSpPr/>
          <p:nvPr/>
        </p:nvSpPr>
        <p:spPr>
          <a:xfrm rot="10800000">
            <a:off x="1644236" y="3657257"/>
            <a:ext cx="134506" cy="148048"/>
          </a:xfrm>
          <a:custGeom>
            <a:avLst/>
            <a:gdLst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1118655 w 1296144"/>
              <a:gd name="connsiteY3" fmla="*/ 1368152 h 1368152"/>
              <a:gd name="connsiteX4" fmla="*/ 648072 w 1296144"/>
              <a:gd name="connsiteY4" fmla="*/ 374700 h 1368152"/>
              <a:gd name="connsiteX5" fmla="*/ 0 w 1296144"/>
              <a:gd name="connsiteY5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72 w 1296144"/>
              <a:gd name="connsiteY3" fmla="*/ 374700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1 w 1296144"/>
              <a:gd name="connsiteY3" fmla="*/ 546165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2 w 1296144"/>
              <a:gd name="connsiteY3" fmla="*/ 792628 h 1368152"/>
              <a:gd name="connsiteX4" fmla="*/ 0 w 1296144"/>
              <a:gd name="connsiteY4" fmla="*/ 1368152 h 1368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96144" h="1368152">
                <a:moveTo>
                  <a:pt x="0" y="1368152"/>
                </a:moveTo>
                <a:lnTo>
                  <a:pt x="648072" y="0"/>
                </a:lnTo>
                <a:lnTo>
                  <a:pt x="1296144" y="1368152"/>
                </a:lnTo>
                <a:lnTo>
                  <a:pt x="648082" y="792628"/>
                </a:lnTo>
                <a:lnTo>
                  <a:pt x="0" y="1368152"/>
                </a:lnTo>
                <a:close/>
              </a:path>
            </a:pathLst>
          </a:custGeom>
          <a:solidFill>
            <a:srgbClr val="0D65A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933374" y="3577392"/>
            <a:ext cx="864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경기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1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7</a:t>
            </a:r>
            <a:endParaRPr lang="ko-KR" altLang="en-US" sz="14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60" name="Oval 29"/>
          <p:cNvSpPr/>
          <p:nvPr/>
        </p:nvSpPr>
        <p:spPr>
          <a:xfrm>
            <a:off x="2280656" y="3378847"/>
            <a:ext cx="98474" cy="68981"/>
          </a:xfrm>
          <a:prstGeom prst="ellipse">
            <a:avLst/>
          </a:prstGeom>
          <a:gradFill flip="none" rotWithShape="1">
            <a:gsLst>
              <a:gs pos="0">
                <a:schemeClr val="tx1">
                  <a:alpha val="47000"/>
                </a:schemeClr>
              </a:gs>
              <a:gs pos="100000">
                <a:schemeClr val="accent1">
                  <a:tint val="50000"/>
                  <a:shade val="100000"/>
                  <a:satMod val="350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61" name="Isosceles Triangle 1"/>
          <p:cNvSpPr/>
          <p:nvPr/>
        </p:nvSpPr>
        <p:spPr>
          <a:xfrm rot="10800000">
            <a:off x="2262640" y="3265289"/>
            <a:ext cx="134506" cy="148048"/>
          </a:xfrm>
          <a:custGeom>
            <a:avLst/>
            <a:gdLst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1118655 w 1296144"/>
              <a:gd name="connsiteY3" fmla="*/ 1368152 h 1368152"/>
              <a:gd name="connsiteX4" fmla="*/ 648072 w 1296144"/>
              <a:gd name="connsiteY4" fmla="*/ 374700 h 1368152"/>
              <a:gd name="connsiteX5" fmla="*/ 0 w 1296144"/>
              <a:gd name="connsiteY5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72 w 1296144"/>
              <a:gd name="connsiteY3" fmla="*/ 374700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1 w 1296144"/>
              <a:gd name="connsiteY3" fmla="*/ 546165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2 w 1296144"/>
              <a:gd name="connsiteY3" fmla="*/ 792628 h 1368152"/>
              <a:gd name="connsiteX4" fmla="*/ 0 w 1296144"/>
              <a:gd name="connsiteY4" fmla="*/ 1368152 h 1368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96144" h="1368152">
                <a:moveTo>
                  <a:pt x="0" y="1368152"/>
                </a:moveTo>
                <a:lnTo>
                  <a:pt x="648072" y="0"/>
                </a:lnTo>
                <a:lnTo>
                  <a:pt x="1296144" y="1368152"/>
                </a:lnTo>
                <a:lnTo>
                  <a:pt x="648082" y="792628"/>
                </a:lnTo>
                <a:lnTo>
                  <a:pt x="0" y="1368152"/>
                </a:lnTo>
                <a:close/>
              </a:path>
            </a:pathLst>
          </a:custGeom>
          <a:solidFill>
            <a:srgbClr val="0D65A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2262639" y="3185424"/>
            <a:ext cx="864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강원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1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6</a:t>
            </a:r>
            <a:endParaRPr lang="ko-KR" altLang="en-US" sz="14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63" name="Oval 29"/>
          <p:cNvSpPr/>
          <p:nvPr/>
        </p:nvSpPr>
        <p:spPr>
          <a:xfrm>
            <a:off x="2010204" y="3770814"/>
            <a:ext cx="98474" cy="68981"/>
          </a:xfrm>
          <a:prstGeom prst="ellipse">
            <a:avLst/>
          </a:prstGeom>
          <a:gradFill flip="none" rotWithShape="1">
            <a:gsLst>
              <a:gs pos="0">
                <a:schemeClr val="tx1">
                  <a:alpha val="47000"/>
                </a:schemeClr>
              </a:gs>
              <a:gs pos="100000">
                <a:schemeClr val="accent1">
                  <a:tint val="50000"/>
                  <a:shade val="100000"/>
                  <a:satMod val="350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64" name="Isosceles Triangle 1"/>
          <p:cNvSpPr/>
          <p:nvPr/>
        </p:nvSpPr>
        <p:spPr>
          <a:xfrm rot="10800000">
            <a:off x="1992188" y="3657256"/>
            <a:ext cx="134506" cy="148048"/>
          </a:xfrm>
          <a:custGeom>
            <a:avLst/>
            <a:gdLst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1118655 w 1296144"/>
              <a:gd name="connsiteY3" fmla="*/ 1368152 h 1368152"/>
              <a:gd name="connsiteX4" fmla="*/ 648072 w 1296144"/>
              <a:gd name="connsiteY4" fmla="*/ 374700 h 1368152"/>
              <a:gd name="connsiteX5" fmla="*/ 0 w 1296144"/>
              <a:gd name="connsiteY5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72 w 1296144"/>
              <a:gd name="connsiteY3" fmla="*/ 374700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1 w 1296144"/>
              <a:gd name="connsiteY3" fmla="*/ 546165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2 w 1296144"/>
              <a:gd name="connsiteY3" fmla="*/ 792628 h 1368152"/>
              <a:gd name="connsiteX4" fmla="*/ 0 w 1296144"/>
              <a:gd name="connsiteY4" fmla="*/ 1368152 h 1368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96144" h="1368152">
                <a:moveTo>
                  <a:pt x="0" y="1368152"/>
                </a:moveTo>
                <a:lnTo>
                  <a:pt x="648072" y="0"/>
                </a:lnTo>
                <a:lnTo>
                  <a:pt x="1296144" y="1368152"/>
                </a:lnTo>
                <a:lnTo>
                  <a:pt x="648082" y="792628"/>
                </a:lnTo>
                <a:lnTo>
                  <a:pt x="0" y="1368152"/>
                </a:lnTo>
                <a:close/>
              </a:path>
            </a:pathLst>
          </a:custGeom>
          <a:solidFill>
            <a:srgbClr val="0D65A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1953086" y="3577391"/>
            <a:ext cx="864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충북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1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7</a:t>
            </a:r>
            <a:endParaRPr lang="ko-KR" altLang="en-US" sz="14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66" name="Oval 29"/>
          <p:cNvSpPr/>
          <p:nvPr/>
        </p:nvSpPr>
        <p:spPr>
          <a:xfrm>
            <a:off x="1558752" y="4227263"/>
            <a:ext cx="98474" cy="68981"/>
          </a:xfrm>
          <a:prstGeom prst="ellipse">
            <a:avLst/>
          </a:prstGeom>
          <a:gradFill flip="none" rotWithShape="1">
            <a:gsLst>
              <a:gs pos="0">
                <a:schemeClr val="tx1">
                  <a:alpha val="47000"/>
                </a:schemeClr>
              </a:gs>
              <a:gs pos="100000">
                <a:schemeClr val="accent1">
                  <a:tint val="50000"/>
                  <a:shade val="100000"/>
                  <a:satMod val="350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67" name="Isosceles Triangle 1"/>
          <p:cNvSpPr/>
          <p:nvPr/>
        </p:nvSpPr>
        <p:spPr>
          <a:xfrm rot="10800000">
            <a:off x="1540736" y="4113705"/>
            <a:ext cx="134506" cy="148048"/>
          </a:xfrm>
          <a:custGeom>
            <a:avLst/>
            <a:gdLst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1118655 w 1296144"/>
              <a:gd name="connsiteY3" fmla="*/ 1368152 h 1368152"/>
              <a:gd name="connsiteX4" fmla="*/ 648072 w 1296144"/>
              <a:gd name="connsiteY4" fmla="*/ 374700 h 1368152"/>
              <a:gd name="connsiteX5" fmla="*/ 0 w 1296144"/>
              <a:gd name="connsiteY5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72 w 1296144"/>
              <a:gd name="connsiteY3" fmla="*/ 374700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1 w 1296144"/>
              <a:gd name="connsiteY3" fmla="*/ 546165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2 w 1296144"/>
              <a:gd name="connsiteY3" fmla="*/ 792628 h 1368152"/>
              <a:gd name="connsiteX4" fmla="*/ 0 w 1296144"/>
              <a:gd name="connsiteY4" fmla="*/ 1368152 h 1368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96144" h="1368152">
                <a:moveTo>
                  <a:pt x="0" y="1368152"/>
                </a:moveTo>
                <a:lnTo>
                  <a:pt x="648072" y="0"/>
                </a:lnTo>
                <a:lnTo>
                  <a:pt x="1296144" y="1368152"/>
                </a:lnTo>
                <a:lnTo>
                  <a:pt x="648082" y="792628"/>
                </a:lnTo>
                <a:lnTo>
                  <a:pt x="0" y="1368152"/>
                </a:lnTo>
                <a:close/>
              </a:path>
            </a:pathLst>
          </a:custGeom>
          <a:solidFill>
            <a:srgbClr val="0D65A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783283" y="4038883"/>
            <a:ext cx="864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충남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1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1</a:t>
            </a:r>
            <a:endParaRPr lang="ko-KR" altLang="en-US" sz="14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69" name="Oval 29"/>
          <p:cNvSpPr/>
          <p:nvPr/>
        </p:nvSpPr>
        <p:spPr>
          <a:xfrm>
            <a:off x="1813731" y="4469063"/>
            <a:ext cx="98474" cy="68981"/>
          </a:xfrm>
          <a:prstGeom prst="ellipse">
            <a:avLst/>
          </a:prstGeom>
          <a:gradFill flip="none" rotWithShape="1">
            <a:gsLst>
              <a:gs pos="0">
                <a:schemeClr val="tx1">
                  <a:alpha val="47000"/>
                </a:schemeClr>
              </a:gs>
              <a:gs pos="100000">
                <a:schemeClr val="accent1">
                  <a:tint val="50000"/>
                  <a:shade val="100000"/>
                  <a:satMod val="350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0" name="Isosceles Triangle 1"/>
          <p:cNvSpPr/>
          <p:nvPr/>
        </p:nvSpPr>
        <p:spPr>
          <a:xfrm rot="10800000">
            <a:off x="1795715" y="4355505"/>
            <a:ext cx="134506" cy="148048"/>
          </a:xfrm>
          <a:custGeom>
            <a:avLst/>
            <a:gdLst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1118655 w 1296144"/>
              <a:gd name="connsiteY3" fmla="*/ 1368152 h 1368152"/>
              <a:gd name="connsiteX4" fmla="*/ 648072 w 1296144"/>
              <a:gd name="connsiteY4" fmla="*/ 374700 h 1368152"/>
              <a:gd name="connsiteX5" fmla="*/ 0 w 1296144"/>
              <a:gd name="connsiteY5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72 w 1296144"/>
              <a:gd name="connsiteY3" fmla="*/ 374700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1 w 1296144"/>
              <a:gd name="connsiteY3" fmla="*/ 546165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2 w 1296144"/>
              <a:gd name="connsiteY3" fmla="*/ 792628 h 1368152"/>
              <a:gd name="connsiteX4" fmla="*/ 0 w 1296144"/>
              <a:gd name="connsiteY4" fmla="*/ 1368152 h 1368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96144" h="1368152">
                <a:moveTo>
                  <a:pt x="0" y="1368152"/>
                </a:moveTo>
                <a:lnTo>
                  <a:pt x="648072" y="0"/>
                </a:lnTo>
                <a:lnTo>
                  <a:pt x="1296144" y="1368152"/>
                </a:lnTo>
                <a:lnTo>
                  <a:pt x="648082" y="792628"/>
                </a:lnTo>
                <a:lnTo>
                  <a:pt x="0" y="1368152"/>
                </a:lnTo>
                <a:close/>
              </a:path>
            </a:pathLst>
          </a:custGeom>
          <a:solidFill>
            <a:srgbClr val="0D65A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098780" y="4291717"/>
            <a:ext cx="864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전북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1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3</a:t>
            </a:r>
            <a:endParaRPr lang="ko-KR" altLang="en-US" sz="14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2" name="Oval 29"/>
          <p:cNvSpPr/>
          <p:nvPr/>
        </p:nvSpPr>
        <p:spPr>
          <a:xfrm>
            <a:off x="1547714" y="5011745"/>
            <a:ext cx="98474" cy="68981"/>
          </a:xfrm>
          <a:prstGeom prst="ellipse">
            <a:avLst/>
          </a:prstGeom>
          <a:gradFill flip="none" rotWithShape="1">
            <a:gsLst>
              <a:gs pos="0">
                <a:schemeClr val="tx1">
                  <a:alpha val="47000"/>
                </a:schemeClr>
              </a:gs>
              <a:gs pos="100000">
                <a:schemeClr val="accent1">
                  <a:tint val="50000"/>
                  <a:shade val="100000"/>
                  <a:satMod val="350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3" name="Isosceles Triangle 1"/>
          <p:cNvSpPr/>
          <p:nvPr/>
        </p:nvSpPr>
        <p:spPr>
          <a:xfrm rot="10800000">
            <a:off x="1529698" y="4898187"/>
            <a:ext cx="134506" cy="148048"/>
          </a:xfrm>
          <a:custGeom>
            <a:avLst/>
            <a:gdLst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1118655 w 1296144"/>
              <a:gd name="connsiteY3" fmla="*/ 1368152 h 1368152"/>
              <a:gd name="connsiteX4" fmla="*/ 648072 w 1296144"/>
              <a:gd name="connsiteY4" fmla="*/ 374700 h 1368152"/>
              <a:gd name="connsiteX5" fmla="*/ 0 w 1296144"/>
              <a:gd name="connsiteY5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72 w 1296144"/>
              <a:gd name="connsiteY3" fmla="*/ 374700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1 w 1296144"/>
              <a:gd name="connsiteY3" fmla="*/ 546165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2 w 1296144"/>
              <a:gd name="connsiteY3" fmla="*/ 792628 h 1368152"/>
              <a:gd name="connsiteX4" fmla="*/ 0 w 1296144"/>
              <a:gd name="connsiteY4" fmla="*/ 1368152 h 1368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96144" h="1368152">
                <a:moveTo>
                  <a:pt x="0" y="1368152"/>
                </a:moveTo>
                <a:lnTo>
                  <a:pt x="648072" y="0"/>
                </a:lnTo>
                <a:lnTo>
                  <a:pt x="1296144" y="1368152"/>
                </a:lnTo>
                <a:lnTo>
                  <a:pt x="648082" y="792628"/>
                </a:lnTo>
                <a:lnTo>
                  <a:pt x="0" y="1368152"/>
                </a:lnTo>
                <a:close/>
              </a:path>
            </a:pathLst>
          </a:custGeom>
          <a:solidFill>
            <a:srgbClr val="0D65A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195344" y="4994799"/>
            <a:ext cx="864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전남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14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6</a:t>
            </a:r>
            <a:endParaRPr lang="ko-KR" altLang="en-US" sz="14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5" name="Oval 29"/>
          <p:cNvSpPr/>
          <p:nvPr/>
        </p:nvSpPr>
        <p:spPr>
          <a:xfrm>
            <a:off x="2347908" y="4044724"/>
            <a:ext cx="98474" cy="68981"/>
          </a:xfrm>
          <a:prstGeom prst="ellipse">
            <a:avLst/>
          </a:prstGeom>
          <a:gradFill flip="none" rotWithShape="1">
            <a:gsLst>
              <a:gs pos="0">
                <a:schemeClr val="tx1">
                  <a:alpha val="47000"/>
                </a:schemeClr>
              </a:gs>
              <a:gs pos="100000">
                <a:schemeClr val="accent1">
                  <a:tint val="50000"/>
                  <a:shade val="100000"/>
                  <a:satMod val="350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6" name="Isosceles Triangle 1"/>
          <p:cNvSpPr/>
          <p:nvPr/>
        </p:nvSpPr>
        <p:spPr>
          <a:xfrm rot="10800000">
            <a:off x="2329892" y="3931166"/>
            <a:ext cx="134506" cy="148048"/>
          </a:xfrm>
          <a:custGeom>
            <a:avLst/>
            <a:gdLst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1118655 w 1296144"/>
              <a:gd name="connsiteY3" fmla="*/ 1368152 h 1368152"/>
              <a:gd name="connsiteX4" fmla="*/ 648072 w 1296144"/>
              <a:gd name="connsiteY4" fmla="*/ 374700 h 1368152"/>
              <a:gd name="connsiteX5" fmla="*/ 0 w 1296144"/>
              <a:gd name="connsiteY5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72 w 1296144"/>
              <a:gd name="connsiteY3" fmla="*/ 374700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1 w 1296144"/>
              <a:gd name="connsiteY3" fmla="*/ 546165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2 w 1296144"/>
              <a:gd name="connsiteY3" fmla="*/ 792628 h 1368152"/>
              <a:gd name="connsiteX4" fmla="*/ 0 w 1296144"/>
              <a:gd name="connsiteY4" fmla="*/ 1368152 h 1368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96144" h="1368152">
                <a:moveTo>
                  <a:pt x="0" y="1368152"/>
                </a:moveTo>
                <a:lnTo>
                  <a:pt x="648072" y="0"/>
                </a:lnTo>
                <a:lnTo>
                  <a:pt x="1296144" y="1368152"/>
                </a:lnTo>
                <a:lnTo>
                  <a:pt x="648082" y="792628"/>
                </a:lnTo>
                <a:lnTo>
                  <a:pt x="0" y="1368152"/>
                </a:lnTo>
                <a:close/>
              </a:path>
            </a:pathLst>
          </a:custGeom>
          <a:solidFill>
            <a:srgbClr val="0D65A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2322444" y="3851301"/>
            <a:ext cx="864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경북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1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5</a:t>
            </a:r>
            <a:endParaRPr lang="ko-KR" altLang="en-US" sz="14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8" name="Oval 29"/>
          <p:cNvSpPr/>
          <p:nvPr/>
        </p:nvSpPr>
        <p:spPr>
          <a:xfrm>
            <a:off x="2203879" y="4774922"/>
            <a:ext cx="98474" cy="68981"/>
          </a:xfrm>
          <a:prstGeom prst="ellipse">
            <a:avLst/>
          </a:prstGeom>
          <a:gradFill flip="none" rotWithShape="1">
            <a:gsLst>
              <a:gs pos="0">
                <a:schemeClr val="tx1">
                  <a:alpha val="47000"/>
                </a:schemeClr>
              </a:gs>
              <a:gs pos="100000">
                <a:schemeClr val="accent1">
                  <a:tint val="50000"/>
                  <a:shade val="100000"/>
                  <a:satMod val="350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9" name="Isosceles Triangle 1"/>
          <p:cNvSpPr/>
          <p:nvPr/>
        </p:nvSpPr>
        <p:spPr>
          <a:xfrm rot="10800000">
            <a:off x="2185863" y="4661364"/>
            <a:ext cx="134506" cy="148048"/>
          </a:xfrm>
          <a:custGeom>
            <a:avLst/>
            <a:gdLst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1118655 w 1296144"/>
              <a:gd name="connsiteY3" fmla="*/ 1368152 h 1368152"/>
              <a:gd name="connsiteX4" fmla="*/ 648072 w 1296144"/>
              <a:gd name="connsiteY4" fmla="*/ 374700 h 1368152"/>
              <a:gd name="connsiteX5" fmla="*/ 0 w 1296144"/>
              <a:gd name="connsiteY5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72 w 1296144"/>
              <a:gd name="connsiteY3" fmla="*/ 374700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1 w 1296144"/>
              <a:gd name="connsiteY3" fmla="*/ 546165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2 w 1296144"/>
              <a:gd name="connsiteY3" fmla="*/ 792628 h 1368152"/>
              <a:gd name="connsiteX4" fmla="*/ 0 w 1296144"/>
              <a:gd name="connsiteY4" fmla="*/ 1368152 h 1368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96144" h="1368152">
                <a:moveTo>
                  <a:pt x="0" y="1368152"/>
                </a:moveTo>
                <a:lnTo>
                  <a:pt x="648072" y="0"/>
                </a:lnTo>
                <a:lnTo>
                  <a:pt x="1296144" y="1368152"/>
                </a:lnTo>
                <a:lnTo>
                  <a:pt x="648082" y="792628"/>
                </a:lnTo>
                <a:lnTo>
                  <a:pt x="0" y="1368152"/>
                </a:lnTo>
                <a:close/>
              </a:path>
            </a:pathLst>
          </a:custGeom>
          <a:solidFill>
            <a:srgbClr val="0D65A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1848608" y="4780277"/>
            <a:ext cx="864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경남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1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7</a:t>
            </a:r>
            <a:endParaRPr lang="ko-KR" altLang="en-US" sz="14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81" name="Oval 29"/>
          <p:cNvSpPr/>
          <p:nvPr/>
        </p:nvSpPr>
        <p:spPr>
          <a:xfrm>
            <a:off x="1398148" y="5757931"/>
            <a:ext cx="98474" cy="68981"/>
          </a:xfrm>
          <a:prstGeom prst="ellipse">
            <a:avLst/>
          </a:prstGeom>
          <a:gradFill flip="none" rotWithShape="1">
            <a:gsLst>
              <a:gs pos="0">
                <a:schemeClr val="tx1">
                  <a:alpha val="47000"/>
                </a:schemeClr>
              </a:gs>
              <a:gs pos="100000">
                <a:schemeClr val="accent1">
                  <a:tint val="50000"/>
                  <a:shade val="100000"/>
                  <a:satMod val="350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82" name="Isosceles Triangle 1"/>
          <p:cNvSpPr/>
          <p:nvPr/>
        </p:nvSpPr>
        <p:spPr>
          <a:xfrm rot="10800000">
            <a:off x="1380132" y="5644373"/>
            <a:ext cx="134506" cy="148048"/>
          </a:xfrm>
          <a:custGeom>
            <a:avLst/>
            <a:gdLst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1118655 w 1296144"/>
              <a:gd name="connsiteY3" fmla="*/ 1368152 h 1368152"/>
              <a:gd name="connsiteX4" fmla="*/ 648072 w 1296144"/>
              <a:gd name="connsiteY4" fmla="*/ 374700 h 1368152"/>
              <a:gd name="connsiteX5" fmla="*/ 0 w 1296144"/>
              <a:gd name="connsiteY5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72 w 1296144"/>
              <a:gd name="connsiteY3" fmla="*/ 374700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1 w 1296144"/>
              <a:gd name="connsiteY3" fmla="*/ 546165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2 w 1296144"/>
              <a:gd name="connsiteY3" fmla="*/ 792628 h 1368152"/>
              <a:gd name="connsiteX4" fmla="*/ 0 w 1296144"/>
              <a:gd name="connsiteY4" fmla="*/ 1368152 h 1368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96144" h="1368152">
                <a:moveTo>
                  <a:pt x="0" y="1368152"/>
                </a:moveTo>
                <a:lnTo>
                  <a:pt x="648072" y="0"/>
                </a:lnTo>
                <a:lnTo>
                  <a:pt x="1296144" y="1368152"/>
                </a:lnTo>
                <a:lnTo>
                  <a:pt x="648082" y="792628"/>
                </a:lnTo>
                <a:lnTo>
                  <a:pt x="0" y="1368152"/>
                </a:lnTo>
                <a:close/>
              </a:path>
            </a:pathLst>
          </a:custGeom>
          <a:solidFill>
            <a:srgbClr val="0D65A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1339783" y="5564508"/>
            <a:ext cx="864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제주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1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2</a:t>
            </a:r>
            <a:endParaRPr lang="ko-KR" altLang="en-US" sz="14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059441" y="5351852"/>
            <a:ext cx="1789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200" dirty="0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시도별 </a:t>
            </a:r>
            <a:r>
              <a:rPr lang="en-US" altLang="ko-KR" sz="1200" dirty="0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A/S </a:t>
            </a:r>
            <a:r>
              <a:rPr lang="ko-KR" altLang="en-US" sz="1200" dirty="0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센터 현황</a:t>
            </a:r>
            <a:endParaRPr lang="ko-KR" altLang="en-US" sz="1200" dirty="0">
              <a:solidFill>
                <a:schemeClr val="bg1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7170" name="Picture 2" descr="http://www.clker.com/cliparts/Y/b/r/I/6/n/plain-wheelchair-md.png">
            <a:hlinkClick r:id="rId4" tooltip="Download as SVG file"/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5735" y="3289414"/>
            <a:ext cx="659680" cy="829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 descr="Moped Aus Zusatzzeichen Clip Art">
            <a:hlinkClick r:id="rId6"/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7483647" y="-223838"/>
            <a:ext cx="952500" cy="523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4" name="Picture 6" descr="Moped Aus Zusatzzeichen Clip Art">
            <a:hlinkClick r:id="rId6"/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7483647" y="-71438"/>
            <a:ext cx="952500" cy="523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6" name="Picture 8" descr="http://www.clker.com/cliparts/7/9/5/9/12422526651402135547Moped_aus_Zusatzzeichen_1046-11.svg.med.png">
            <a:hlinkClick r:id="rId8" tooltip="Download as SVG file"/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8659" y="4565003"/>
            <a:ext cx="858390" cy="613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4754770" y="3289413"/>
            <a:ext cx="29523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smtClean="0">
                <a:solidFill>
                  <a:schemeClr val="accent1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전동휠체어 제조업체수</a:t>
            </a:r>
            <a:endParaRPr lang="ko-KR" altLang="en-US" sz="1400" dirty="0">
              <a:solidFill>
                <a:schemeClr val="accent1">
                  <a:lumMod val="75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776493" y="3653353"/>
            <a:ext cx="36898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국내 </a:t>
            </a:r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5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개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(730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대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), 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수입업체 </a:t>
            </a:r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8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개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(3,170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대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endParaRPr lang="ko-KR" altLang="en-US" sz="14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4754770" y="4485650"/>
            <a:ext cx="29523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smtClean="0">
                <a:solidFill>
                  <a:schemeClr val="accent1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전동스쿠터 제조업체수</a:t>
            </a:r>
            <a:endParaRPr lang="ko-KR" altLang="en-US" sz="1400" dirty="0">
              <a:solidFill>
                <a:schemeClr val="accent1">
                  <a:lumMod val="75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4776493" y="4849590"/>
            <a:ext cx="39778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국내 </a:t>
            </a:r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3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개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(1,693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대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), 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수입업체 </a:t>
            </a:r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7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개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(7,067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대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endParaRPr lang="ko-KR" altLang="en-US" sz="14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pSp>
        <p:nvGrpSpPr>
          <p:cNvPr id="86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87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88" name="TextBox 87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12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12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89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1" name="그림 9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92" name="오른쪽 화살표 91"/>
          <p:cNvSpPr/>
          <p:nvPr/>
        </p:nvSpPr>
        <p:spPr>
          <a:xfrm>
            <a:off x="5148064" y="140046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3" name="오른쪽 화살표 92"/>
          <p:cNvSpPr/>
          <p:nvPr/>
        </p:nvSpPr>
        <p:spPr>
          <a:xfrm>
            <a:off x="5878551" y="173068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4" name="오른쪽 화살표 93"/>
          <p:cNvSpPr/>
          <p:nvPr/>
        </p:nvSpPr>
        <p:spPr>
          <a:xfrm>
            <a:off x="6682201" y="211946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5" name="오른쪽 화살표 94"/>
          <p:cNvSpPr/>
          <p:nvPr/>
        </p:nvSpPr>
        <p:spPr>
          <a:xfrm>
            <a:off x="6989493" y="249289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6" name="오른쪽 화살표 95"/>
          <p:cNvSpPr/>
          <p:nvPr/>
        </p:nvSpPr>
        <p:spPr>
          <a:xfrm>
            <a:off x="199583" y="6233969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229822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50"/>
                            </p:stCondLst>
                            <p:childTnLst>
                              <p:par>
                                <p:cTn id="9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2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2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75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2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2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250"/>
                            </p:stCondLst>
                            <p:childTnLst>
                              <p:par>
                                <p:cTn id="29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1" dur="2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5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750"/>
                            </p:stCondLst>
                            <p:childTnLst>
                              <p:par>
                                <p:cTn id="37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25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2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2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2000"/>
                            </p:stCondLst>
                            <p:childTnLst>
                              <p:par>
                                <p:cTn id="43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5" dur="25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2250"/>
                            </p:stCondLst>
                            <p:childTnLst>
                              <p:par>
                                <p:cTn id="4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25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2500"/>
                            </p:stCondLst>
                            <p:childTnLst>
                              <p:par>
                                <p:cTn id="51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2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2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2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2750"/>
                            </p:stCondLst>
                            <p:childTnLst>
                              <p:par>
                                <p:cTn id="57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9" dur="25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3000"/>
                            </p:stCondLst>
                            <p:childTnLst>
                              <p:par>
                                <p:cTn id="6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25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3250"/>
                            </p:stCondLst>
                            <p:childTnLst>
                              <p:par>
                                <p:cTn id="65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25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" dur="2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2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3500"/>
                            </p:stCondLst>
                            <p:childTnLst>
                              <p:par>
                                <p:cTn id="71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3" dur="25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3750"/>
                            </p:stCondLst>
                            <p:childTnLst>
                              <p:par>
                                <p:cTn id="7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25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4000"/>
                            </p:stCondLst>
                            <p:childTnLst>
                              <p:par>
                                <p:cTn id="79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25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2" dur="25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25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4250"/>
                            </p:stCondLst>
                            <p:childTnLst>
                              <p:par>
                                <p:cTn id="85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87" dur="25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4500"/>
                            </p:stCondLst>
                            <p:childTnLst>
                              <p:par>
                                <p:cTn id="8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25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4750"/>
                            </p:stCondLst>
                            <p:childTnLst>
                              <p:par>
                                <p:cTn id="93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25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6" dur="25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25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5000"/>
                            </p:stCondLst>
                            <p:childTnLst>
                              <p:par>
                                <p:cTn id="99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1" dur="25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>
                            <p:stCondLst>
                              <p:cond delay="5250"/>
                            </p:stCondLst>
                            <p:childTnLst>
                              <p:par>
                                <p:cTn id="10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25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5500"/>
                            </p:stCondLst>
                            <p:childTnLst>
                              <p:par>
                                <p:cTn id="107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25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0" dur="25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25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5750"/>
                            </p:stCondLst>
                            <p:childTnLst>
                              <p:par>
                                <p:cTn id="113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15" dur="25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6" fill="hold">
                            <p:stCondLst>
                              <p:cond delay="6000"/>
                            </p:stCondLst>
                            <p:childTnLst>
                              <p:par>
                                <p:cTn id="1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25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0" fill="hold">
                            <p:stCondLst>
                              <p:cond delay="6250"/>
                            </p:stCondLst>
                            <p:childTnLst>
                              <p:par>
                                <p:cTn id="121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25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4" dur="25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5" dur="25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6" fill="hold">
                            <p:stCondLst>
                              <p:cond delay="6500"/>
                            </p:stCondLst>
                            <p:childTnLst>
                              <p:par>
                                <p:cTn id="127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9" dur="25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0" fill="hold">
                            <p:stCondLst>
                              <p:cond delay="6750"/>
                            </p:stCondLst>
                            <p:childTnLst>
                              <p:par>
                                <p:cTn id="13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25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4" fill="hold">
                            <p:stCondLst>
                              <p:cond delay="7000"/>
                            </p:stCondLst>
                            <p:childTnLst>
                              <p:par>
                                <p:cTn id="135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7" dur="25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8" dur="25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9" dur="25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0" fill="hold">
                            <p:stCondLst>
                              <p:cond delay="7250"/>
                            </p:stCondLst>
                            <p:childTnLst>
                              <p:par>
                                <p:cTn id="141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43" dur="25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4" fill="hold">
                            <p:stCondLst>
                              <p:cond delay="7500"/>
                            </p:stCondLst>
                            <p:childTnLst>
                              <p:par>
                                <p:cTn id="1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7" dur="25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8" fill="hold">
                            <p:stCondLst>
                              <p:cond delay="7750"/>
                            </p:stCondLst>
                            <p:childTnLst>
                              <p:par>
                                <p:cTn id="149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25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2" dur="25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3" dur="25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4" fill="hold">
                            <p:stCondLst>
                              <p:cond delay="8000"/>
                            </p:stCondLst>
                            <p:childTnLst>
                              <p:par>
                                <p:cTn id="155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7" dur="25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8" fill="hold">
                            <p:stCondLst>
                              <p:cond delay="8250"/>
                            </p:stCondLst>
                            <p:childTnLst>
                              <p:par>
                                <p:cTn id="15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1" dur="25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2" fill="hold">
                            <p:stCondLst>
                              <p:cond delay="8500"/>
                            </p:stCondLst>
                            <p:childTnLst>
                              <p:par>
                                <p:cTn id="163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5" dur="25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6" dur="25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7" dur="25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8" fill="hold">
                            <p:stCondLst>
                              <p:cond delay="8750"/>
                            </p:stCondLst>
                            <p:childTnLst>
                              <p:par>
                                <p:cTn id="169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1" dur="25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2" fill="hold">
                            <p:stCondLst>
                              <p:cond delay="9000"/>
                            </p:stCondLst>
                            <p:childTnLst>
                              <p:par>
                                <p:cTn id="17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5" dur="25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6" fill="hold">
                            <p:stCondLst>
                              <p:cond delay="9250"/>
                            </p:stCondLst>
                            <p:childTnLst>
                              <p:par>
                                <p:cTn id="177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9" dur="25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0" dur="25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1" dur="25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2" fill="hold">
                            <p:stCondLst>
                              <p:cond delay="9500"/>
                            </p:stCondLst>
                            <p:childTnLst>
                              <p:par>
                                <p:cTn id="183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85" dur="25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6" fill="hold">
                            <p:stCondLst>
                              <p:cond delay="9750"/>
                            </p:stCondLst>
                            <p:childTnLst>
                              <p:par>
                                <p:cTn id="18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9" dur="25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0" fill="hold">
                            <p:stCondLst>
                              <p:cond delay="10000"/>
                            </p:stCondLst>
                            <p:childTnLst>
                              <p:par>
                                <p:cTn id="191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3" dur="25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4" dur="25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5" dur="25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6" fill="hold">
                            <p:stCondLst>
                              <p:cond delay="10250"/>
                            </p:stCondLst>
                            <p:childTnLst>
                              <p:par>
                                <p:cTn id="197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9" dur="25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0" fill="hold">
                            <p:stCondLst>
                              <p:cond delay="10500"/>
                            </p:stCondLst>
                            <p:childTnLst>
                              <p:par>
                                <p:cTn id="20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3" dur="25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4" fill="hold">
                            <p:stCondLst>
                              <p:cond delay="10750"/>
                            </p:stCondLst>
                            <p:childTnLst>
                              <p:par>
                                <p:cTn id="205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7" dur="25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8" dur="25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9" dur="25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0" fill="hold">
                            <p:stCondLst>
                              <p:cond delay="11000"/>
                            </p:stCondLst>
                            <p:childTnLst>
                              <p:par>
                                <p:cTn id="211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13" dur="25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4" fill="hold">
                            <p:stCondLst>
                              <p:cond delay="11250"/>
                            </p:stCondLst>
                            <p:childTnLst>
                              <p:par>
                                <p:cTn id="2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7" dur="25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8" fill="hold">
                            <p:stCondLst>
                              <p:cond delay="11500"/>
                            </p:stCondLst>
                            <p:childTnLst>
                              <p:par>
                                <p:cTn id="219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1" dur="25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2" dur="25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3" dur="25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4" fill="hold">
                            <p:stCondLst>
                              <p:cond delay="11750"/>
                            </p:stCondLst>
                            <p:childTnLst>
                              <p:par>
                                <p:cTn id="225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7" dur="20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  <p:bldP spid="34" grpId="0" animBg="1"/>
      <p:bldP spid="35" grpId="0" animBg="1"/>
      <p:bldP spid="37" grpId="0" animBg="1"/>
      <p:bldP spid="38" grpId="0" animBg="1"/>
      <p:bldP spid="39" grpId="0"/>
      <p:bldP spid="40" grpId="0" animBg="1"/>
      <p:bldP spid="43" grpId="0" animBg="1"/>
      <p:bldP spid="44" grpId="0"/>
      <p:bldP spid="45" grpId="0" animBg="1"/>
      <p:bldP spid="46" grpId="0" animBg="1"/>
      <p:bldP spid="47" grpId="0"/>
      <p:bldP spid="48" grpId="0" animBg="1"/>
      <p:bldP spid="49" grpId="0" animBg="1"/>
      <p:bldP spid="50" grpId="0"/>
      <p:bldP spid="51" grpId="0" animBg="1"/>
      <p:bldP spid="52" grpId="0" animBg="1"/>
      <p:bldP spid="53" grpId="0"/>
      <p:bldP spid="54" grpId="0" animBg="1"/>
      <p:bldP spid="55" grpId="0" animBg="1"/>
      <p:bldP spid="56" grpId="0"/>
      <p:bldP spid="57" grpId="0" animBg="1"/>
      <p:bldP spid="58" grpId="0" animBg="1"/>
      <p:bldP spid="59" grpId="0"/>
      <p:bldP spid="60" grpId="0" animBg="1"/>
      <p:bldP spid="61" grpId="0" animBg="1"/>
      <p:bldP spid="62" grpId="0"/>
      <p:bldP spid="63" grpId="0" animBg="1"/>
      <p:bldP spid="64" grpId="0" animBg="1"/>
      <p:bldP spid="65" grpId="0"/>
      <p:bldP spid="66" grpId="0" animBg="1"/>
      <p:bldP spid="67" grpId="0" animBg="1"/>
      <p:bldP spid="68" grpId="0"/>
      <p:bldP spid="69" grpId="0" animBg="1"/>
      <p:bldP spid="70" grpId="0" animBg="1"/>
      <p:bldP spid="71" grpId="0"/>
      <p:bldP spid="72" grpId="0" animBg="1"/>
      <p:bldP spid="73" grpId="0" animBg="1"/>
      <p:bldP spid="74" grpId="0"/>
      <p:bldP spid="75" grpId="0" animBg="1"/>
      <p:bldP spid="76" grpId="0" animBg="1"/>
      <p:bldP spid="77" grpId="0"/>
      <p:bldP spid="78" grpId="0" animBg="1"/>
      <p:bldP spid="79" grpId="0" animBg="1"/>
      <p:bldP spid="80" grpId="0"/>
      <p:bldP spid="81" grpId="0" animBg="1"/>
      <p:bldP spid="82" grpId="0" animBg="1"/>
      <p:bldP spid="83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1406566" y="421418"/>
            <a:ext cx="6871726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『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꿈같은 은퇴 여유 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– </a:t>
            </a:r>
            <a:r>
              <a:rPr lang="ko-KR" altLang="en-US" sz="24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생계형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노인 일자리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』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93065" y="1195169"/>
            <a:ext cx="8327407" cy="18004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60~64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세 고용률 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57.2%,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생계 위해 일자리를 희망하는 노인 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106</a:t>
            </a:r>
            <a:r>
              <a:rPr lang="ko-KR" altLang="en-US" sz="16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만명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＇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13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년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궁핍에 내몰려</a:t>
            </a:r>
            <a:endParaRPr lang="en-US" altLang="ko-KR" sz="1600" b="1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14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現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정부 노인 일자리사업</a:t>
            </a:r>
            <a:r>
              <a:rPr lang="en-US" altLang="ko-KR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일자리 수</a:t>
            </a:r>
            <a:r>
              <a:rPr lang="en-US" altLang="ko-KR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31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개 </a:t>
            </a:r>
            <a:r>
              <a:rPr lang="ko-KR" altLang="en-US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신뢰도 낮은 통계상 수치 의혹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문제①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노인일자리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80%</a:t>
            </a:r>
            <a:r>
              <a:rPr lang="en-US" altLang="ko-KR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(24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만</a:t>
            </a:r>
            <a:r>
              <a:rPr lang="en-US" altLang="ko-KR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8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천 개</a:t>
            </a:r>
            <a:r>
              <a:rPr lang="en-US" altLang="ko-KR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가 공공잡일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 → </a:t>
            </a:r>
            <a:r>
              <a:rPr lang="ko-KR" altLang="en-US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年</a:t>
            </a:r>
            <a:r>
              <a:rPr lang="en-US" altLang="ko-KR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9</a:t>
            </a:r>
            <a:r>
              <a:rPr lang="ko-KR" altLang="en-US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개월</a:t>
            </a:r>
            <a:r>
              <a:rPr lang="en-US" altLang="ko-KR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·10</a:t>
            </a:r>
            <a:r>
              <a:rPr lang="ko-KR" altLang="en-US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년째 月</a:t>
            </a:r>
            <a:r>
              <a:rPr lang="en-US" altLang="ko-KR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20</a:t>
            </a:r>
            <a:r>
              <a:rPr lang="ko-KR" altLang="en-US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만원</a:t>
            </a:r>
            <a:endParaRPr lang="ko-KR" altLang="en-US" sz="1400" dirty="0">
              <a:solidFill>
                <a:srgbClr val="C00000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문제②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정부의 노인일자리예산 → </a:t>
            </a:r>
            <a:r>
              <a:rPr lang="ko-KR" altLang="en-US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지역특별회계 이관 계획 추진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문제③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‘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05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 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지자체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이관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노인일자리사업 불균형 초래 중 → </a:t>
            </a:r>
            <a:r>
              <a:rPr lang="en-US" altLang="ko-KR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83</a:t>
            </a:r>
            <a:r>
              <a:rPr lang="ko-KR" altLang="en-US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개 </a:t>
            </a:r>
            <a:r>
              <a:rPr lang="ko-KR" altLang="en-US" sz="1400" b="1" dirty="0" err="1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지자체만</a:t>
            </a:r>
            <a:r>
              <a:rPr lang="ko-KR" altLang="en-US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639389" y="6029094"/>
            <a:ext cx="850461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지역특별회계 이관 재검토와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국가지원 일자리 확대로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적극적 추진 필요</a:t>
            </a:r>
            <a:endParaRPr lang="ko-KR" altLang="en-US" sz="2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14" name="그림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7621" y="2995662"/>
            <a:ext cx="4886379" cy="4445804"/>
          </a:xfrm>
          <a:prstGeom prst="rect">
            <a:avLst/>
          </a:prstGeom>
        </p:spPr>
      </p:pic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873" y="3356992"/>
            <a:ext cx="5331375" cy="22782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16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12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12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18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그림 1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21" name="오른쪽 화살표 20"/>
          <p:cNvSpPr/>
          <p:nvPr/>
        </p:nvSpPr>
        <p:spPr>
          <a:xfrm>
            <a:off x="7063984" y="137333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오른쪽 화살표 21"/>
          <p:cNvSpPr/>
          <p:nvPr/>
        </p:nvSpPr>
        <p:spPr>
          <a:xfrm>
            <a:off x="5764181" y="175423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오른쪽 화살표 22"/>
          <p:cNvSpPr/>
          <p:nvPr/>
        </p:nvSpPr>
        <p:spPr>
          <a:xfrm>
            <a:off x="235593" y="6181979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29850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1270620" y="497853"/>
            <a:ext cx="7585412" cy="3976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유보통합 대비 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『</a:t>
            </a:r>
            <a:r>
              <a:rPr lang="ko-KR" altLang="en-US" sz="24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보육어린이집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건강성 강화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』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8407" y="1201680"/>
            <a:ext cx="847032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유보통합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유치원과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어린이집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격차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해소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정책통합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등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보육서비스 체계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선이 목적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황우여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사회부총리겸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교육부장관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“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유보통합 조속히 마칠 것”</a:t>
            </a:r>
            <a:r>
              <a:rPr lang="en-US" altLang="ko-KR" sz="11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1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인사청문회</a:t>
            </a:r>
            <a:r>
              <a:rPr lang="en-US" altLang="ko-KR" sz="11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,14.8.8)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천명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문제①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복지부의 유보통합추진에 대비한 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보육어린이집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시설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)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입장에서의 대책 부실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문제②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현재의 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보육어린이집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경쟁력↑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보육교사 질↑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법정단체 혁신 문제 등 방치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530601" y="6083264"/>
            <a:ext cx="8532440" cy="4821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표준보육비 지원 확대」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등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 </a:t>
            </a:r>
            <a:r>
              <a:rPr lang="ko-KR" altLang="en-US" sz="20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보육어린이집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현안 해결에 적극 노력  필요</a:t>
            </a:r>
            <a:endParaRPr lang="ko-KR" altLang="en-US" sz="2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13315" name="Picture 3" descr="http://www.cyber4u.co.kr/Content/Boards/scsmadmin1/%EC%9C%A0%EB%B3%B4%ED%86%B5%ED%95%A9%20-%20%EC%96%B4%EB%A6%B0%EC%9D%B4_b65283cfe5434011b3d7cc88dee323fc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147" y="3066265"/>
            <a:ext cx="4241160" cy="2520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4998976" y="4132997"/>
            <a:ext cx="2880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 smtClean="0">
                <a:solidFill>
                  <a:schemeClr val="accent1"/>
                </a:solidFill>
              </a:rPr>
              <a:t>▶</a:t>
            </a:r>
            <a:endParaRPr lang="ko-KR" altLang="en-US" dirty="0">
              <a:solidFill>
                <a:schemeClr val="accent1"/>
              </a:solidFill>
            </a:endParaRPr>
          </a:p>
        </p:txBody>
      </p:sp>
      <p:pic>
        <p:nvPicPr>
          <p:cNvPr id="10" name="그림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0111" y="3501008"/>
            <a:ext cx="3066667" cy="1650794"/>
          </a:xfrm>
          <a:prstGeom prst="rect">
            <a:avLst/>
          </a:prstGeom>
        </p:spPr>
      </p:pic>
      <p:grpSp>
        <p:nvGrpSpPr>
          <p:cNvPr id="15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16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12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12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18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그림 1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21" name="오른쪽 화살표 20"/>
          <p:cNvSpPr/>
          <p:nvPr/>
        </p:nvSpPr>
        <p:spPr>
          <a:xfrm>
            <a:off x="235593" y="6227892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20695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953581" y="457356"/>
            <a:ext cx="7955149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저출산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해소의 제</a:t>
            </a:r>
            <a:r>
              <a:rPr lang="en-US" altLang="ko-KR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1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代案 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『</a:t>
            </a:r>
            <a:r>
              <a:rPr lang="ko-KR" altLang="en-US" sz="24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보육어린이집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지원 확대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』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8407" y="1201680"/>
            <a:ext cx="8470324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「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저출산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출산중단」의 첫 번째 이유 </a:t>
            </a:r>
            <a:r>
              <a:rPr lang="ko-KR" altLang="en-US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자녀양육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교육비용 부담 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35.1%)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전국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43,665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소 중 국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공립어린이집은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2,419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소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(5.5%) </a:t>
            </a:r>
            <a:r>
              <a:rPr lang="ko-KR" altLang="en-US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민간에 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94.5%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의존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문제는 「지원 및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비지원시설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」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로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구분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시설間 차별정책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추진하고 있는 점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·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평가 및 감사지표는 동일한 항목 적용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지원은 예산상 이유로 다른 기준 적용</a:t>
            </a:r>
            <a:endParaRPr lang="ko-KR" altLang="en-US" sz="16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민간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가정어린이집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등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비지원시설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약속한「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보육료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현실화 이행」 거듭 요구 중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683749" y="6083264"/>
            <a:ext cx="8378130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대선공약 </a:t>
            </a:r>
            <a:r>
              <a:rPr lang="en-US" altLang="ko-KR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- </a:t>
            </a:r>
            <a:r>
              <a:rPr lang="ko-KR" altLang="en-US" sz="21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비지원시설</a:t>
            </a:r>
            <a:r>
              <a:rPr lang="en-US" altLang="ko-KR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21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민간어린이집</a:t>
            </a: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등</a:t>
            </a:r>
            <a:r>
              <a:rPr lang="en-US" altLang="ko-KR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지원 확대」실천</a:t>
            </a: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 필요</a:t>
            </a:r>
            <a:endParaRPr lang="ko-KR" altLang="en-US" sz="21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7177" name="Picture 9" descr="http://sculture.seoul.go.kr/files/2014/02/s06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524" y="3669993"/>
            <a:ext cx="5116358" cy="1944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2267744" y="4384555"/>
            <a:ext cx="31809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국</a:t>
            </a:r>
            <a:r>
              <a:rPr lang="en-US" altLang="ko-KR" sz="1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2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공립어린이집</a:t>
            </a:r>
            <a:r>
              <a:rPr lang="ko-KR" altLang="en-US" sz="1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연간대기자 </a:t>
            </a:r>
            <a:r>
              <a:rPr lang="en-US" altLang="ko-KR" dirty="0" smtClean="0">
                <a:solidFill>
                  <a:srgbClr val="FF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10</a:t>
            </a:r>
            <a:r>
              <a:rPr lang="ko-KR" altLang="en-US" dirty="0" smtClean="0">
                <a:solidFill>
                  <a:srgbClr val="FF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만 명</a:t>
            </a:r>
            <a:endParaRPr lang="ko-KR" altLang="en-US" dirty="0">
              <a:solidFill>
                <a:srgbClr val="FF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7178" name="Picture 10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4168" y="4753887"/>
            <a:ext cx="666749" cy="452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Picture 10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6048" y="3624857"/>
            <a:ext cx="1409329" cy="95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7076639" y="3855395"/>
            <a:ext cx="13426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민간어린이집</a:t>
            </a:r>
            <a:endParaRPr lang="ko-KR" altLang="en-US" sz="14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7098310" y="4132090"/>
            <a:ext cx="13426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94.5%</a:t>
            </a:r>
            <a:endParaRPr lang="ko-KR" altLang="en-US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6745644" y="4703410"/>
            <a:ext cx="18218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국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4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공립어린이집</a:t>
            </a:r>
            <a:endParaRPr lang="ko-KR" altLang="en-US" sz="14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6996436" y="4980105"/>
            <a:ext cx="13426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5.5%</a:t>
            </a:r>
            <a:endParaRPr lang="ko-KR" altLang="en-US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pSp>
        <p:nvGrpSpPr>
          <p:cNvPr id="20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21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12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12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23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5" name="그림 2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26" name="오른쪽 화살표 25"/>
          <p:cNvSpPr/>
          <p:nvPr/>
        </p:nvSpPr>
        <p:spPr>
          <a:xfrm>
            <a:off x="4422253" y="139176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오른쪽 화살표 26"/>
          <p:cNvSpPr/>
          <p:nvPr/>
        </p:nvSpPr>
        <p:spPr>
          <a:xfrm>
            <a:off x="6229422" y="176420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8" name="오른쪽 화살표 27"/>
          <p:cNvSpPr/>
          <p:nvPr/>
        </p:nvSpPr>
        <p:spPr>
          <a:xfrm>
            <a:off x="235593" y="6215811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26379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1289686" y="488310"/>
            <a:ext cx="7242754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『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정부와 사회의 품 안에서 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– 1020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미혼모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』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93065" y="1195169"/>
            <a:ext cx="839941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1020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미혼모 대다수 </a:t>
            </a:r>
            <a:r>
              <a:rPr lang="ko-KR" altLang="en-US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경제적 형편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사회적 편견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부모와의 단절 등 고통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해외 미혼모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스웨덴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55%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노르웨이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54%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미국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50.4%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프랑스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50%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영국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44% </a:t>
            </a:r>
            <a:r>
              <a:rPr lang="ko-KR" altLang="en-US" sz="16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정부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적극 지원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가장 큰 문제는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저출산과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미혼모의 문제를 분리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차별 지원하는 복지정책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647665" y="6021288"/>
            <a:ext cx="834399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유교적 시각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편견 버리고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기초수급 및 사회적 약자」로 지원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강화</a:t>
            </a:r>
            <a:endParaRPr lang="ko-KR" altLang="en-US" sz="200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1063" y="2436675"/>
            <a:ext cx="3055733" cy="3429000"/>
          </a:xfrm>
          <a:prstGeom prst="rect">
            <a:avLst/>
          </a:prstGeom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582" y="2627764"/>
            <a:ext cx="3536255" cy="315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직사각형 9"/>
          <p:cNvSpPr/>
          <p:nvPr/>
        </p:nvSpPr>
        <p:spPr>
          <a:xfrm>
            <a:off x="981777" y="4941168"/>
            <a:ext cx="3508060" cy="839720"/>
          </a:xfrm>
          <a:prstGeom prst="rect">
            <a:avLst/>
          </a:prstGeom>
          <a:solidFill>
            <a:schemeClr val="tx1">
              <a:lumMod val="95000"/>
              <a:lumOff val="5000"/>
              <a:alpha val="45000"/>
            </a:schemeClr>
          </a:solidFill>
          <a:ln>
            <a:solidFill>
              <a:schemeClr val="tx1">
                <a:lumMod val="95000"/>
                <a:lumOff val="5000"/>
                <a:alpha val="48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151631" y="5000845"/>
            <a:ext cx="316835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2013</a:t>
            </a:r>
            <a:r>
              <a:rPr lang="ko-KR" altLang="en-US" sz="1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년 한 해에만 </a:t>
            </a:r>
            <a:r>
              <a:rPr lang="en-US" altLang="ko-KR" sz="1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208</a:t>
            </a:r>
            <a:r>
              <a:rPr lang="ko-KR" altLang="en-US" sz="1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명의 아기들이 베이비박스에 유기</a:t>
            </a:r>
            <a:endParaRPr lang="ko-KR" altLang="en-US" sz="1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pSp>
        <p:nvGrpSpPr>
          <p:cNvPr id="16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17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12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12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19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1" name="그림 2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22" name="오른쪽 화살표 21"/>
          <p:cNvSpPr/>
          <p:nvPr/>
        </p:nvSpPr>
        <p:spPr>
          <a:xfrm>
            <a:off x="2915816" y="136972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오른쪽 화살표 22"/>
          <p:cNvSpPr/>
          <p:nvPr/>
        </p:nvSpPr>
        <p:spPr>
          <a:xfrm>
            <a:off x="7108790" y="173022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오른쪽 화살표 23"/>
          <p:cNvSpPr/>
          <p:nvPr/>
        </p:nvSpPr>
        <p:spPr>
          <a:xfrm>
            <a:off x="235593" y="6181979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74323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954799" y="621085"/>
            <a:ext cx="8081697" cy="350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1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어린이집</a:t>
            </a: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학대 피해아동</a:t>
            </a:r>
            <a:r>
              <a:rPr lang="en-US" altLang="ko-KR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사후 관리 강화 </a:t>
            </a: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및 </a:t>
            </a: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보육교사 처우개선</a:t>
            </a:r>
            <a:endParaRPr lang="en-US" sz="21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55890" y="1234747"/>
            <a:ext cx="876770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〇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전국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4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3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천여 개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어린이집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설치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40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만 명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아동 </a:t>
            </a:r>
            <a:r>
              <a:rPr lang="ko-KR" altLang="en-US" sz="1600" b="1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어린이집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이용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20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만 여명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보육교사 근무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〇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어린이집에서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발생하는 아동학대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012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35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건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2013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32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건 매년 증가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〇 보육교사 아동학대 원인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열악한 근무환경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및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낮은 보수수준 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등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직무스트레스 사유 높아</a:t>
            </a:r>
            <a:endParaRPr lang="ko-KR" altLang="en-US" sz="1600" b="1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〇 학대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피해아동 외상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후 스트레스성 장애 치유기관 확대 및 보육교사 직무스트레스 관리방안 필요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633204" y="6112892"/>
            <a:ext cx="8403292" cy="5016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피해아동에 대한 </a:t>
            </a: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사후 관리 </a:t>
            </a: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강화</a:t>
            </a:r>
            <a:r>
              <a:rPr lang="en-US" altLang="ko-KR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</a:t>
            </a: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보육교사 </a:t>
            </a: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처우개선</a:t>
            </a: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등 지원 필요</a:t>
            </a:r>
            <a:endParaRPr lang="ko-KR" altLang="en-US" sz="21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7172" name="Picture 4" descr="Moped Aus Zusatzzeichen Clip Art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7483647" y="-223838"/>
            <a:ext cx="952500" cy="523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4" name="Picture 6" descr="Moped Aus Zusatzzeichen Clip Art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7483647" y="-71438"/>
            <a:ext cx="952500" cy="523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6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87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88" name="TextBox 87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12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12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89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1" name="그림 9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92" name="오른쪽 화살표 91"/>
          <p:cNvSpPr/>
          <p:nvPr/>
        </p:nvSpPr>
        <p:spPr>
          <a:xfrm>
            <a:off x="3923928" y="177281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6" name="오른쪽 화살표 95"/>
          <p:cNvSpPr/>
          <p:nvPr/>
        </p:nvSpPr>
        <p:spPr>
          <a:xfrm>
            <a:off x="3527884" y="140046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오른쪽 화살표 16"/>
          <p:cNvSpPr/>
          <p:nvPr/>
        </p:nvSpPr>
        <p:spPr>
          <a:xfrm>
            <a:off x="2843808" y="213913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TextBox 1"/>
          <p:cNvSpPr txBox="1"/>
          <p:nvPr/>
        </p:nvSpPr>
        <p:spPr>
          <a:xfrm>
            <a:off x="7688629" y="199826"/>
            <a:ext cx="10600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[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정책백서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]</a:t>
            </a:r>
            <a:endParaRPr lang="ko-KR" altLang="en-US" sz="14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230" y="2849301"/>
            <a:ext cx="4671834" cy="310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그림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0112" y="3734199"/>
            <a:ext cx="2839317" cy="2231703"/>
          </a:xfrm>
          <a:prstGeom prst="rect">
            <a:avLst/>
          </a:prstGeom>
        </p:spPr>
      </p:pic>
      <p:sp>
        <p:nvSpPr>
          <p:cNvPr id="20" name="오른쪽 화살표 19"/>
          <p:cNvSpPr/>
          <p:nvPr/>
        </p:nvSpPr>
        <p:spPr>
          <a:xfrm>
            <a:off x="391901" y="6258772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32741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747853" y="492560"/>
            <a:ext cx="8017017" cy="4370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8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미래형 </a:t>
            </a:r>
            <a:r>
              <a:rPr lang="ko-KR" altLang="en-US" sz="28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통합의료체제</a:t>
            </a:r>
            <a:r>
              <a:rPr lang="ko-KR" altLang="en-US" sz="28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구축 검토</a:t>
            </a:r>
            <a:endParaRPr lang="en-US" sz="28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pSp>
        <p:nvGrpSpPr>
          <p:cNvPr id="23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24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12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12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26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8" name="그림 2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53" name="TextBox 52"/>
          <p:cNvSpPr txBox="1"/>
          <p:nvPr/>
        </p:nvSpPr>
        <p:spPr>
          <a:xfrm>
            <a:off x="455945" y="1465580"/>
            <a:ext cx="8580552" cy="40626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한국의 질병치료기술은 세계적 수준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의료서비스 공급체계는 아직 미흡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건강보험 진료비 체계는 질병치료가 많아야 병원경영 양호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병원 밖의 환자는 무관심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자치단체의 경우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부처별 사업계획에 따라 개별적 추진으로 비효율성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비효과성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路程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농림축산부의 건강장수마을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국토부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건강장수도시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안행부의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안전도시 등</a:t>
            </a:r>
            <a:endParaRPr lang="en-US" altLang="ko-KR" sz="14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>
              <a:lnSpc>
                <a:spcPct val="300000"/>
              </a:lnSpc>
            </a:pPr>
            <a:r>
              <a:rPr lang="en-US" altLang="ko-KR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&lt;</a:t>
            </a:r>
            <a:r>
              <a:rPr lang="ko-KR" altLang="en-US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검토 대책</a:t>
            </a:r>
            <a:r>
              <a:rPr lang="en-US" altLang="ko-KR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&gt;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- 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새로운 통합의료체제 구축 시급</a:t>
            </a:r>
            <a:endParaRPr lang="en-US" altLang="ko-KR" sz="16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① 경제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사회변화로 질병의 형태 등 변화 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의료 서비스」도 변화해야</a:t>
            </a:r>
            <a:endParaRPr lang="en-US" altLang="ko-KR" sz="1600" b="1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② 질병발생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치료관리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돌봄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예방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재활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요양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휴양지  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통합의료 체제 강화</a:t>
            </a:r>
            <a:endParaRPr lang="en-US" altLang="ko-KR" sz="1600" b="1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③ 치료 이외에 「예방」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으로의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건강증진 정책 개선 방안 구체화 시급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평소 질병예방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증상조절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건강관련 교육과 훈련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재택의료 프로그램 등</a:t>
            </a:r>
            <a:endParaRPr lang="en-US" altLang="ko-KR" sz="14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④ 정부중심 통합체계 구축하되 민간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대책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등 「</a:t>
            </a:r>
            <a:r>
              <a:rPr lang="ko-KR" altLang="en-US" sz="16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거버넌스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」 강화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첨단산업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기술 접목 등</a:t>
            </a:r>
            <a:endParaRPr lang="en-US" altLang="ko-KR" sz="16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12" name="오른쪽 화살표 11"/>
          <p:cNvSpPr/>
          <p:nvPr/>
        </p:nvSpPr>
        <p:spPr>
          <a:xfrm>
            <a:off x="4648349" y="378904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5796136" y="414908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52713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990549" y="404735"/>
            <a:ext cx="7719175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『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초 </a:t>
            </a:r>
            <a:r>
              <a:rPr lang="ko-KR" altLang="en-US" sz="24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저출산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심화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고령화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가난한 노후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급진전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』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8407" y="1025010"/>
            <a:ext cx="8470324" cy="22621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우리나라의「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초 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저출산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」은 진전 속도와 장기 지속성 등의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문제가 최대 난제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지난해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출생아 수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합계출산율 지속 하락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인구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천명당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8.6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명 </a:t>
            </a:r>
            <a:r>
              <a:rPr lang="ko-KR" altLang="en-US" sz="16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통계 이래 최저 수치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「고령화 심화」는 인구 및 인구성장률 역전현상을 의미 </a:t>
            </a:r>
            <a:r>
              <a:rPr lang="ko-KR" altLang="en-US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국가적 재앙 예견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·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생산가능인구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‘16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3,704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만 명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→‘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60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2,187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만 명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감소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부양부담 증가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인구성장률 역전현상</a:t>
            </a:r>
            <a:r>
              <a:rPr lang="en-US" altLang="ko-KR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(‘30</a:t>
            </a:r>
            <a:r>
              <a:rPr lang="ko-KR" altLang="en-US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–0.104% </a:t>
            </a:r>
            <a:r>
              <a:rPr lang="ko-KR" altLang="en-US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예측</a:t>
            </a:r>
            <a:r>
              <a:rPr lang="en-US" altLang="ko-KR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잠재성장률 하락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초래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65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세 이상 노령계층의 상대적 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빈곤율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50%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육박</a:t>
            </a:r>
            <a:r>
              <a:rPr lang="en-US" altLang="ko-KR" sz="11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1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＇</a:t>
            </a:r>
            <a:r>
              <a:rPr lang="en-US" altLang="ko-KR" sz="11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14</a:t>
            </a:r>
            <a:r>
              <a:rPr lang="ko-KR" altLang="en-US" sz="11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년</a:t>
            </a:r>
            <a:r>
              <a:rPr lang="en-US" altLang="ko-KR" sz="11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1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통계청</a:t>
            </a:r>
            <a:r>
              <a:rPr lang="en-US" altLang="ko-KR" sz="11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)   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살수록 고단</a:t>
            </a:r>
            <a:endParaRPr lang="ko-KR" altLang="en-US" sz="1600" b="1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530601" y="6234844"/>
            <a:ext cx="849102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「보육  환경</a:t>
            </a:r>
            <a:r>
              <a:rPr lang="en-US" altLang="ko-KR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교육」</a:t>
            </a:r>
            <a:r>
              <a:rPr lang="ko-KR" altLang="en-US" dirty="0">
                <a:latin typeface="HY견고딕" panose="02030600000101010101" pitchFamily="18" charset="-127"/>
                <a:ea typeface="HY견고딕" panose="02030600000101010101" pitchFamily="18" charset="-127"/>
              </a:rPr>
              <a:t>및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「어르신」 문제 해소 위한 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국민적</a:t>
            </a:r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범정부적</a:t>
            </a:r>
            <a:r>
              <a:rPr lang="ko-KR" altLang="en-US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대응 강화</a:t>
            </a:r>
            <a:endParaRPr lang="ko-KR" alt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180" y="3996100"/>
            <a:ext cx="3530554" cy="21583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027181" y="3525942"/>
            <a:ext cx="28083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dirty="0" smtClean="0">
                <a:solidFill>
                  <a:schemeClr val="accent1">
                    <a:lumMod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&lt;OECD </a:t>
            </a:r>
            <a:r>
              <a:rPr lang="ko-KR" altLang="en-US" sz="1200" dirty="0" smtClean="0">
                <a:solidFill>
                  <a:schemeClr val="accent1">
                    <a:lumMod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주요 국가별 합계 출산율</a:t>
            </a:r>
            <a:r>
              <a:rPr lang="en-US" altLang="ko-KR" sz="1200" dirty="0" smtClean="0">
                <a:solidFill>
                  <a:schemeClr val="accent1">
                    <a:lumMod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&gt;</a:t>
            </a:r>
            <a:endParaRPr lang="ko-KR" altLang="en-US" sz="1200" dirty="0">
              <a:solidFill>
                <a:schemeClr val="accent1">
                  <a:lumMod val="50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614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5850" y="3789040"/>
            <a:ext cx="3456384" cy="2324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5169886" y="3525942"/>
            <a:ext cx="28083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dirty="0" smtClean="0">
                <a:solidFill>
                  <a:schemeClr val="accent1">
                    <a:lumMod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&lt;65</a:t>
            </a:r>
            <a:r>
              <a:rPr lang="ko-KR" altLang="en-US" sz="1200" dirty="0" smtClean="0">
                <a:solidFill>
                  <a:schemeClr val="accent1">
                    <a:lumMod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세 이상 인구 및 구성비 추이</a:t>
            </a:r>
            <a:r>
              <a:rPr lang="en-US" altLang="ko-KR" sz="1200" dirty="0">
                <a:solidFill>
                  <a:schemeClr val="accent1">
                    <a:lumMod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&gt;</a:t>
            </a:r>
            <a:endParaRPr lang="ko-KR" altLang="en-US" sz="1200" dirty="0">
              <a:solidFill>
                <a:schemeClr val="accent1">
                  <a:lumMod val="50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pSp>
        <p:nvGrpSpPr>
          <p:cNvPr id="17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18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12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12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20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2" name="그림 2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23" name="오른쪽 화살표 22"/>
          <p:cNvSpPr/>
          <p:nvPr/>
        </p:nvSpPr>
        <p:spPr>
          <a:xfrm>
            <a:off x="6470848" y="157101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오른쪽 화살표 23"/>
          <p:cNvSpPr/>
          <p:nvPr/>
        </p:nvSpPr>
        <p:spPr>
          <a:xfrm>
            <a:off x="6068590" y="192939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오른쪽 화살표 24"/>
          <p:cNvSpPr/>
          <p:nvPr/>
        </p:nvSpPr>
        <p:spPr>
          <a:xfrm>
            <a:off x="6401761" y="299695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오른쪽 화살표 25"/>
          <p:cNvSpPr/>
          <p:nvPr/>
        </p:nvSpPr>
        <p:spPr>
          <a:xfrm>
            <a:off x="222334" y="6332766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29614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747853" y="492560"/>
            <a:ext cx="8017017" cy="4370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8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선진형 </a:t>
            </a:r>
            <a:r>
              <a:rPr lang="ko-KR" altLang="en-US" sz="28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노인 복지 체계 </a:t>
            </a:r>
            <a:r>
              <a:rPr lang="ko-KR" altLang="en-US" sz="28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구축 확대</a:t>
            </a:r>
            <a:endParaRPr lang="en-US" sz="28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pSp>
        <p:nvGrpSpPr>
          <p:cNvPr id="23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24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12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12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26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8" name="그림 2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53" name="TextBox 52"/>
          <p:cNvSpPr txBox="1"/>
          <p:nvPr/>
        </p:nvSpPr>
        <p:spPr>
          <a:xfrm>
            <a:off x="455945" y="1268760"/>
            <a:ext cx="8580552" cy="5170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지속적인 노인복지 시책 불구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‘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노인복지후진국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’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오명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수요증대에 대응 한계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노인자살률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노인빈곤률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상당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노인재택의료 및 가정간호사업 등 관련 사업 미흡</a:t>
            </a:r>
            <a:endParaRPr lang="en-US" altLang="ko-KR" sz="14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고령사회 급속진전과 평균수명 증대 추세에 대한 사후적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소극적 대책 수준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시책위주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명목위주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금전위주 등 형식위주 복지사업으로 노인층의 복지만족도 저조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※ 38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만 명의 기초생활수급대상인 노인빈곤층 </a:t>
            </a:r>
            <a:r>
              <a:rPr lang="ko-KR" altLang="en-US" sz="140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기초연금액만은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생계급여 감소로 불만</a:t>
            </a:r>
            <a:endParaRPr lang="en-US" altLang="ko-KR" sz="14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>
              <a:lnSpc>
                <a:spcPct val="150000"/>
              </a:lnSpc>
            </a:pP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&lt;</a:t>
            </a:r>
            <a:r>
              <a:rPr lang="ko-KR" altLang="en-US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검토 대책</a:t>
            </a:r>
            <a:r>
              <a:rPr lang="en-US" altLang="ko-KR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&gt;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- 100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세 대비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新 노인복지정책 추진</a:t>
            </a:r>
            <a:endParaRPr lang="en-US" altLang="ko-KR" sz="16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① 노인복지관련 중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장기적 종합적 발전방안 재정립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기존시책 보완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② 노인 관련 「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사회안전망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」 재구성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생계보장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일자리창출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사회공헌 등 대응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③ </a:t>
            </a:r>
            <a:r>
              <a:rPr lang="ko-KR" altLang="en-US" sz="16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범부처차원의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「컨트롤타워」 기능 강화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부처별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개별사업 체계화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노인복지청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신설 검토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④ 행정중심 노인복지대책을 노인중심 맞춤형으로 전환하되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민간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대학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자원봉사 등의 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기능을 포함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다원화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다각화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⑤ 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100%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무상복지 서비스 확대보다 꼭 필요한 노인층에 실질적인 지원 확대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(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단체장의 선심성 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100%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무상복지시책 규제 등 필요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endParaRPr lang="en-US" altLang="ko-KR" sz="16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01182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954800" y="462431"/>
            <a:ext cx="7721656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분산된 복지기능</a:t>
            </a:r>
            <a:r>
              <a:rPr lang="en-US" altLang="ko-KR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『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지역통합 복지센터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』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운영 필요</a:t>
            </a:r>
            <a:endParaRPr lang="en-US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55890" y="1234747"/>
            <a:ext cx="876770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〇 지역아동보호전문기관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장애인성폭력상담센터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노인학대예방센터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보건복지부 소관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〇 가정폭력상담센터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청소년상담센터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육아나눔터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여성가족부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소관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〇 복지기능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관련 지원센터 지역분산 운영으로 예산 및 인원 부족 문제 발생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〇 분산된 복지기능 센터의 통합을 통한 효율적 업무추진 필요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지역통합 복지센터 설치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647547" y="6073638"/>
            <a:ext cx="833616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「지역통합 복지센터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가칭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」 설치를 통한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업무의 효율화</a:t>
            </a:r>
            <a:r>
              <a:rPr lang="en-US" altLang="ko-KR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체계화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도모</a:t>
            </a:r>
            <a:endParaRPr lang="ko-KR" altLang="en-US" sz="2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7172" name="Picture 4" descr="Moped Aus Zusatzzeichen Clip Art">
            <a:hlinkClick r:id="rId7"/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7483647" y="-223838"/>
            <a:ext cx="952500" cy="523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4" name="Picture 6" descr="Moped Aus Zusatzzeichen Clip Art">
            <a:hlinkClick r:id="rId7"/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7483647" y="-71438"/>
            <a:ext cx="952500" cy="523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6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87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88" name="TextBox 87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12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12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89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1" name="그림 9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92" name="오른쪽 화살표 91"/>
          <p:cNvSpPr/>
          <p:nvPr/>
        </p:nvSpPr>
        <p:spPr>
          <a:xfrm>
            <a:off x="6907899" y="140355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6" name="오른쪽 화살표 95"/>
          <p:cNvSpPr/>
          <p:nvPr/>
        </p:nvSpPr>
        <p:spPr>
          <a:xfrm>
            <a:off x="5299789" y="177281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오른쪽 화살표 16"/>
          <p:cNvSpPr/>
          <p:nvPr/>
        </p:nvSpPr>
        <p:spPr>
          <a:xfrm>
            <a:off x="6444208" y="249289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260" y="3315394"/>
            <a:ext cx="1009650" cy="790575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0728" y="4415866"/>
            <a:ext cx="1009650" cy="790575"/>
          </a:xfrm>
          <a:prstGeom prst="rect">
            <a:avLst/>
          </a:prstGeom>
        </p:spPr>
      </p:pic>
      <p:pic>
        <p:nvPicPr>
          <p:cNvPr id="7" name="그림 6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152" y="4415867"/>
            <a:ext cx="1009650" cy="790575"/>
          </a:xfrm>
          <a:prstGeom prst="rect">
            <a:avLst/>
          </a:prstGeom>
        </p:spPr>
      </p:pic>
      <p:pic>
        <p:nvPicPr>
          <p:cNvPr id="13" name="그림 12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7707" y="3315391"/>
            <a:ext cx="835691" cy="790575"/>
          </a:xfrm>
          <a:prstGeom prst="rect">
            <a:avLst/>
          </a:prstGeom>
        </p:spPr>
      </p:pic>
      <p:pic>
        <p:nvPicPr>
          <p:cNvPr id="14" name="그림 13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3768" y="4460898"/>
            <a:ext cx="904875" cy="704850"/>
          </a:xfrm>
          <a:prstGeom prst="rect">
            <a:avLst/>
          </a:prstGeom>
        </p:spPr>
      </p:pic>
      <p:pic>
        <p:nvPicPr>
          <p:cNvPr id="15" name="그림 14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0290" y="3292857"/>
            <a:ext cx="799821" cy="885823"/>
          </a:xfrm>
          <a:prstGeom prst="rect">
            <a:avLst/>
          </a:prstGeom>
        </p:spPr>
      </p:pic>
      <p:sp>
        <p:nvSpPr>
          <p:cNvPr id="16" name="모서리가 둥근 직사각형 15"/>
          <p:cNvSpPr/>
          <p:nvPr/>
        </p:nvSpPr>
        <p:spPr>
          <a:xfrm>
            <a:off x="2411760" y="3220143"/>
            <a:ext cx="976883" cy="981075"/>
          </a:xfrm>
          <a:prstGeom prst="round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1" name="모서리가 둥근 직사각형 30"/>
          <p:cNvSpPr/>
          <p:nvPr/>
        </p:nvSpPr>
        <p:spPr>
          <a:xfrm>
            <a:off x="3710728" y="3220143"/>
            <a:ext cx="976883" cy="981075"/>
          </a:xfrm>
          <a:prstGeom prst="round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2" name="모서리가 둥근 직사각형 31"/>
          <p:cNvSpPr/>
          <p:nvPr/>
        </p:nvSpPr>
        <p:spPr>
          <a:xfrm>
            <a:off x="1116658" y="3220140"/>
            <a:ext cx="976883" cy="981075"/>
          </a:xfrm>
          <a:prstGeom prst="round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3" name="모서리가 둥근 직사각형 32"/>
          <p:cNvSpPr/>
          <p:nvPr/>
        </p:nvSpPr>
        <p:spPr>
          <a:xfrm>
            <a:off x="1124919" y="4320618"/>
            <a:ext cx="976883" cy="981075"/>
          </a:xfrm>
          <a:prstGeom prst="roundRect">
            <a:avLst/>
          </a:prstGeom>
          <a:noFill/>
          <a:ln>
            <a:solidFill>
              <a:schemeClr val="accent4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4" name="모서리가 둥근 직사각형 33"/>
          <p:cNvSpPr/>
          <p:nvPr/>
        </p:nvSpPr>
        <p:spPr>
          <a:xfrm>
            <a:off x="2411757" y="4331854"/>
            <a:ext cx="976883" cy="981075"/>
          </a:xfrm>
          <a:prstGeom prst="roundRect">
            <a:avLst/>
          </a:prstGeom>
          <a:noFill/>
          <a:ln>
            <a:solidFill>
              <a:schemeClr val="accent6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5" name="모서리가 둥근 직사각형 34"/>
          <p:cNvSpPr/>
          <p:nvPr/>
        </p:nvSpPr>
        <p:spPr>
          <a:xfrm>
            <a:off x="3727110" y="4322786"/>
            <a:ext cx="976883" cy="981075"/>
          </a:xfrm>
          <a:prstGeom prst="roundRect">
            <a:avLst/>
          </a:prstGeom>
          <a:noFill/>
          <a:ln>
            <a:solidFill>
              <a:schemeClr val="bg2">
                <a:lumMod val="2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43" name="Group 156"/>
          <p:cNvGrpSpPr/>
          <p:nvPr/>
        </p:nvGrpSpPr>
        <p:grpSpPr>
          <a:xfrm>
            <a:off x="5303931" y="5370948"/>
            <a:ext cx="2960857" cy="391989"/>
            <a:chOff x="2680364" y="4806907"/>
            <a:chExt cx="3783289" cy="500871"/>
          </a:xfrm>
        </p:grpSpPr>
        <p:sp>
          <p:nvSpPr>
            <p:cNvPr id="44" name="Ellipse 98"/>
            <p:cNvSpPr/>
            <p:nvPr>
              <p:custDataLst>
                <p:tags r:id="rId3"/>
              </p:custDataLst>
            </p:nvPr>
          </p:nvSpPr>
          <p:spPr bwMode="auto">
            <a:xfrm>
              <a:off x="2680364" y="4806907"/>
              <a:ext cx="3783289" cy="500871"/>
            </a:xfrm>
            <a:prstGeom prst="ellipse">
              <a:avLst/>
            </a:prstGeom>
            <a:gradFill flip="none" rotWithShape="1">
              <a:gsLst>
                <a:gs pos="100000">
                  <a:srgbClr val="FFFFFF">
                    <a:alpha val="0"/>
                  </a:srgbClr>
                </a:gs>
                <a:gs pos="0">
                  <a:srgbClr val="E6E6E6">
                    <a:lumMod val="10000"/>
                    <a:alpha val="1900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45" name="Ellipse 98"/>
            <p:cNvSpPr/>
            <p:nvPr>
              <p:custDataLst>
                <p:tags r:id="rId4"/>
              </p:custDataLst>
            </p:nvPr>
          </p:nvSpPr>
          <p:spPr bwMode="auto">
            <a:xfrm>
              <a:off x="3718923" y="4934319"/>
              <a:ext cx="1706170" cy="261686"/>
            </a:xfrm>
            <a:prstGeom prst="ellipse">
              <a:avLst/>
            </a:prstGeom>
            <a:gradFill flip="none" rotWithShape="1">
              <a:gsLst>
                <a:gs pos="100000">
                  <a:srgbClr val="FFFFFF">
                    <a:alpha val="0"/>
                  </a:srgbClr>
                </a:gs>
                <a:gs pos="0">
                  <a:srgbClr val="E6E6E6">
                    <a:lumMod val="10000"/>
                    <a:alpha val="4700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solidFill>
                  <a:srgbClr val="FFFFFF"/>
                </a:solidFill>
                <a:latin typeface="Calibri" pitchFamily="34" charset="0"/>
              </a:endParaRPr>
            </a:p>
          </p:txBody>
        </p:sp>
      </p:grpSp>
      <p:sp>
        <p:nvSpPr>
          <p:cNvPr id="46" name="Oval 91"/>
          <p:cNvSpPr/>
          <p:nvPr/>
        </p:nvSpPr>
        <p:spPr bwMode="auto">
          <a:xfrm>
            <a:off x="5436035" y="2941663"/>
            <a:ext cx="2640192" cy="2640189"/>
          </a:xfrm>
          <a:prstGeom prst="ellipse">
            <a:avLst/>
          </a:prstGeom>
          <a:gradFill flip="none" rotWithShape="1">
            <a:gsLst>
              <a:gs pos="89000">
                <a:schemeClr val="bg1">
                  <a:lumMod val="95000"/>
                </a:schemeClr>
              </a:gs>
              <a:gs pos="0">
                <a:schemeClr val="bg1">
                  <a:lumMod val="85000"/>
                </a:schemeClr>
              </a:gs>
            </a:gsLst>
            <a:path path="circle">
              <a:fillToRect l="50000" t="50000" r="50000" b="50000"/>
            </a:path>
            <a:tileRect/>
          </a:gradFill>
          <a:ln w="317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88900" dist="12700" dir="5400000" algn="ctr" rotWithShape="0">
              <a:prstClr val="black">
                <a:alpha val="18000"/>
              </a:prstClr>
            </a:outerShdw>
          </a:effectLst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</a:endParaRPr>
          </a:p>
        </p:txBody>
      </p:sp>
      <p:grpSp>
        <p:nvGrpSpPr>
          <p:cNvPr id="47" name="Group 155"/>
          <p:cNvGrpSpPr/>
          <p:nvPr/>
        </p:nvGrpSpPr>
        <p:grpSpPr>
          <a:xfrm>
            <a:off x="5575508" y="3081136"/>
            <a:ext cx="2361244" cy="2361242"/>
            <a:chOff x="3027377" y="1881058"/>
            <a:chExt cx="3017122" cy="3017120"/>
          </a:xfrm>
        </p:grpSpPr>
        <p:grpSp>
          <p:nvGrpSpPr>
            <p:cNvPr id="48" name="Group 154"/>
            <p:cNvGrpSpPr/>
            <p:nvPr/>
          </p:nvGrpSpPr>
          <p:grpSpPr>
            <a:xfrm>
              <a:off x="3027377" y="1881058"/>
              <a:ext cx="3017122" cy="3017120"/>
              <a:chOff x="3027377" y="1881058"/>
              <a:chExt cx="3017122" cy="3017120"/>
            </a:xfrm>
          </p:grpSpPr>
          <p:sp>
            <p:nvSpPr>
              <p:cNvPr id="51" name="Block Arc 93"/>
              <p:cNvSpPr/>
              <p:nvPr/>
            </p:nvSpPr>
            <p:spPr bwMode="auto">
              <a:xfrm rot="344975">
                <a:off x="3027377" y="1881058"/>
                <a:ext cx="3017122" cy="3017120"/>
              </a:xfrm>
              <a:prstGeom prst="blockArc">
                <a:avLst>
                  <a:gd name="adj1" fmla="val 10626698"/>
                  <a:gd name="adj2" fmla="val 13816282"/>
                  <a:gd name="adj3" fmla="val 22808"/>
                </a:avLst>
              </a:prstGeom>
              <a:solidFill>
                <a:schemeClr val="bg1">
                  <a:lumMod val="75000"/>
                </a:schemeClr>
              </a:solidFill>
              <a:ln w="4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Calibri" pitchFamily="34" charset="0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52" name="Block Arc 94"/>
              <p:cNvSpPr/>
              <p:nvPr/>
            </p:nvSpPr>
            <p:spPr bwMode="auto">
              <a:xfrm rot="4223074">
                <a:off x="3027378" y="1881057"/>
                <a:ext cx="3017120" cy="3017122"/>
              </a:xfrm>
              <a:prstGeom prst="blockArc">
                <a:avLst>
                  <a:gd name="adj1" fmla="val 10090316"/>
                  <a:gd name="adj2" fmla="val 13914095"/>
                  <a:gd name="adj3" fmla="val 22628"/>
                </a:avLst>
              </a:prstGeom>
              <a:solidFill>
                <a:schemeClr val="accent1">
                  <a:lumMod val="50000"/>
                </a:schemeClr>
              </a:solidFill>
              <a:ln w="4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Calibri" pitchFamily="34" charset="0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53" name="Block Arc 95"/>
              <p:cNvSpPr/>
              <p:nvPr/>
            </p:nvSpPr>
            <p:spPr bwMode="auto">
              <a:xfrm rot="7352719">
                <a:off x="3027378" y="1881057"/>
                <a:ext cx="3017120" cy="3017122"/>
              </a:xfrm>
              <a:prstGeom prst="blockArc">
                <a:avLst>
                  <a:gd name="adj1" fmla="val 10926395"/>
                  <a:gd name="adj2" fmla="val 14032909"/>
                  <a:gd name="adj3" fmla="val 22227"/>
                </a:avLst>
              </a:prstGeom>
              <a:solidFill>
                <a:schemeClr val="accent1">
                  <a:lumMod val="75000"/>
                </a:schemeClr>
              </a:solidFill>
              <a:ln w="4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Calibri" pitchFamily="34" charset="0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54" name="Block Arc 96"/>
              <p:cNvSpPr/>
              <p:nvPr/>
            </p:nvSpPr>
            <p:spPr bwMode="auto">
              <a:xfrm rot="10860000">
                <a:off x="3027377" y="1881058"/>
                <a:ext cx="3017122" cy="3017120"/>
              </a:xfrm>
              <a:prstGeom prst="blockArc">
                <a:avLst>
                  <a:gd name="adj1" fmla="val 10700476"/>
                  <a:gd name="adj2" fmla="val 14095246"/>
                  <a:gd name="adj3" fmla="val 22237"/>
                </a:avLst>
              </a:prstGeom>
              <a:solidFill>
                <a:schemeClr val="accent1"/>
              </a:solidFill>
              <a:ln w="4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Calibri" pitchFamily="34" charset="0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55" name="Block Arc 97"/>
              <p:cNvSpPr/>
              <p:nvPr/>
            </p:nvSpPr>
            <p:spPr bwMode="auto">
              <a:xfrm rot="14776966">
                <a:off x="3027378" y="1881057"/>
                <a:ext cx="3017120" cy="3017122"/>
              </a:xfrm>
              <a:prstGeom prst="blockArc">
                <a:avLst>
                  <a:gd name="adj1" fmla="val 10308368"/>
                  <a:gd name="adj2" fmla="val 14130460"/>
                  <a:gd name="adj3" fmla="val 22387"/>
                </a:avLst>
              </a:prstGeom>
              <a:solidFill>
                <a:schemeClr val="tx2">
                  <a:lumMod val="40000"/>
                  <a:lumOff val="60000"/>
                </a:schemeClr>
              </a:solidFill>
              <a:ln w="4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Calibri" pitchFamily="34" charset="0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56" name="Block Arc 98"/>
              <p:cNvSpPr/>
              <p:nvPr/>
            </p:nvSpPr>
            <p:spPr bwMode="auto">
              <a:xfrm rot="18158137">
                <a:off x="3027378" y="1881057"/>
                <a:ext cx="3017120" cy="3017122"/>
              </a:xfrm>
              <a:prstGeom prst="blockArc">
                <a:avLst>
                  <a:gd name="adj1" fmla="val 10918982"/>
                  <a:gd name="adj2" fmla="val 14258712"/>
                  <a:gd name="adj3" fmla="val 22570"/>
                </a:avLst>
              </a:prstGeom>
              <a:solidFill>
                <a:schemeClr val="accent1">
                  <a:lumMod val="40000"/>
                  <a:lumOff val="60000"/>
                </a:schemeClr>
              </a:solidFill>
              <a:ln w="4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Calibri" pitchFamily="34" charset="0"/>
                  <a:ea typeface="MS PGothic" pitchFamily="34" charset="-128"/>
                  <a:cs typeface="+mn-cs"/>
                </a:endParaRPr>
              </a:p>
            </p:txBody>
          </p:sp>
        </p:grpSp>
        <p:sp>
          <p:nvSpPr>
            <p:cNvPr id="49" name="Måne 76"/>
            <p:cNvSpPr/>
            <p:nvPr>
              <p:custDataLst>
                <p:tags r:id="rId1"/>
              </p:custDataLst>
            </p:nvPr>
          </p:nvSpPr>
          <p:spPr bwMode="auto">
            <a:xfrm rot="5400000" flipV="1">
              <a:off x="3838559" y="1090246"/>
              <a:ext cx="1381412" cy="2973395"/>
            </a:xfrm>
            <a:prstGeom prst="moon">
              <a:avLst>
                <a:gd name="adj" fmla="val 9357"/>
              </a:avLst>
            </a:prstGeom>
            <a:gradFill flip="none" rotWithShape="1">
              <a:gsLst>
                <a:gs pos="24000">
                  <a:schemeClr val="tx1">
                    <a:alpha val="11000"/>
                  </a:schemeClr>
                </a:gs>
                <a:gs pos="100000">
                  <a:sysClr val="window" lastClr="FFFFFF">
                    <a:alpha val="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a-DK">
                <a:solidFill>
                  <a:srgbClr val="FFFFFF"/>
                </a:solidFill>
                <a:latin typeface="Calibri" pitchFamily="-112" charset="0"/>
                <a:ea typeface="ＭＳ Ｐゴシック" pitchFamily="-112" charset="-128"/>
              </a:endParaRPr>
            </a:p>
          </p:txBody>
        </p:sp>
        <p:sp>
          <p:nvSpPr>
            <p:cNvPr id="50" name="Måne 76"/>
            <p:cNvSpPr/>
            <p:nvPr>
              <p:custDataLst>
                <p:tags r:id="rId2"/>
              </p:custDataLst>
            </p:nvPr>
          </p:nvSpPr>
          <p:spPr bwMode="auto">
            <a:xfrm rot="16200000">
              <a:off x="3871783" y="2823498"/>
              <a:ext cx="1303625" cy="2824974"/>
            </a:xfrm>
            <a:prstGeom prst="moon">
              <a:avLst>
                <a:gd name="adj" fmla="val 11079"/>
              </a:avLst>
            </a:prstGeom>
            <a:gradFill flip="none" rotWithShape="1">
              <a:gsLst>
                <a:gs pos="24000">
                  <a:schemeClr val="tx1">
                    <a:alpha val="11000"/>
                  </a:schemeClr>
                </a:gs>
                <a:gs pos="100000">
                  <a:sysClr val="window" lastClr="FFFFFF">
                    <a:alpha val="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a-DK">
                <a:solidFill>
                  <a:srgbClr val="FFFFFF"/>
                </a:solidFill>
                <a:latin typeface="Calibri" pitchFamily="-112" charset="0"/>
                <a:ea typeface="ＭＳ Ｐゴシック" pitchFamily="-112" charset="-128"/>
              </a:endParaRPr>
            </a:p>
          </p:txBody>
        </p:sp>
      </p:grpSp>
      <p:sp>
        <p:nvSpPr>
          <p:cNvPr id="57" name="Ellipse 37"/>
          <p:cNvSpPr/>
          <p:nvPr/>
        </p:nvSpPr>
        <p:spPr bwMode="auto">
          <a:xfrm>
            <a:off x="6027716" y="3531973"/>
            <a:ext cx="1456826" cy="1459569"/>
          </a:xfrm>
          <a:prstGeom prst="ellipse">
            <a:avLst/>
          </a:prstGeom>
          <a:gradFill flip="none" rotWithShape="1">
            <a:gsLst>
              <a:gs pos="38000">
                <a:schemeClr val="bg1"/>
              </a:gs>
              <a:gs pos="89000">
                <a:schemeClr val="bg1">
                  <a:lumMod val="8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800"/>
          </a:p>
        </p:txBody>
      </p:sp>
      <p:sp>
        <p:nvSpPr>
          <p:cNvPr id="58" name="Ellipse 39"/>
          <p:cNvSpPr/>
          <p:nvPr/>
        </p:nvSpPr>
        <p:spPr bwMode="auto">
          <a:xfrm>
            <a:off x="6216748" y="3588215"/>
            <a:ext cx="1068613" cy="791515"/>
          </a:xfrm>
          <a:prstGeom prst="ellipse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  <a:alpha val="0"/>
                </a:schemeClr>
              </a:gs>
              <a:gs pos="100000">
                <a:schemeClr val="bg1">
                  <a:alpha val="26000"/>
                </a:schemeClr>
              </a:gs>
            </a:gsLst>
            <a:lin ang="16200000" scaled="0"/>
            <a:tileRect/>
          </a:gradFill>
          <a:ln>
            <a:noFill/>
          </a:ln>
          <a:effectLst>
            <a:outerShdw blurRad="152400" algn="ctr" rotWithShape="0">
              <a:schemeClr val="bg1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800" dirty="0"/>
          </a:p>
        </p:txBody>
      </p:sp>
      <p:sp>
        <p:nvSpPr>
          <p:cNvPr id="59" name="Rectangle 78"/>
          <p:cNvSpPr/>
          <p:nvPr/>
        </p:nvSpPr>
        <p:spPr>
          <a:xfrm rot="17887212">
            <a:off x="5700599" y="3811622"/>
            <a:ext cx="672756" cy="95677"/>
          </a:xfrm>
          <a:prstGeom prst="rect">
            <a:avLst/>
          </a:prstGeom>
        </p:spPr>
        <p:txBody>
          <a:bodyPr spcFirstLastPara="1" wrap="none" numCol="1">
            <a:prstTxWarp prst="textArchUp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ko-KR" altLang="en-US" sz="1200" b="1" dirty="0" smtClean="0">
                <a:solidFill>
                  <a:schemeClr val="tx2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지역아동</a:t>
            </a:r>
            <a:endParaRPr lang="en-US" altLang="ko-KR" sz="1200" b="1" dirty="0" smtClean="0">
              <a:solidFill>
                <a:schemeClr val="tx2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/>
            <a:r>
              <a:rPr lang="ko-KR" altLang="en-US" sz="1200" b="1" dirty="0" smtClean="0">
                <a:solidFill>
                  <a:schemeClr val="tx2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보호전문기</a:t>
            </a:r>
            <a:r>
              <a:rPr lang="ko-KR" altLang="en-US" sz="1200" b="1" dirty="0">
                <a:solidFill>
                  <a:schemeClr val="tx2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관</a:t>
            </a:r>
            <a:endParaRPr lang="en-US" altLang="ko-KR" sz="1200" b="1" dirty="0" smtClean="0">
              <a:solidFill>
                <a:schemeClr val="tx2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60" name="Rectangle 79"/>
          <p:cNvSpPr/>
          <p:nvPr/>
        </p:nvSpPr>
        <p:spPr>
          <a:xfrm>
            <a:off x="6202333" y="3398886"/>
            <a:ext cx="1122447" cy="523063"/>
          </a:xfrm>
          <a:prstGeom prst="rect">
            <a:avLst/>
          </a:prstGeom>
        </p:spPr>
        <p:txBody>
          <a:bodyPr spcFirstLastPara="1" wrap="none" numCol="1">
            <a:prstTxWarp prst="textArchUp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ko-KR" altLang="en-US" sz="1200" dirty="0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장애인성폭력</a:t>
            </a:r>
            <a:endParaRPr lang="en-US" altLang="ko-KR" sz="1200" dirty="0" smtClean="0">
              <a:solidFill>
                <a:schemeClr val="bg1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/>
            <a:r>
              <a:rPr lang="ko-KR" altLang="en-US" sz="1200" dirty="0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상담센</a:t>
            </a:r>
            <a:r>
              <a:rPr lang="ko-KR" altLang="en-US" sz="1200" dirty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터</a:t>
            </a:r>
            <a:endParaRPr lang="en-US" sz="1200" dirty="0">
              <a:solidFill>
                <a:schemeClr val="bg1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61" name="Rectangle 80"/>
          <p:cNvSpPr/>
          <p:nvPr/>
        </p:nvSpPr>
        <p:spPr>
          <a:xfrm rot="3654417">
            <a:off x="6634243" y="3783385"/>
            <a:ext cx="1396988" cy="329981"/>
          </a:xfrm>
          <a:prstGeom prst="rect">
            <a:avLst/>
          </a:prstGeom>
        </p:spPr>
        <p:txBody>
          <a:bodyPr spcFirstLastPara="1" wrap="none" numCol="1">
            <a:prstTxWarp prst="textArchUp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ko-KR" altLang="en-US" sz="1200" dirty="0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노인학대</a:t>
            </a:r>
            <a:endParaRPr lang="en-US" altLang="ko-KR" sz="1200" dirty="0" smtClean="0">
              <a:solidFill>
                <a:schemeClr val="bg1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/>
            <a:r>
              <a:rPr lang="ko-KR" altLang="en-US" sz="1200" dirty="0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예방센</a:t>
            </a:r>
            <a:r>
              <a:rPr lang="ko-KR" altLang="en-US" sz="1200" dirty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터</a:t>
            </a:r>
            <a:endParaRPr lang="en-US" sz="1200" dirty="0">
              <a:solidFill>
                <a:schemeClr val="bg1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62" name="Rectangle 81"/>
          <p:cNvSpPr/>
          <p:nvPr/>
        </p:nvSpPr>
        <p:spPr>
          <a:xfrm rot="17967953">
            <a:off x="7184651" y="4593348"/>
            <a:ext cx="765656" cy="159078"/>
          </a:xfrm>
          <a:prstGeom prst="rect">
            <a:avLst/>
          </a:prstGeom>
        </p:spPr>
        <p:txBody>
          <a:bodyPr spcFirstLastPara="1" wrap="square" numCol="1" anchor="ctr">
            <a:prstTxWarp prst="textArchDown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ko-KR" altLang="en-US" sz="4000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육아나눔터</a:t>
            </a:r>
            <a:endParaRPr lang="en-US" sz="4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63" name="Rectangle 82"/>
          <p:cNvSpPr/>
          <p:nvPr/>
        </p:nvSpPr>
        <p:spPr>
          <a:xfrm rot="3797815">
            <a:off x="5696733" y="4431042"/>
            <a:ext cx="865184" cy="332731"/>
          </a:xfrm>
          <a:prstGeom prst="rect">
            <a:avLst/>
          </a:prstGeom>
        </p:spPr>
        <p:txBody>
          <a:bodyPr spcFirstLastPara="1" wrap="square" numCol="1">
            <a:prstTxWarp prst="textArchDown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ko-KR" altLang="en-US" sz="1200" b="1" dirty="0" smtClean="0">
                <a:solidFill>
                  <a:schemeClr val="tx2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가정폭력</a:t>
            </a:r>
            <a:endParaRPr lang="en-US" altLang="ko-KR" sz="1200" b="1" dirty="0" smtClean="0">
              <a:solidFill>
                <a:schemeClr val="tx2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/>
            <a:r>
              <a:rPr lang="ko-KR" altLang="en-US" sz="1200" b="1" dirty="0" smtClean="0">
                <a:solidFill>
                  <a:schemeClr val="tx2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상담센터</a:t>
            </a:r>
            <a:endParaRPr lang="en-US" sz="1200" dirty="0">
              <a:solidFill>
                <a:schemeClr val="tx2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64" name="Rectangle 83"/>
          <p:cNvSpPr/>
          <p:nvPr/>
        </p:nvSpPr>
        <p:spPr>
          <a:xfrm>
            <a:off x="6289105" y="4829182"/>
            <a:ext cx="948901" cy="239340"/>
          </a:xfrm>
          <a:prstGeom prst="rect">
            <a:avLst/>
          </a:prstGeom>
        </p:spPr>
        <p:txBody>
          <a:bodyPr spcFirstLastPara="1" wrap="square" numCol="1">
            <a:prstTxWarp prst="textArchDown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endParaRPr lang="en-US" sz="12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algn="ctr"/>
            <a:r>
              <a:rPr lang="ko-KR" altLang="en-US" sz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청소년상담센</a:t>
            </a:r>
            <a:r>
              <a:rPr lang="ko-KR" altLang="en-US" sz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터</a:t>
            </a:r>
            <a:endParaRPr lang="en-US" sz="1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pSp>
        <p:nvGrpSpPr>
          <p:cNvPr id="65" name="Group 136"/>
          <p:cNvGrpSpPr/>
          <p:nvPr/>
        </p:nvGrpSpPr>
        <p:grpSpPr>
          <a:xfrm>
            <a:off x="6339797" y="3809758"/>
            <a:ext cx="864992" cy="881243"/>
            <a:chOff x="1066800" y="919535"/>
            <a:chExt cx="909638" cy="926728"/>
          </a:xfrm>
          <a:effectLst>
            <a:outerShdw blurRad="25400" dist="12700" algn="ctr" rotWithShape="0">
              <a:prstClr val="black">
                <a:alpha val="26000"/>
              </a:prstClr>
            </a:outerShdw>
          </a:effectLst>
        </p:grpSpPr>
        <p:sp>
          <p:nvSpPr>
            <p:cNvPr id="66" name="Rectangle 6"/>
            <p:cNvSpPr>
              <a:spLocks noChangeArrowheads="1"/>
            </p:cNvSpPr>
            <p:nvPr/>
          </p:nvSpPr>
          <p:spPr bwMode="auto">
            <a:xfrm>
              <a:off x="1370013" y="995363"/>
              <a:ext cx="17463" cy="65088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Rectangle 7"/>
            <p:cNvSpPr>
              <a:spLocks noChangeArrowheads="1"/>
            </p:cNvSpPr>
            <p:nvPr/>
          </p:nvSpPr>
          <p:spPr bwMode="auto">
            <a:xfrm>
              <a:off x="1457325" y="935038"/>
              <a:ext cx="20638" cy="80963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Rectangle 8"/>
            <p:cNvSpPr>
              <a:spLocks noChangeArrowheads="1"/>
            </p:cNvSpPr>
            <p:nvPr/>
          </p:nvSpPr>
          <p:spPr bwMode="auto">
            <a:xfrm>
              <a:off x="1098550" y="1747838"/>
              <a:ext cx="846138" cy="60325"/>
            </a:xfrm>
            <a:prstGeom prst="rect">
              <a:avLst/>
            </a:prstGeom>
            <a:solidFill>
              <a:srgbClr val="1D4B6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Rectangle 9"/>
            <p:cNvSpPr>
              <a:spLocks noChangeArrowheads="1"/>
            </p:cNvSpPr>
            <p:nvPr/>
          </p:nvSpPr>
          <p:spPr bwMode="auto">
            <a:xfrm>
              <a:off x="1082675" y="1766888"/>
              <a:ext cx="877888" cy="60325"/>
            </a:xfrm>
            <a:prstGeom prst="rect">
              <a:avLst/>
            </a:prstGeom>
            <a:solidFill>
              <a:srgbClr val="1D4B6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Rectangle 10"/>
            <p:cNvSpPr>
              <a:spLocks noChangeArrowheads="1"/>
            </p:cNvSpPr>
            <p:nvPr/>
          </p:nvSpPr>
          <p:spPr bwMode="auto">
            <a:xfrm>
              <a:off x="1066800" y="1785938"/>
              <a:ext cx="909638" cy="60325"/>
            </a:xfrm>
            <a:prstGeom prst="rect">
              <a:avLst/>
            </a:prstGeom>
            <a:solidFill>
              <a:srgbClr val="1D4B6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11"/>
            <p:cNvSpPr>
              <a:spLocks/>
            </p:cNvSpPr>
            <p:nvPr/>
          </p:nvSpPr>
          <p:spPr bwMode="auto">
            <a:xfrm>
              <a:off x="1233488" y="920750"/>
              <a:ext cx="376238" cy="276225"/>
            </a:xfrm>
            <a:custGeom>
              <a:avLst/>
              <a:gdLst>
                <a:gd name="T0" fmla="*/ 0 w 947"/>
                <a:gd name="T1" fmla="*/ 692 h 692"/>
                <a:gd name="T2" fmla="*/ 0 w 947"/>
                <a:gd name="T3" fmla="*/ 481 h 692"/>
                <a:gd name="T4" fmla="*/ 947 w 947"/>
                <a:gd name="T5" fmla="*/ 0 h 692"/>
                <a:gd name="T6" fmla="*/ 934 w 947"/>
                <a:gd name="T7" fmla="*/ 264 h 692"/>
                <a:gd name="T8" fmla="*/ 0 w 947"/>
                <a:gd name="T9" fmla="*/ 692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7" h="692">
                  <a:moveTo>
                    <a:pt x="0" y="692"/>
                  </a:moveTo>
                  <a:lnTo>
                    <a:pt x="0" y="481"/>
                  </a:lnTo>
                  <a:lnTo>
                    <a:pt x="947" y="0"/>
                  </a:lnTo>
                  <a:lnTo>
                    <a:pt x="934" y="264"/>
                  </a:lnTo>
                  <a:lnTo>
                    <a:pt x="0" y="692"/>
                  </a:lnTo>
                  <a:close/>
                </a:path>
              </a:pathLst>
            </a:custGeom>
            <a:gradFill>
              <a:gsLst>
                <a:gs pos="0">
                  <a:schemeClr val="bg1">
                    <a:lumMod val="95000"/>
                    <a:shade val="67500"/>
                    <a:satMod val="11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162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12"/>
            <p:cNvSpPr>
              <a:spLocks/>
            </p:cNvSpPr>
            <p:nvPr/>
          </p:nvSpPr>
          <p:spPr bwMode="auto">
            <a:xfrm>
              <a:off x="1605334" y="919535"/>
              <a:ext cx="249238" cy="284163"/>
            </a:xfrm>
            <a:custGeom>
              <a:avLst/>
              <a:gdLst>
                <a:gd name="T0" fmla="*/ 626 w 626"/>
                <a:gd name="T1" fmla="*/ 718 h 718"/>
                <a:gd name="T2" fmla="*/ 626 w 626"/>
                <a:gd name="T3" fmla="*/ 506 h 718"/>
                <a:gd name="T4" fmla="*/ 6 w 626"/>
                <a:gd name="T5" fmla="*/ 0 h 718"/>
                <a:gd name="T6" fmla="*/ 0 w 626"/>
                <a:gd name="T7" fmla="*/ 274 h 718"/>
                <a:gd name="T8" fmla="*/ 626 w 626"/>
                <a:gd name="T9" fmla="*/ 718 h 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6" h="718">
                  <a:moveTo>
                    <a:pt x="626" y="718"/>
                  </a:moveTo>
                  <a:lnTo>
                    <a:pt x="626" y="506"/>
                  </a:lnTo>
                  <a:lnTo>
                    <a:pt x="6" y="0"/>
                  </a:lnTo>
                  <a:lnTo>
                    <a:pt x="0" y="274"/>
                  </a:lnTo>
                  <a:lnTo>
                    <a:pt x="626" y="71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13"/>
            <p:cNvSpPr>
              <a:spLocks/>
            </p:cNvSpPr>
            <p:nvPr/>
          </p:nvSpPr>
          <p:spPr bwMode="auto">
            <a:xfrm>
              <a:off x="1123950" y="977900"/>
              <a:ext cx="519113" cy="811213"/>
            </a:xfrm>
            <a:custGeom>
              <a:avLst/>
              <a:gdLst>
                <a:gd name="T0" fmla="*/ 0 w 1304"/>
                <a:gd name="T1" fmla="*/ 582 h 2044"/>
                <a:gd name="T2" fmla="*/ 1304 w 1304"/>
                <a:gd name="T3" fmla="*/ 0 h 2044"/>
                <a:gd name="T4" fmla="*/ 1304 w 1304"/>
                <a:gd name="T5" fmla="*/ 2044 h 2044"/>
                <a:gd name="T6" fmla="*/ 0 w 1304"/>
                <a:gd name="T7" fmla="*/ 2044 h 2044"/>
                <a:gd name="T8" fmla="*/ 0 w 1304"/>
                <a:gd name="T9" fmla="*/ 582 h 2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4" h="2044">
                  <a:moveTo>
                    <a:pt x="0" y="582"/>
                  </a:moveTo>
                  <a:lnTo>
                    <a:pt x="1304" y="0"/>
                  </a:lnTo>
                  <a:lnTo>
                    <a:pt x="1304" y="2044"/>
                  </a:lnTo>
                  <a:lnTo>
                    <a:pt x="0" y="2044"/>
                  </a:lnTo>
                  <a:lnTo>
                    <a:pt x="0" y="582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95000"/>
                    <a:shade val="67500"/>
                    <a:satMod val="115000"/>
                  </a:schemeClr>
                </a:gs>
                <a:gs pos="33000">
                  <a:schemeClr val="bg1">
                    <a:lumMod val="95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14"/>
            <p:cNvSpPr>
              <a:spLocks/>
            </p:cNvSpPr>
            <p:nvPr/>
          </p:nvSpPr>
          <p:spPr bwMode="auto">
            <a:xfrm>
              <a:off x="1643063" y="977900"/>
              <a:ext cx="265113" cy="811213"/>
            </a:xfrm>
            <a:custGeom>
              <a:avLst/>
              <a:gdLst>
                <a:gd name="T0" fmla="*/ 670 w 670"/>
                <a:gd name="T1" fmla="*/ 582 h 2044"/>
                <a:gd name="T2" fmla="*/ 509 w 670"/>
                <a:gd name="T3" fmla="*/ 486 h 2044"/>
                <a:gd name="T4" fmla="*/ 477 w 670"/>
                <a:gd name="T5" fmla="*/ 378 h 2044"/>
                <a:gd name="T6" fmla="*/ 0 w 670"/>
                <a:gd name="T7" fmla="*/ 0 h 2044"/>
                <a:gd name="T8" fmla="*/ 0 w 670"/>
                <a:gd name="T9" fmla="*/ 2044 h 2044"/>
                <a:gd name="T10" fmla="*/ 670 w 670"/>
                <a:gd name="T11" fmla="*/ 2044 h 2044"/>
                <a:gd name="T12" fmla="*/ 670 w 670"/>
                <a:gd name="T13" fmla="*/ 582 h 2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0" h="2044">
                  <a:moveTo>
                    <a:pt x="670" y="582"/>
                  </a:moveTo>
                  <a:lnTo>
                    <a:pt x="509" y="486"/>
                  </a:lnTo>
                  <a:lnTo>
                    <a:pt x="477" y="378"/>
                  </a:lnTo>
                  <a:lnTo>
                    <a:pt x="0" y="0"/>
                  </a:lnTo>
                  <a:lnTo>
                    <a:pt x="0" y="2044"/>
                  </a:lnTo>
                  <a:lnTo>
                    <a:pt x="670" y="2044"/>
                  </a:lnTo>
                  <a:lnTo>
                    <a:pt x="670" y="582"/>
                  </a:lnTo>
                  <a:close/>
                </a:path>
              </a:pathLst>
            </a:custGeom>
            <a:solidFill>
              <a:srgbClr val="1D4B6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15"/>
            <p:cNvSpPr>
              <a:spLocks noEditPoints="1"/>
            </p:cNvSpPr>
            <p:nvPr/>
          </p:nvSpPr>
          <p:spPr bwMode="auto">
            <a:xfrm>
              <a:off x="1157288" y="1073150"/>
              <a:ext cx="433388" cy="677863"/>
            </a:xfrm>
            <a:custGeom>
              <a:avLst/>
              <a:gdLst>
                <a:gd name="T0" fmla="*/ 0 w 1089"/>
                <a:gd name="T1" fmla="*/ 1589 h 1709"/>
                <a:gd name="T2" fmla="*/ 238 w 1089"/>
                <a:gd name="T3" fmla="*/ 1573 h 1709"/>
                <a:gd name="T4" fmla="*/ 238 w 1089"/>
                <a:gd name="T5" fmla="*/ 1697 h 1709"/>
                <a:gd name="T6" fmla="*/ 0 w 1089"/>
                <a:gd name="T7" fmla="*/ 1709 h 1709"/>
                <a:gd name="T8" fmla="*/ 0 w 1089"/>
                <a:gd name="T9" fmla="*/ 1589 h 1709"/>
                <a:gd name="T10" fmla="*/ 296 w 1089"/>
                <a:gd name="T11" fmla="*/ 1568 h 1709"/>
                <a:gd name="T12" fmla="*/ 626 w 1089"/>
                <a:gd name="T13" fmla="*/ 1546 h 1709"/>
                <a:gd name="T14" fmla="*/ 626 w 1089"/>
                <a:gd name="T15" fmla="*/ 1678 h 1709"/>
                <a:gd name="T16" fmla="*/ 296 w 1089"/>
                <a:gd name="T17" fmla="*/ 1694 h 1709"/>
                <a:gd name="T18" fmla="*/ 296 w 1089"/>
                <a:gd name="T19" fmla="*/ 1568 h 1709"/>
                <a:gd name="T20" fmla="*/ 684 w 1089"/>
                <a:gd name="T21" fmla="*/ 1542 h 1709"/>
                <a:gd name="T22" fmla="*/ 1089 w 1089"/>
                <a:gd name="T23" fmla="*/ 1515 h 1709"/>
                <a:gd name="T24" fmla="*/ 1089 w 1089"/>
                <a:gd name="T25" fmla="*/ 1655 h 1709"/>
                <a:gd name="T26" fmla="*/ 684 w 1089"/>
                <a:gd name="T27" fmla="*/ 1675 h 1709"/>
                <a:gd name="T28" fmla="*/ 684 w 1089"/>
                <a:gd name="T29" fmla="*/ 1542 h 1709"/>
                <a:gd name="T30" fmla="*/ 0 w 1089"/>
                <a:gd name="T31" fmla="*/ 441 h 1709"/>
                <a:gd name="T32" fmla="*/ 1089 w 1089"/>
                <a:gd name="T33" fmla="*/ 0 h 1709"/>
                <a:gd name="T34" fmla="*/ 1089 w 1089"/>
                <a:gd name="T35" fmla="*/ 142 h 1709"/>
                <a:gd name="T36" fmla="*/ 0 w 1089"/>
                <a:gd name="T37" fmla="*/ 583 h 1709"/>
                <a:gd name="T38" fmla="*/ 0 w 1089"/>
                <a:gd name="T39" fmla="*/ 441 h 1709"/>
                <a:gd name="T40" fmla="*/ 0 w 1089"/>
                <a:gd name="T41" fmla="*/ 748 h 1709"/>
                <a:gd name="T42" fmla="*/ 1089 w 1089"/>
                <a:gd name="T43" fmla="*/ 394 h 1709"/>
                <a:gd name="T44" fmla="*/ 1089 w 1089"/>
                <a:gd name="T45" fmla="*/ 535 h 1709"/>
                <a:gd name="T46" fmla="*/ 0 w 1089"/>
                <a:gd name="T47" fmla="*/ 889 h 1709"/>
                <a:gd name="T48" fmla="*/ 0 w 1089"/>
                <a:gd name="T49" fmla="*/ 748 h 1709"/>
                <a:gd name="T50" fmla="*/ 0 w 1089"/>
                <a:gd name="T51" fmla="*/ 1036 h 1709"/>
                <a:gd name="T52" fmla="*/ 1089 w 1089"/>
                <a:gd name="T53" fmla="*/ 771 h 1709"/>
                <a:gd name="T54" fmla="*/ 1089 w 1089"/>
                <a:gd name="T55" fmla="*/ 911 h 1709"/>
                <a:gd name="T56" fmla="*/ 0 w 1089"/>
                <a:gd name="T57" fmla="*/ 1178 h 1709"/>
                <a:gd name="T58" fmla="*/ 0 w 1089"/>
                <a:gd name="T59" fmla="*/ 1036 h 1709"/>
                <a:gd name="T60" fmla="*/ 0 w 1089"/>
                <a:gd name="T61" fmla="*/ 1317 h 1709"/>
                <a:gd name="T62" fmla="*/ 1089 w 1089"/>
                <a:gd name="T63" fmla="*/ 1147 h 1709"/>
                <a:gd name="T64" fmla="*/ 1089 w 1089"/>
                <a:gd name="T65" fmla="*/ 1288 h 1709"/>
                <a:gd name="T66" fmla="*/ 0 w 1089"/>
                <a:gd name="T67" fmla="*/ 1457 h 1709"/>
                <a:gd name="T68" fmla="*/ 0 w 1089"/>
                <a:gd name="T69" fmla="*/ 1317 h 1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89" h="1709">
                  <a:moveTo>
                    <a:pt x="0" y="1589"/>
                  </a:moveTo>
                  <a:lnTo>
                    <a:pt x="238" y="1573"/>
                  </a:lnTo>
                  <a:lnTo>
                    <a:pt x="238" y="1697"/>
                  </a:lnTo>
                  <a:lnTo>
                    <a:pt x="0" y="1709"/>
                  </a:lnTo>
                  <a:lnTo>
                    <a:pt x="0" y="1589"/>
                  </a:lnTo>
                  <a:close/>
                  <a:moveTo>
                    <a:pt x="296" y="1568"/>
                  </a:moveTo>
                  <a:lnTo>
                    <a:pt x="626" y="1546"/>
                  </a:lnTo>
                  <a:lnTo>
                    <a:pt x="626" y="1678"/>
                  </a:lnTo>
                  <a:lnTo>
                    <a:pt x="296" y="1694"/>
                  </a:lnTo>
                  <a:lnTo>
                    <a:pt x="296" y="1568"/>
                  </a:lnTo>
                  <a:close/>
                  <a:moveTo>
                    <a:pt x="684" y="1542"/>
                  </a:moveTo>
                  <a:lnTo>
                    <a:pt x="1089" y="1515"/>
                  </a:lnTo>
                  <a:lnTo>
                    <a:pt x="1089" y="1655"/>
                  </a:lnTo>
                  <a:lnTo>
                    <a:pt x="684" y="1675"/>
                  </a:lnTo>
                  <a:lnTo>
                    <a:pt x="684" y="1542"/>
                  </a:lnTo>
                  <a:close/>
                  <a:moveTo>
                    <a:pt x="0" y="441"/>
                  </a:moveTo>
                  <a:lnTo>
                    <a:pt x="1089" y="0"/>
                  </a:lnTo>
                  <a:lnTo>
                    <a:pt x="1089" y="142"/>
                  </a:lnTo>
                  <a:lnTo>
                    <a:pt x="0" y="583"/>
                  </a:lnTo>
                  <a:lnTo>
                    <a:pt x="0" y="441"/>
                  </a:lnTo>
                  <a:close/>
                  <a:moveTo>
                    <a:pt x="0" y="748"/>
                  </a:moveTo>
                  <a:lnTo>
                    <a:pt x="1089" y="394"/>
                  </a:lnTo>
                  <a:lnTo>
                    <a:pt x="1089" y="535"/>
                  </a:lnTo>
                  <a:lnTo>
                    <a:pt x="0" y="889"/>
                  </a:lnTo>
                  <a:lnTo>
                    <a:pt x="0" y="748"/>
                  </a:lnTo>
                  <a:close/>
                  <a:moveTo>
                    <a:pt x="0" y="1036"/>
                  </a:moveTo>
                  <a:lnTo>
                    <a:pt x="1089" y="771"/>
                  </a:lnTo>
                  <a:lnTo>
                    <a:pt x="1089" y="911"/>
                  </a:lnTo>
                  <a:lnTo>
                    <a:pt x="0" y="1178"/>
                  </a:lnTo>
                  <a:lnTo>
                    <a:pt x="0" y="1036"/>
                  </a:lnTo>
                  <a:close/>
                  <a:moveTo>
                    <a:pt x="0" y="1317"/>
                  </a:moveTo>
                  <a:lnTo>
                    <a:pt x="1089" y="1147"/>
                  </a:lnTo>
                  <a:lnTo>
                    <a:pt x="1089" y="1288"/>
                  </a:lnTo>
                  <a:lnTo>
                    <a:pt x="0" y="1457"/>
                  </a:lnTo>
                  <a:lnTo>
                    <a:pt x="0" y="1317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ffectLst>
              <a:innerShdw blurRad="25400">
                <a:prstClr val="black">
                  <a:alpha val="28000"/>
                </a:prstClr>
              </a:inn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3" name="이등변 삼각형 22"/>
          <p:cNvSpPr/>
          <p:nvPr/>
        </p:nvSpPr>
        <p:spPr>
          <a:xfrm rot="5400000">
            <a:off x="4744282" y="4168158"/>
            <a:ext cx="440657" cy="165597"/>
          </a:xfrm>
          <a:prstGeom prst="triangl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모서리가 둥근 직사각형 23"/>
          <p:cNvSpPr/>
          <p:nvPr/>
        </p:nvSpPr>
        <p:spPr>
          <a:xfrm>
            <a:off x="6241159" y="4073581"/>
            <a:ext cx="1044202" cy="397704"/>
          </a:xfrm>
          <a:prstGeom prst="roundRect">
            <a:avLst/>
          </a:prstGeom>
          <a:noFill/>
          <a:ln w="38100">
            <a:solidFill>
              <a:srgbClr val="C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통 합</a:t>
            </a:r>
            <a:endParaRPr lang="ko-KR" altLang="en-US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6" name="오른쪽 화살표 75"/>
          <p:cNvSpPr/>
          <p:nvPr/>
        </p:nvSpPr>
        <p:spPr>
          <a:xfrm>
            <a:off x="391901" y="6226084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89549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953583" y="507290"/>
            <a:ext cx="7585412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국민안전  관련</a:t>
            </a:r>
            <a:r>
              <a:rPr lang="en-US" altLang="ko-KR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보건의료분야  종합대책 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점검</a:t>
            </a:r>
            <a:endParaRPr lang="en-US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1" name="Rectangle 17"/>
          <p:cNvSpPr/>
          <p:nvPr/>
        </p:nvSpPr>
        <p:spPr>
          <a:xfrm>
            <a:off x="468987" y="5018852"/>
            <a:ext cx="8249076" cy="253781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28000"/>
                </a:schemeClr>
              </a:gs>
              <a:gs pos="100000">
                <a:schemeClr val="accent1">
                  <a:tint val="50000"/>
                  <a:shade val="100000"/>
                  <a:satMod val="350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aphicFrame>
        <p:nvGraphicFramePr>
          <p:cNvPr id="22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4728544"/>
              </p:ext>
            </p:extLst>
          </p:nvPr>
        </p:nvGraphicFramePr>
        <p:xfrm>
          <a:off x="687235" y="2733388"/>
          <a:ext cx="7722638" cy="2397485"/>
        </p:xfrm>
        <a:graphic>
          <a:graphicData uri="http://schemas.openxmlformats.org/drawingml/2006/table">
            <a:tbl>
              <a:tblPr firstRow="1" bandRow="1">
                <a:effectLst>
                  <a:outerShdw blurRad="25400" dist="12700" dir="5400000" algn="t" rotWithShape="0">
                    <a:prstClr val="black">
                      <a:alpha val="22000"/>
                    </a:prstClr>
                  </a:outerShdw>
                </a:effectLst>
                <a:tableStyleId>{5C22544A-7EE6-4342-B048-85BDC9FD1C3A}</a:tableStyleId>
              </a:tblPr>
              <a:tblGrid>
                <a:gridCol w="1890421"/>
                <a:gridCol w="1890421"/>
                <a:gridCol w="2448271"/>
                <a:gridCol w="1493525"/>
              </a:tblGrid>
              <a:tr h="160338">
                <a:tc gridSpan="2"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dirty="0" smtClean="0">
                          <a:latin typeface="HY견고딕" panose="02030600000101010101" pitchFamily="18" charset="-127"/>
                          <a:ea typeface="HY견고딕" panose="02030600000101010101" pitchFamily="18" charset="-127"/>
                        </a:rPr>
                        <a:t>소비자안전영역</a:t>
                      </a:r>
                      <a:endParaRPr lang="en-US" sz="1400" b="0" dirty="0" smtClean="0">
                        <a:latin typeface="HY견고딕" panose="02030600000101010101" pitchFamily="18" charset="-127"/>
                        <a:ea typeface="HY견고딕" panose="02030600000101010101" pitchFamily="18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26628D">
                            <a:shade val="30000"/>
                            <a:satMod val="115000"/>
                          </a:srgbClr>
                        </a:gs>
                        <a:gs pos="50000">
                          <a:srgbClr val="26628D">
                            <a:shade val="67500"/>
                            <a:satMod val="115000"/>
                          </a:srgbClr>
                        </a:gs>
                        <a:gs pos="100000">
                          <a:srgbClr val="26628D">
                            <a:shade val="100000"/>
                            <a:satMod val="115000"/>
                          </a:srgbClr>
                        </a:gs>
                      </a:gsLst>
                      <a:lin ang="162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dirty="0" smtClean="0">
                          <a:latin typeface="HY견고딕" panose="02030600000101010101" pitchFamily="18" charset="-127"/>
                          <a:ea typeface="HY견고딕" panose="02030600000101010101" pitchFamily="18" charset="-127"/>
                        </a:rPr>
                        <a:t>관련 법률</a:t>
                      </a:r>
                      <a:r>
                        <a:rPr lang="en-US" sz="1400" b="0" dirty="0" smtClean="0">
                          <a:latin typeface="HY견고딕" panose="02030600000101010101" pitchFamily="18" charset="-127"/>
                          <a:ea typeface="HY견고딕" panose="02030600000101010101" pitchFamily="18" charset="-127"/>
                        </a:rPr>
                        <a:t>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26628D">
                            <a:shade val="30000"/>
                            <a:satMod val="115000"/>
                          </a:srgbClr>
                        </a:gs>
                        <a:gs pos="50000">
                          <a:srgbClr val="26628D">
                            <a:shade val="67500"/>
                            <a:satMod val="115000"/>
                          </a:srgbClr>
                        </a:gs>
                        <a:gs pos="100000">
                          <a:srgbClr val="26628D">
                            <a:shade val="100000"/>
                            <a:satMod val="115000"/>
                          </a:srgbClr>
                        </a:gs>
                      </a:gsLst>
                      <a:lin ang="162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ko-KR" altLang="en-US" sz="1400" b="0" dirty="0" smtClean="0">
                          <a:latin typeface="HY견고딕" panose="02030600000101010101" pitchFamily="18" charset="-127"/>
                          <a:ea typeface="HY견고딕" panose="02030600000101010101" pitchFamily="18" charset="-127"/>
                        </a:rPr>
                        <a:t>관련법에</a:t>
                      </a:r>
                      <a:endParaRPr lang="en-US" altLang="ko-KR" sz="1400" b="0" dirty="0" smtClean="0">
                        <a:latin typeface="HY견고딕" panose="02030600000101010101" pitchFamily="18" charset="-127"/>
                        <a:ea typeface="HY견고딕" panose="02030600000101010101" pitchFamily="18" charset="-127"/>
                      </a:endParaRPr>
                    </a:p>
                    <a:p>
                      <a:pPr algn="ctr"/>
                      <a:r>
                        <a:rPr lang="ko-KR" altLang="en-US" sz="1400" b="0" dirty="0" smtClean="0">
                          <a:latin typeface="HY견고딕" panose="02030600000101010101" pitchFamily="18" charset="-127"/>
                          <a:ea typeface="HY견고딕" panose="02030600000101010101" pitchFamily="18" charset="-127"/>
                        </a:rPr>
                        <a:t>이행계획 존재</a:t>
                      </a:r>
                      <a:endParaRPr lang="en-US" sz="1400" b="0" dirty="0">
                        <a:latin typeface="HY견고딕" panose="02030600000101010101" pitchFamily="18" charset="-127"/>
                        <a:ea typeface="HY견고딕" panose="02030600000101010101" pitchFamily="18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26628D">
                            <a:shade val="30000"/>
                            <a:satMod val="115000"/>
                          </a:srgbClr>
                        </a:gs>
                        <a:gs pos="50000">
                          <a:srgbClr val="26628D">
                            <a:shade val="67500"/>
                            <a:satMod val="115000"/>
                          </a:srgbClr>
                        </a:gs>
                        <a:gs pos="100000">
                          <a:srgbClr val="26628D">
                            <a:shade val="100000"/>
                            <a:satMod val="115000"/>
                          </a:srgbClr>
                        </a:gs>
                      </a:gsLst>
                      <a:lin ang="16200000" scaled="1"/>
                      <a:tileRect/>
                    </a:gradFill>
                  </a:tcPr>
                </a:tc>
              </a:tr>
              <a:tr h="160338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dirty="0" smtClean="0">
                          <a:solidFill>
                            <a:schemeClr val="bg1"/>
                          </a:solidFill>
                          <a:latin typeface="HY견고딕" panose="02030600000101010101" pitchFamily="18" charset="-127"/>
                          <a:ea typeface="HY견고딕" panose="02030600000101010101" pitchFamily="18" charset="-127"/>
                        </a:rPr>
                        <a:t>대  영역</a:t>
                      </a:r>
                      <a:endParaRPr lang="en-US" sz="1400" dirty="0" smtClean="0">
                        <a:solidFill>
                          <a:schemeClr val="bg1"/>
                        </a:solidFill>
                        <a:latin typeface="HY견고딕" panose="02030600000101010101" pitchFamily="18" charset="-127"/>
                        <a:ea typeface="HY견고딕" panose="02030600000101010101" pitchFamily="18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26628D">
                            <a:shade val="30000"/>
                            <a:satMod val="115000"/>
                          </a:srgbClr>
                        </a:gs>
                        <a:gs pos="50000">
                          <a:srgbClr val="26628D">
                            <a:shade val="67500"/>
                            <a:satMod val="115000"/>
                          </a:srgbClr>
                        </a:gs>
                        <a:gs pos="100000">
                          <a:srgbClr val="26628D">
                            <a:shade val="100000"/>
                            <a:satMod val="115000"/>
                          </a:srgbClr>
                        </a:gs>
                      </a:gsLst>
                      <a:lin ang="162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dirty="0" smtClean="0">
                          <a:solidFill>
                            <a:schemeClr val="bg1"/>
                          </a:solidFill>
                          <a:latin typeface="HY견고딕" panose="02030600000101010101" pitchFamily="18" charset="-127"/>
                          <a:ea typeface="HY견고딕" panose="02030600000101010101" pitchFamily="18" charset="-127"/>
                        </a:rPr>
                        <a:t>세부  영역</a:t>
                      </a:r>
                      <a:endParaRPr lang="en-US" sz="1400" b="0" dirty="0" smtClean="0">
                        <a:solidFill>
                          <a:schemeClr val="bg1"/>
                        </a:solidFill>
                        <a:latin typeface="HY견고딕" panose="02030600000101010101" pitchFamily="18" charset="-127"/>
                        <a:ea typeface="HY견고딕" panose="02030600000101010101" pitchFamily="18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26628D">
                            <a:shade val="30000"/>
                            <a:satMod val="115000"/>
                          </a:srgbClr>
                        </a:gs>
                        <a:gs pos="50000">
                          <a:srgbClr val="26628D">
                            <a:shade val="67500"/>
                            <a:satMod val="115000"/>
                          </a:srgbClr>
                        </a:gs>
                        <a:gs pos="100000">
                          <a:srgbClr val="26628D">
                            <a:shade val="100000"/>
                            <a:satMod val="115000"/>
                          </a:srgbClr>
                        </a:gs>
                      </a:gsLst>
                      <a:lin ang="1620000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357577">
                <a:tc rowSpan="2">
                  <a:txBody>
                    <a:bodyPr/>
                    <a:lstStyle/>
                    <a:p>
                      <a:pPr algn="ctr"/>
                      <a:r>
                        <a:rPr lang="ko-KR" altLang="en-US" sz="1200" dirty="0" smtClean="0">
                          <a:latin typeface="HY견고딕" panose="02030600000101010101" pitchFamily="18" charset="-127"/>
                          <a:ea typeface="HY견고딕" panose="02030600000101010101" pitchFamily="18" charset="-127"/>
                        </a:rPr>
                        <a:t>의약품</a:t>
                      </a:r>
                      <a:endParaRPr lang="en-US" altLang="ko-KR" sz="1200" dirty="0" smtClean="0">
                        <a:latin typeface="HY견고딕" panose="02030600000101010101" pitchFamily="18" charset="-127"/>
                        <a:ea typeface="HY견고딕" panose="02030600000101010101" pitchFamily="18" charset="-127"/>
                      </a:endParaRPr>
                    </a:p>
                    <a:p>
                      <a:pPr algn="ctr"/>
                      <a:r>
                        <a:rPr lang="ko-KR" altLang="en-US" sz="1200" dirty="0" smtClean="0">
                          <a:latin typeface="HY견고딕" panose="02030600000101010101" pitchFamily="18" charset="-127"/>
                          <a:ea typeface="HY견고딕" panose="02030600000101010101" pitchFamily="18" charset="-127"/>
                        </a:rPr>
                        <a:t>안전</a:t>
                      </a:r>
                      <a:endParaRPr lang="ko-KR" altLang="en-US" sz="1200" dirty="0">
                        <a:latin typeface="HY견고딕" panose="02030600000101010101" pitchFamily="18" charset="-127"/>
                        <a:ea typeface="HY견고딕" panose="02030600000101010101" pitchFamily="18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dirty="0" smtClean="0">
                          <a:latin typeface="HY견고딕" panose="02030600000101010101" pitchFamily="18" charset="-127"/>
                          <a:ea typeface="HY견고딕" panose="02030600000101010101" pitchFamily="18" charset="-127"/>
                        </a:rPr>
                        <a:t>의약품</a:t>
                      </a:r>
                      <a:endParaRPr lang="ko-KR" altLang="en-US" sz="1200" dirty="0">
                        <a:latin typeface="HY견고딕" panose="02030600000101010101" pitchFamily="18" charset="-127"/>
                        <a:ea typeface="HY견고딕" panose="02030600000101010101" pitchFamily="18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dirty="0" smtClean="0">
                          <a:latin typeface="HY견고딕" panose="02030600000101010101" pitchFamily="18" charset="-127"/>
                          <a:ea typeface="HY견고딕" panose="02030600000101010101" pitchFamily="18" charset="-127"/>
                        </a:rPr>
                        <a:t>약사법</a:t>
                      </a:r>
                      <a:endParaRPr lang="ko-KR" altLang="en-US" sz="1200" dirty="0">
                        <a:latin typeface="HY견고딕" panose="02030600000101010101" pitchFamily="18" charset="-127"/>
                        <a:ea typeface="HY견고딕" panose="02030600000101010101" pitchFamily="18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HY견고딕" panose="02030600000101010101" pitchFamily="18" charset="-127"/>
                        <a:ea typeface="HY견고딕" panose="02030600000101010101" pitchFamily="18" charset="-127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57577">
                <a:tc vMerge="1">
                  <a:txBody>
                    <a:bodyPr/>
                    <a:lstStyle/>
                    <a:p>
                      <a:endParaRPr lang="ko-KR" alt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dirty="0" smtClean="0">
                          <a:latin typeface="HY견고딕" panose="02030600000101010101" pitchFamily="18" charset="-127"/>
                          <a:ea typeface="HY견고딕" panose="02030600000101010101" pitchFamily="18" charset="-127"/>
                        </a:rPr>
                        <a:t>의료기기</a:t>
                      </a:r>
                      <a:endParaRPr lang="ko-KR" altLang="en-US" sz="1200" dirty="0">
                        <a:latin typeface="HY견고딕" panose="02030600000101010101" pitchFamily="18" charset="-127"/>
                        <a:ea typeface="HY견고딕" panose="02030600000101010101" pitchFamily="18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dirty="0" err="1" smtClean="0">
                          <a:latin typeface="HY견고딕" panose="02030600000101010101" pitchFamily="18" charset="-127"/>
                          <a:ea typeface="HY견고딕" panose="02030600000101010101" pitchFamily="18" charset="-127"/>
                        </a:rPr>
                        <a:t>의료기기법</a:t>
                      </a:r>
                      <a:endParaRPr lang="ko-KR" altLang="en-US" sz="1200" dirty="0">
                        <a:latin typeface="HY견고딕" panose="02030600000101010101" pitchFamily="18" charset="-127"/>
                        <a:ea typeface="HY견고딕" panose="02030600000101010101" pitchFamily="18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HY견고딕" panose="02030600000101010101" pitchFamily="18" charset="-127"/>
                        <a:ea typeface="HY견고딕" panose="02030600000101010101" pitchFamily="18" charset="-127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57577">
                <a:tc rowSpan="3">
                  <a:txBody>
                    <a:bodyPr/>
                    <a:lstStyle/>
                    <a:p>
                      <a:pPr algn="ctr"/>
                      <a:r>
                        <a:rPr lang="ko-KR" altLang="en-US" sz="1200" dirty="0" smtClean="0">
                          <a:latin typeface="HY견고딕" panose="02030600000101010101" pitchFamily="18" charset="-127"/>
                          <a:ea typeface="HY견고딕" panose="02030600000101010101" pitchFamily="18" charset="-127"/>
                        </a:rPr>
                        <a:t>서비스</a:t>
                      </a:r>
                      <a:endParaRPr lang="en-US" altLang="ko-KR" sz="1200" dirty="0" smtClean="0">
                        <a:latin typeface="HY견고딕" panose="02030600000101010101" pitchFamily="18" charset="-127"/>
                        <a:ea typeface="HY견고딕" panose="02030600000101010101" pitchFamily="18" charset="-127"/>
                      </a:endParaRPr>
                    </a:p>
                    <a:p>
                      <a:pPr algn="ctr"/>
                      <a:r>
                        <a:rPr lang="ko-KR" altLang="en-US" sz="1200" dirty="0" smtClean="0">
                          <a:latin typeface="HY견고딕" panose="02030600000101010101" pitchFamily="18" charset="-127"/>
                          <a:ea typeface="HY견고딕" panose="02030600000101010101" pitchFamily="18" charset="-127"/>
                        </a:rPr>
                        <a:t>안전</a:t>
                      </a:r>
                      <a:endParaRPr lang="ko-KR" altLang="en-US" sz="1200" dirty="0">
                        <a:latin typeface="HY견고딕" panose="02030600000101010101" pitchFamily="18" charset="-127"/>
                        <a:ea typeface="HY견고딕" panose="02030600000101010101" pitchFamily="18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ko-KR" altLang="en-US" sz="1200" dirty="0" smtClean="0">
                          <a:latin typeface="HY견고딕" panose="02030600000101010101" pitchFamily="18" charset="-127"/>
                          <a:ea typeface="HY견고딕" panose="02030600000101010101" pitchFamily="18" charset="-127"/>
                        </a:rPr>
                        <a:t>의료서비스</a:t>
                      </a:r>
                      <a:endParaRPr lang="ko-KR" altLang="en-US" sz="1200" dirty="0">
                        <a:latin typeface="HY견고딕" panose="02030600000101010101" pitchFamily="18" charset="-127"/>
                        <a:ea typeface="HY견고딕" panose="02030600000101010101" pitchFamily="18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dirty="0" smtClean="0">
                          <a:latin typeface="HY견고딕" panose="02030600000101010101" pitchFamily="18" charset="-127"/>
                          <a:ea typeface="HY견고딕" panose="02030600000101010101" pitchFamily="18" charset="-127"/>
                        </a:rPr>
                        <a:t>의료법</a:t>
                      </a:r>
                      <a:endParaRPr lang="ko-KR" altLang="en-US" sz="1200" dirty="0">
                        <a:latin typeface="HY견고딕" panose="02030600000101010101" pitchFamily="18" charset="-127"/>
                        <a:ea typeface="HY견고딕" panose="02030600000101010101" pitchFamily="18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HY견고딕" panose="02030600000101010101" pitchFamily="18" charset="-127"/>
                        <a:ea typeface="HY견고딕" panose="02030600000101010101" pitchFamily="18" charset="-127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57577">
                <a:tc vMerge="1">
                  <a:txBody>
                    <a:bodyPr/>
                    <a:lstStyle/>
                    <a:p>
                      <a:endParaRPr lang="ko-KR" alt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ko-KR" altLang="en-US" sz="1200" dirty="0">
                        <a:latin typeface="Adobe 고딕 Std B" pitchFamily="34" charset="-127"/>
                        <a:ea typeface="Adobe 고딕 Std B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dirty="0" smtClean="0">
                          <a:latin typeface="HY견고딕" panose="02030600000101010101" pitchFamily="18" charset="-127"/>
                          <a:ea typeface="HY견고딕" panose="02030600000101010101" pitchFamily="18" charset="-127"/>
                        </a:rPr>
                        <a:t>의료기사 등에 관한 법률</a:t>
                      </a:r>
                      <a:endParaRPr lang="ko-KR" altLang="en-US" sz="1200" dirty="0">
                        <a:latin typeface="HY견고딕" panose="02030600000101010101" pitchFamily="18" charset="-127"/>
                        <a:ea typeface="HY견고딕" panose="02030600000101010101" pitchFamily="18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HY견고딕" panose="02030600000101010101" pitchFamily="18" charset="-127"/>
                        <a:ea typeface="HY견고딕" panose="02030600000101010101" pitchFamily="18" charset="-127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57577">
                <a:tc vMerge="1">
                  <a:txBody>
                    <a:bodyPr/>
                    <a:lstStyle/>
                    <a:p>
                      <a:endParaRPr lang="ko-KR" alt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dirty="0" smtClean="0">
                          <a:latin typeface="HY견고딕" panose="02030600000101010101" pitchFamily="18" charset="-127"/>
                          <a:ea typeface="HY견고딕" panose="02030600000101010101" pitchFamily="18" charset="-127"/>
                        </a:rPr>
                        <a:t>피부미용서비스</a:t>
                      </a:r>
                      <a:endParaRPr lang="ko-KR" altLang="en-US" sz="1200" dirty="0">
                        <a:latin typeface="HY견고딕" panose="02030600000101010101" pitchFamily="18" charset="-127"/>
                        <a:ea typeface="HY견고딕" panose="02030600000101010101" pitchFamily="18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dirty="0" smtClean="0">
                          <a:latin typeface="HY견고딕" panose="02030600000101010101" pitchFamily="18" charset="-127"/>
                          <a:ea typeface="HY견고딕" panose="02030600000101010101" pitchFamily="18" charset="-127"/>
                        </a:rPr>
                        <a:t>공중위생관리법</a:t>
                      </a:r>
                      <a:endParaRPr lang="ko-KR" altLang="en-US" sz="1200" dirty="0">
                        <a:latin typeface="HY견고딕" panose="02030600000101010101" pitchFamily="18" charset="-127"/>
                        <a:ea typeface="HY견고딕" panose="02030600000101010101" pitchFamily="18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HY견고딕" panose="02030600000101010101" pitchFamily="18" charset="-127"/>
                        <a:ea typeface="HY견고딕" panose="02030600000101010101" pitchFamily="18" charset="-127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8" name="Multiply 22"/>
          <p:cNvSpPr/>
          <p:nvPr/>
        </p:nvSpPr>
        <p:spPr>
          <a:xfrm>
            <a:off x="7564420" y="3418679"/>
            <a:ext cx="240268" cy="240268"/>
          </a:xfrm>
          <a:prstGeom prst="mathMultiply">
            <a:avLst/>
          </a:prstGeom>
          <a:solidFill>
            <a:srgbClr val="CA0F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2" name="Multiply 115"/>
          <p:cNvSpPr/>
          <p:nvPr/>
        </p:nvSpPr>
        <p:spPr>
          <a:xfrm>
            <a:off x="7564420" y="3753899"/>
            <a:ext cx="240268" cy="240268"/>
          </a:xfrm>
          <a:prstGeom prst="mathMultiply">
            <a:avLst/>
          </a:prstGeom>
          <a:solidFill>
            <a:srgbClr val="CA0F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4" name="Multiply 115"/>
          <p:cNvSpPr/>
          <p:nvPr/>
        </p:nvSpPr>
        <p:spPr>
          <a:xfrm>
            <a:off x="7564420" y="4131585"/>
            <a:ext cx="240268" cy="240268"/>
          </a:xfrm>
          <a:prstGeom prst="mathMultiply">
            <a:avLst/>
          </a:prstGeom>
          <a:solidFill>
            <a:srgbClr val="CA0F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5" name="Multiply 115"/>
          <p:cNvSpPr/>
          <p:nvPr/>
        </p:nvSpPr>
        <p:spPr>
          <a:xfrm>
            <a:off x="7564420" y="4468928"/>
            <a:ext cx="240268" cy="240268"/>
          </a:xfrm>
          <a:prstGeom prst="mathMultiply">
            <a:avLst/>
          </a:prstGeom>
          <a:solidFill>
            <a:srgbClr val="CA0F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6" name="Multiply 115"/>
          <p:cNvSpPr/>
          <p:nvPr/>
        </p:nvSpPr>
        <p:spPr>
          <a:xfrm>
            <a:off x="7580936" y="4851601"/>
            <a:ext cx="240268" cy="240268"/>
          </a:xfrm>
          <a:prstGeom prst="mathMultiply">
            <a:avLst/>
          </a:prstGeom>
          <a:solidFill>
            <a:srgbClr val="CA0F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94164" y="1280914"/>
            <a:ext cx="66247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□  안전분야별「보건</a:t>
            </a:r>
            <a:r>
              <a:rPr lang="en-US" altLang="ko-KR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의료영역 관련법률」 현황</a:t>
            </a:r>
            <a:endParaRPr lang="ko-KR" alt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706567" y="1650246"/>
            <a:ext cx="782426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의약품 안전분야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생산단계만 안전관리 존재  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소비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유통단계 정책 부재</a:t>
            </a:r>
            <a:endParaRPr lang="en-US" altLang="ko-KR" sz="1600" b="1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서비스 안전분야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생산단계만 안전관리 존재  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교육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피해구제 정책 부재</a:t>
            </a:r>
            <a:endParaRPr lang="en-US" altLang="ko-KR" sz="1600" b="1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445498" y="5579802"/>
            <a:ext cx="851898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 소비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20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위해정보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피해구제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),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생산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안전기준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), </a:t>
            </a: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유통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안전표시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약관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)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등</a:t>
            </a:r>
            <a:endParaRPr lang="en-US" altLang="ko-KR" sz="20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단계별  종합안전 대책 」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보강  필요</a:t>
            </a:r>
            <a:endParaRPr lang="ko-KR" altLang="en-US" sz="2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pSp>
        <p:nvGrpSpPr>
          <p:cNvPr id="20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23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국회의원</a:t>
              </a:r>
              <a:r>
                <a:rPr lang="ko-KR" altLang="en-US" sz="1200" dirty="0" smtClean="0">
                  <a:solidFill>
                    <a:srgbClr val="1D4B6D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 이명수</a:t>
              </a:r>
              <a:endParaRPr lang="en-US" sz="1200" dirty="0">
                <a:solidFill>
                  <a:srgbClr val="1D4B6D"/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cxnSp>
          <p:nvCxnSpPr>
            <p:cNvPr id="25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7" name="그림 2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29" name="오른쪽 화살표 28"/>
          <p:cNvSpPr/>
          <p:nvPr/>
        </p:nvSpPr>
        <p:spPr>
          <a:xfrm>
            <a:off x="5364088" y="184482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0" name="오른쪽 화살표 29"/>
          <p:cNvSpPr/>
          <p:nvPr/>
        </p:nvSpPr>
        <p:spPr>
          <a:xfrm>
            <a:off x="5364088" y="218529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3" name="오른쪽 화살표 32"/>
          <p:cNvSpPr/>
          <p:nvPr/>
        </p:nvSpPr>
        <p:spPr>
          <a:xfrm>
            <a:off x="250368" y="5730436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45603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oD3omsBU.x.xuAdF1fN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10gjctN0ugbaIuYknRt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oD3omsBU.x.xuAdF1fN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10gjctN0ugbaIuYknR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oD3omsBU.x.xuAdF1fN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10gjctN0ugbaIuYknRt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oD3omsBU.x.xuAdF1fN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10gjctN0ugbaIuYknRt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oD3omsBU.x.xuAdF1fN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10gjctN0ugbaIuYknRt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XkE2KQV02Jsd7hKvJVY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8gFJgi00m3LquvhedgJ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3o4xQiiAUSbTGzNEUEtQ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LOCPV1M0yDVVtpiKAYG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UL.U2G4U2NkrEvaTArK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TH0WPnIUSXM3OEG734.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xRvfr0FkeN_v3F5GneX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TH0WPnIUSXM3OEG734.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xRvfr0FkeN_v3F5GneX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TH0WPnIUSXM3OEG734.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xRvfr0FkeN_v3F5GneX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4fR4_wuUKxiXZCWCJKl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TH0WPnIUSXM3OEG734.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xRvfr0FkeN_v3F5GneX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xRvfr0FkeN_v3F5GneX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xRvfr0FkeN_v3F5GneX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xRvfr0FkeN_v3F5GneX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xRvfr0FkeN_v3F5GneX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xRvfr0FkeN_v3F5GneX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xRvfr0FkeN_v3F5GneX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xRvfr0FkeN_v3F5GneX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xRvfr0FkeN_v3F5Gne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oD3omsBU.x.xuAdF1fN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LOCPV1M0yDVVtpiKAYG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UL.U2G4U2NkrEvaTArK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KThacPGkCAp57TTdwHD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5McCUnW0ibgR9iAo1R.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68hZWVtH02GFI0WU6Fbu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njMqWLSk6AJAPBV2QlG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yN6GcW5U6DgW4WMfHPg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BfV6Bu5kuf8ipCUTvpu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.aZJwkorUKoUko2E56VL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pQffNWUUeMVqiBTcaGq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10gjctN0ugbaIuYknRt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RwTaef3k2JLDqxOMGFN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rdAztT7EaIxsSlHN3x4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RBWnQh7EOZ5M_0yys5_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Zg2FsZy0WDOLPQ3WE3k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RBWnQh7EOZ5M_0yys5_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RBWnQh7EOZ5M_0yys5_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Zg2FsZy0WDOLPQ3WE3k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RBWnQh7EOZ5M_0yys5_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oD3omsBU.x.xuAdF1fN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10gjctN0ugbaIuYknRt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oD3omsBU.x.xuAdF1fN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10gjctN0ugbaIuYknRtg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7</TotalTime>
  <Words>5764</Words>
  <Application>Microsoft Office PowerPoint</Application>
  <PresentationFormat>화면 슬라이드 쇼(4:3)</PresentationFormat>
  <Paragraphs>903</Paragraphs>
  <Slides>45</Slides>
  <Notes>38</Notes>
  <HiddenSlides>0</HiddenSlides>
  <MMClips>0</MMClips>
  <ScaleCrop>false</ScaleCrop>
  <HeadingPairs>
    <vt:vector size="6" baseType="variant"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45</vt:i4>
      </vt:variant>
    </vt:vector>
  </HeadingPairs>
  <TitlesOfParts>
    <vt:vector size="47" baseType="lpstr">
      <vt:lpstr>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assembly</dc:creator>
  <cp:lastModifiedBy>assembly</cp:lastModifiedBy>
  <cp:revision>17</cp:revision>
  <cp:lastPrinted>2014-10-11T07:40:21Z</cp:lastPrinted>
  <dcterms:created xsi:type="dcterms:W3CDTF">2014-10-11T05:07:05Z</dcterms:created>
  <dcterms:modified xsi:type="dcterms:W3CDTF">2014-10-11T07:43:03Z</dcterms:modified>
</cp:coreProperties>
</file>